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1.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2.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3.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theme/themeOverride4.xml" ContentType="application/vnd.openxmlformats-officedocument.themeOverride+xml"/>
  <Override PartName="/ppt/drawings/drawing1.xml" ContentType="application/vnd.openxmlformats-officedocument.drawingml.chartshapes+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5.xml" ContentType="application/vnd.openxmlformats-officedocument.themeOverride+xml"/>
  <Override PartName="/ppt/drawings/drawing2.xml" ContentType="application/vnd.openxmlformats-officedocument.drawingml.chartshapes+xml"/>
  <Override PartName="/ppt/charts/chart10.xml" ContentType="application/vnd.openxmlformats-officedocument.drawingml.chart+xml"/>
  <Override PartName="/ppt/drawings/drawing3.xml" ContentType="application/vnd.openxmlformats-officedocument.drawingml.chartshapes+xml"/>
  <Override PartName="/ppt/charts/chart11.xml" ContentType="application/vnd.openxmlformats-officedocument.drawingml.chart+xml"/>
  <Override PartName="/ppt/drawings/drawing4.xml" ContentType="application/vnd.openxmlformats-officedocument.drawingml.chartshape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60" r:id="rId2"/>
  </p:sldMasterIdLst>
  <p:notesMasterIdLst>
    <p:notesMasterId r:id="rId20"/>
  </p:notesMasterIdLst>
  <p:sldIdLst>
    <p:sldId id="256" r:id="rId3"/>
    <p:sldId id="2190" r:id="rId4"/>
    <p:sldId id="2197" r:id="rId5"/>
    <p:sldId id="2193" r:id="rId6"/>
    <p:sldId id="2194" r:id="rId7"/>
    <p:sldId id="2198" r:id="rId8"/>
    <p:sldId id="2199" r:id="rId9"/>
    <p:sldId id="2200" r:id="rId10"/>
    <p:sldId id="260" r:id="rId11"/>
    <p:sldId id="2184" r:id="rId12"/>
    <p:sldId id="2185" r:id="rId13"/>
    <p:sldId id="2186" r:id="rId14"/>
    <p:sldId id="2187" r:id="rId15"/>
    <p:sldId id="2188" r:id="rId16"/>
    <p:sldId id="2195" r:id="rId17"/>
    <p:sldId id="2196" r:id="rId18"/>
    <p:sldId id="263" r:id="rId19"/>
  </p:sldIdLst>
  <p:sldSz cx="12192000" cy="6858000"/>
  <p:notesSz cx="6858000" cy="9144000"/>
  <p:custDataLst>
    <p:tags r:id="rId21"/>
  </p:custData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FE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7027B66-1CC7-42D2-BBA0-1119FDE73CAD}" v="24" dt="2024-10-21T06:36:50.62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08"/>
    <p:restoredTop sz="94534"/>
  </p:normalViewPr>
  <p:slideViewPr>
    <p:cSldViewPr snapToGrid="0">
      <p:cViewPr varScale="1">
        <p:scale>
          <a:sx n="79" d="100"/>
          <a:sy n="79" d="100"/>
        </p:scale>
        <p:origin x="1320"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microsoft.com/office/2015/10/relationships/revisionInfo" Target="revisionInfo.xml"/><Relationship Id="rId3" Type="http://schemas.openxmlformats.org/officeDocument/2006/relationships/slide" Target="slides/slide1.xml"/><Relationship Id="rId21"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5.xlsx"/></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6.xlsx"/></Relationships>
</file>

<file path=ppt/charts/_rels/chart2.xml.rels><?xml version="1.0" encoding="UTF-8" standalone="yes"?>
<Relationships xmlns="http://schemas.openxmlformats.org/package/2006/relationships"><Relationship Id="rId3" Type="http://schemas.openxmlformats.org/officeDocument/2006/relationships/oleObject" Target="https://utilitasou.sharepoint.com/sites/Analtikud/Shared%20Documents/CFD%20anal&#252;&#252;s/CfD%20graafikud.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utilitasou-my.sharepoint.com/personal/martin_sillasoo_utilitas_ee/Documents/investeerimisvajak.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1.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2.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file:////C:\Users\olga\AppData\Local\Microsoft\Windows\INetCache\Content.Outlook\YW2WSK55\Elektri_soojuse_transpordi_energia_tarbimine.xlsx" TargetMode="External"/></Relationships>
</file>

<file path=ppt/charts/_rels/chart7.xml.rels><?xml version="1.0" encoding="UTF-8" standalone="yes"?>
<Relationships xmlns="http://schemas.openxmlformats.org/package/2006/relationships"><Relationship Id="rId3" Type="http://schemas.openxmlformats.org/officeDocument/2006/relationships/oleObject" Target="https://utilitasou.sharepoint.com/sites/Analtikud/Shared%20Documents/TE100_Rohetiiger/V&#228;&#228;rtuspakkumise%20tarbeks%20materjal/eesti%20elektriportfell%20mudel%20CfDga.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3.xlsx"/><Relationship Id="rId1" Type="http://schemas.openxmlformats.org/officeDocument/2006/relationships/themeOverride" Target="../theme/themeOverride4.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8.xml"/><Relationship Id="rId1" Type="http://schemas.microsoft.com/office/2011/relationships/chartStyle" Target="style8.xml"/><Relationship Id="rId5" Type="http://schemas.openxmlformats.org/officeDocument/2006/relationships/chartUserShapes" Target="../drawings/drawing2.xml"/><Relationship Id="rId4"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n-lt"/>
                <a:ea typeface="+mn-ea"/>
                <a:cs typeface="+mn-cs"/>
              </a:defRPr>
            </a:pPr>
            <a:r>
              <a:rPr lang="en-US"/>
              <a:t>MERETUULEPARGI </a:t>
            </a:r>
          </a:p>
          <a:p>
            <a:pPr>
              <a:defRPr/>
            </a:pPr>
            <a:r>
              <a:rPr lang="en-US"/>
              <a:t>GARANTIIMEHHANISMI </a:t>
            </a:r>
            <a:r>
              <a:rPr lang="et-EE" noProof="0"/>
              <a:t>näide</a:t>
            </a:r>
            <a:r>
              <a:rPr lang="en-US"/>
              <a:t> (€/MWh)</a:t>
            </a:r>
            <a:endParaRPr lang="et-EE"/>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Leht1!$B$1</c:f>
              <c:strCache>
                <c:ptCount val="1"/>
                <c:pt idx="0">
                  <c:v>Tootja tulu börsilt</c:v>
                </c:pt>
              </c:strCache>
            </c:strRef>
          </c:tx>
          <c:spPr>
            <a:solidFill>
              <a:schemeClr val="tx2">
                <a:lumMod val="50000"/>
                <a:lumOff val="50000"/>
              </a:schemeClr>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0-BEBB-4C62-8353-BEF23266525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eht1!$A$2:$A$8</c:f>
              <c:strCache>
                <c:ptCount val="7"/>
                <c:pt idx="0">
                  <c:v>-1</c:v>
                </c:pt>
                <c:pt idx="1">
                  <c:v>0</c:v>
                </c:pt>
                <c:pt idx="2">
                  <c:v>25</c:v>
                </c:pt>
                <c:pt idx="3">
                  <c:v>49**</c:v>
                </c:pt>
                <c:pt idx="4">
                  <c:v>91***</c:v>
                </c:pt>
                <c:pt idx="5">
                  <c:v>125</c:v>
                </c:pt>
                <c:pt idx="6">
                  <c:v>193****</c:v>
                </c:pt>
              </c:strCache>
            </c:strRef>
          </c:cat>
          <c:val>
            <c:numRef>
              <c:f>Leht1!$B$2:$B$8</c:f>
              <c:numCache>
                <c:formatCode>General</c:formatCode>
                <c:ptCount val="7"/>
                <c:pt idx="0">
                  <c:v>-1</c:v>
                </c:pt>
                <c:pt idx="1">
                  <c:v>0</c:v>
                </c:pt>
                <c:pt idx="2">
                  <c:v>25</c:v>
                </c:pt>
                <c:pt idx="3">
                  <c:v>49</c:v>
                </c:pt>
                <c:pt idx="4">
                  <c:v>91</c:v>
                </c:pt>
                <c:pt idx="5">
                  <c:v>100</c:v>
                </c:pt>
                <c:pt idx="6">
                  <c:v>100</c:v>
                </c:pt>
              </c:numCache>
            </c:numRef>
          </c:val>
          <c:extLst>
            <c:ext xmlns:c16="http://schemas.microsoft.com/office/drawing/2014/chart" uri="{C3380CC4-5D6E-409C-BE32-E72D297353CC}">
              <c16:uniqueId val="{00000000-F587-4D84-8E98-EF9D6318661A}"/>
            </c:ext>
          </c:extLst>
        </c:ser>
        <c:ser>
          <c:idx val="1"/>
          <c:order val="1"/>
          <c:tx>
            <c:strRef>
              <c:f>Leht1!$C$1</c:f>
              <c:strCache>
                <c:ptCount val="1"/>
                <c:pt idx="0">
                  <c:v>Riigi toetus tootjale</c:v>
                </c:pt>
              </c:strCache>
            </c:strRef>
          </c:tx>
          <c:spPr>
            <a:solidFill>
              <a:schemeClr val="accent1">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eht1!$A$2:$A$8</c:f>
              <c:strCache>
                <c:ptCount val="7"/>
                <c:pt idx="0">
                  <c:v>-1</c:v>
                </c:pt>
                <c:pt idx="1">
                  <c:v>0</c:v>
                </c:pt>
                <c:pt idx="2">
                  <c:v>25</c:v>
                </c:pt>
                <c:pt idx="3">
                  <c:v>49**</c:v>
                </c:pt>
                <c:pt idx="4">
                  <c:v>91***</c:v>
                </c:pt>
                <c:pt idx="5">
                  <c:v>125</c:v>
                </c:pt>
                <c:pt idx="6">
                  <c:v>193****</c:v>
                </c:pt>
              </c:strCache>
            </c:strRef>
          </c:cat>
          <c:val>
            <c:numRef>
              <c:f>Leht1!$C$2:$C$8</c:f>
              <c:numCache>
                <c:formatCode>General</c:formatCode>
                <c:ptCount val="7"/>
                <c:pt idx="1">
                  <c:v>65</c:v>
                </c:pt>
                <c:pt idx="2">
                  <c:v>65</c:v>
                </c:pt>
                <c:pt idx="3">
                  <c:v>51</c:v>
                </c:pt>
                <c:pt idx="4">
                  <c:v>9</c:v>
                </c:pt>
              </c:numCache>
            </c:numRef>
          </c:val>
          <c:extLst>
            <c:ext xmlns:c16="http://schemas.microsoft.com/office/drawing/2014/chart" uri="{C3380CC4-5D6E-409C-BE32-E72D297353CC}">
              <c16:uniqueId val="{00000001-F587-4D84-8E98-EF9D6318661A}"/>
            </c:ext>
          </c:extLst>
        </c:ser>
        <c:ser>
          <c:idx val="2"/>
          <c:order val="2"/>
          <c:tx>
            <c:strRef>
              <c:f>Leht1!$D$1</c:f>
              <c:strCache>
                <c:ptCount val="1"/>
                <c:pt idx="0">
                  <c:v>Riigi tulu tootjalt</c:v>
                </c:pt>
              </c:strCache>
            </c:strRef>
          </c:tx>
          <c:spPr>
            <a:solidFill>
              <a:schemeClr val="accent4">
                <a:shade val="65000"/>
              </a:schemeClr>
            </a:solidFill>
            <a:ln>
              <a:noFill/>
            </a:ln>
            <a:effectLst/>
          </c:spPr>
          <c:invertIfNegative val="0"/>
          <c:dLbls>
            <c:dLbl>
              <c:idx val="5"/>
              <c:layout>
                <c:manualLayout>
                  <c:x val="1.5624999999998854E-3"/>
                  <c:y val="-7.0312495674674236E-3"/>
                </c:manualLayout>
              </c:layout>
              <c:tx>
                <c:rich>
                  <a:bodyPr/>
                  <a:lstStyle/>
                  <a:p>
                    <a:fld id="{7051FC4A-00E6-4B1C-91C1-8716B8CE8753}" type="VALUE">
                      <a:rPr lang="en-US">
                        <a:solidFill>
                          <a:schemeClr val="bg1"/>
                        </a:solidFill>
                      </a:rPr>
                      <a:pPr/>
                      <a:t>[VALUE]</a:t>
                    </a:fld>
                    <a:endParaRPr lang="et-EE"/>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BEBB-4C62-8353-BEF23266525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Leht1!$A$2:$A$8</c:f>
              <c:strCache>
                <c:ptCount val="7"/>
                <c:pt idx="0">
                  <c:v>-1</c:v>
                </c:pt>
                <c:pt idx="1">
                  <c:v>0</c:v>
                </c:pt>
                <c:pt idx="2">
                  <c:v>25</c:v>
                </c:pt>
                <c:pt idx="3">
                  <c:v>49**</c:v>
                </c:pt>
                <c:pt idx="4">
                  <c:v>91***</c:v>
                </c:pt>
                <c:pt idx="5">
                  <c:v>125</c:v>
                </c:pt>
                <c:pt idx="6">
                  <c:v>193****</c:v>
                </c:pt>
              </c:strCache>
            </c:strRef>
          </c:cat>
          <c:val>
            <c:numRef>
              <c:f>Leht1!$D$2:$D$8</c:f>
              <c:numCache>
                <c:formatCode>General</c:formatCode>
                <c:ptCount val="7"/>
                <c:pt idx="5">
                  <c:v>25</c:v>
                </c:pt>
                <c:pt idx="6">
                  <c:v>93</c:v>
                </c:pt>
              </c:numCache>
            </c:numRef>
          </c:val>
          <c:extLst>
            <c:ext xmlns:c16="http://schemas.microsoft.com/office/drawing/2014/chart" uri="{C3380CC4-5D6E-409C-BE32-E72D297353CC}">
              <c16:uniqueId val="{00000002-F587-4D84-8E98-EF9D6318661A}"/>
            </c:ext>
          </c:extLst>
        </c:ser>
        <c:dLbls>
          <c:showLegendKey val="0"/>
          <c:showVal val="0"/>
          <c:showCatName val="0"/>
          <c:showSerName val="0"/>
          <c:showPercent val="0"/>
          <c:showBubbleSize val="0"/>
        </c:dLbls>
        <c:gapWidth val="79"/>
        <c:overlap val="100"/>
        <c:axId val="1449070479"/>
        <c:axId val="1449072399"/>
      </c:barChart>
      <c:catAx>
        <c:axId val="1449070479"/>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197" b="0" i="0" u="none" strike="noStrike" kern="1200" cap="all" baseline="0">
                    <a:solidFill>
                      <a:schemeClr val="tx1">
                        <a:lumMod val="65000"/>
                        <a:lumOff val="35000"/>
                      </a:schemeClr>
                    </a:solidFill>
                    <a:latin typeface="+mn-lt"/>
                    <a:ea typeface="+mn-ea"/>
                    <a:cs typeface="+mn-cs"/>
                  </a:defRPr>
                </a:pPr>
                <a:r>
                  <a:rPr lang="en-US" sz="900"/>
                  <a:t>ELEKTRI HIND BÖRSIL (</a:t>
                </a:r>
                <a:r>
                  <a:rPr lang="en-US" sz="900" b="0" i="0" u="none" strike="noStrike" kern="1200" cap="all" baseline="0">
                    <a:solidFill>
                      <a:prstClr val="black">
                        <a:lumMod val="65000"/>
                        <a:lumOff val="35000"/>
                      </a:prstClr>
                    </a:solidFill>
                    <a:latin typeface="Times New Roman" panose="02020603050405020304" pitchFamily="18" charset="0"/>
                    <a:cs typeface="Times New Roman" panose="02020603050405020304" pitchFamily="18" charset="0"/>
                  </a:rPr>
                  <a:t>€/MWh)</a:t>
                </a:r>
                <a:endParaRPr lang="et-EE" sz="900"/>
              </a:p>
            </c:rich>
          </c:tx>
          <c:layout>
            <c:manualLayout>
              <c:xMode val="edge"/>
              <c:yMode val="edge"/>
              <c:x val="0.81770277805311897"/>
              <c:y val="0.8284363072197648"/>
            </c:manualLayout>
          </c:layout>
          <c:overlay val="0"/>
          <c:spPr>
            <a:noFill/>
            <a:ln>
              <a:noFill/>
            </a:ln>
            <a:effectLst/>
          </c:spPr>
          <c:txPr>
            <a:bodyPr rot="0" spcFirstLastPara="1" vertOverflow="ellipsis" vert="horz" wrap="square" anchor="ctr" anchorCtr="1"/>
            <a:lstStyle/>
            <a:p>
              <a:pPr>
                <a:defRPr sz="1197" b="0" i="0" u="none" strike="noStrike" kern="1200" cap="all"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en-US"/>
          </a:p>
        </c:txPr>
        <c:crossAx val="1449072399"/>
        <c:crosses val="autoZero"/>
        <c:auto val="1"/>
        <c:lblAlgn val="ctr"/>
        <c:lblOffset val="100"/>
        <c:noMultiLvlLbl val="0"/>
      </c:catAx>
      <c:valAx>
        <c:axId val="1449072399"/>
        <c:scaling>
          <c:orientation val="minMax"/>
        </c:scaling>
        <c:delete val="0"/>
        <c:axPos val="l"/>
        <c:title>
          <c:tx>
            <c:rich>
              <a:bodyPr rot="-5400000" spcFirstLastPara="1" vertOverflow="ellipsis" vert="horz" wrap="square" anchor="ctr" anchorCtr="1"/>
              <a:lstStyle/>
              <a:p>
                <a:pPr>
                  <a:defRPr sz="1197" b="0" i="0" u="none" strike="noStrike" kern="1200" cap="all" baseline="0">
                    <a:solidFill>
                      <a:schemeClr val="tx1">
                        <a:lumMod val="65000"/>
                        <a:lumOff val="35000"/>
                      </a:schemeClr>
                    </a:solidFill>
                    <a:latin typeface="+mn-lt"/>
                    <a:ea typeface="+mn-ea"/>
                    <a:cs typeface="+mn-cs"/>
                  </a:defRPr>
                </a:pPr>
                <a:r>
                  <a:rPr lang="en-US">
                    <a:latin typeface="+mj-lt"/>
                  </a:rPr>
                  <a:t>TOOTJA</a:t>
                </a:r>
                <a:r>
                  <a:rPr lang="en-US" baseline="0">
                    <a:latin typeface="+mj-lt"/>
                  </a:rPr>
                  <a:t> TULU ELEKTRI MÜÜGIST (</a:t>
                </a:r>
                <a:r>
                  <a:rPr lang="en-US" baseline="0">
                    <a:latin typeface="+mj-lt"/>
                    <a:cs typeface="Times New Roman" panose="02020603050405020304" pitchFamily="18" charset="0"/>
                  </a:rPr>
                  <a:t>€/MWh)</a:t>
                </a:r>
                <a:endParaRPr lang="et-EE">
                  <a:latin typeface="+mj-lt"/>
                </a:endParaRPr>
              </a:p>
            </c:rich>
          </c:tx>
          <c:overlay val="0"/>
          <c:spPr>
            <a:noFill/>
            <a:ln>
              <a:noFill/>
            </a:ln>
            <a:effectLst/>
          </c:spPr>
          <c:txPr>
            <a:bodyPr rot="-5400000" spcFirstLastPara="1" vertOverflow="ellipsis" vert="horz" wrap="square" anchor="ctr" anchorCtr="1"/>
            <a:lstStyle/>
            <a:p>
              <a:pPr>
                <a:defRPr sz="1197" b="0" i="0" u="none" strike="noStrike" kern="1200" cap="all"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49070479"/>
        <c:crosses val="autoZero"/>
        <c:crossBetween val="between"/>
      </c:valAx>
      <c:spPr>
        <a:noFill/>
        <a:ln>
          <a:noFill/>
        </a:ln>
        <a:effectLst/>
      </c:spPr>
    </c:plotArea>
    <c:legend>
      <c:legendPos val="r"/>
      <c:layout>
        <c:manualLayout>
          <c:xMode val="edge"/>
          <c:yMode val="edge"/>
          <c:x val="0.82118086653525024"/>
          <c:y val="0.1140022016490877"/>
          <c:w val="0.16575778481918227"/>
          <c:h val="0.1373879859004399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solidFill>
                <a:srgbClr val="92B5E2"/>
              </a:solidFill>
              <a:ln w="19050">
                <a:solidFill>
                  <a:schemeClr val="lt1"/>
                </a:solidFill>
              </a:ln>
              <a:effectLst/>
            </c:spPr>
            <c:extLst>
              <c:ext xmlns:c16="http://schemas.microsoft.com/office/drawing/2014/chart" uri="{C3380CC4-5D6E-409C-BE32-E72D297353CC}">
                <c16:uniqueId val="{00000001-EB0B-45BD-8CD2-C8770F764A87}"/>
              </c:ext>
            </c:extLst>
          </c:dPt>
          <c:dPt>
            <c:idx val="1"/>
            <c:bubble3D val="0"/>
            <c:spPr>
              <a:solidFill>
                <a:srgbClr val="A2C02F"/>
              </a:solidFill>
              <a:ln w="19050">
                <a:solidFill>
                  <a:schemeClr val="lt1"/>
                </a:solidFill>
              </a:ln>
              <a:effectLst/>
            </c:spPr>
            <c:extLst>
              <c:ext xmlns:c16="http://schemas.microsoft.com/office/drawing/2014/chart" uri="{C3380CC4-5D6E-409C-BE32-E72D297353CC}">
                <c16:uniqueId val="{00000003-EB0B-45BD-8CD2-C8770F764A87}"/>
              </c:ext>
            </c:extLst>
          </c:dPt>
          <c:dPt>
            <c:idx val="2"/>
            <c:bubble3D val="0"/>
            <c:spPr>
              <a:solidFill>
                <a:srgbClr val="FFA300"/>
              </a:solidFill>
              <a:ln w="19050">
                <a:solidFill>
                  <a:schemeClr val="lt1"/>
                </a:solidFill>
              </a:ln>
              <a:effectLst/>
            </c:spPr>
            <c:extLst>
              <c:ext xmlns:c16="http://schemas.microsoft.com/office/drawing/2014/chart" uri="{C3380CC4-5D6E-409C-BE32-E72D297353CC}">
                <c16:uniqueId val="{00000005-EB0B-45BD-8CD2-C8770F764A87}"/>
              </c:ext>
            </c:extLst>
          </c:dPt>
          <c:dPt>
            <c:idx val="3"/>
            <c:bubble3D val="0"/>
            <c:spPr>
              <a:solidFill>
                <a:srgbClr val="E9692D"/>
              </a:solidFill>
              <a:ln w="19050">
                <a:solidFill>
                  <a:schemeClr val="lt1"/>
                </a:solidFill>
              </a:ln>
              <a:effectLst/>
            </c:spPr>
            <c:extLst>
              <c:ext xmlns:c16="http://schemas.microsoft.com/office/drawing/2014/chart" uri="{C3380CC4-5D6E-409C-BE32-E72D297353CC}">
                <c16:uniqueId val="{00000007-EB0B-45BD-8CD2-C8770F764A87}"/>
              </c:ext>
            </c:extLst>
          </c:dPt>
          <c:dPt>
            <c:idx val="4"/>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9-EB0B-45BD-8CD2-C8770F764A87}"/>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EB0B-45BD-8CD2-C8770F764A87}"/>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EB0B-45BD-8CD2-C8770F764A87}"/>
              </c:ext>
            </c:extLst>
          </c:dPt>
          <c:val>
            <c:numRef>
              <c:f>'Soome ja Rootsi vs Baltikum'!$S$27:$S$30</c:f>
              <c:numCache>
                <c:formatCode>#\ ##0.0</c:formatCode>
                <c:ptCount val="4"/>
                <c:pt idx="0">
                  <c:v>46.914000000000001</c:v>
                </c:pt>
                <c:pt idx="1">
                  <c:v>46.2</c:v>
                </c:pt>
                <c:pt idx="2">
                  <c:v>29.966000000000001</c:v>
                </c:pt>
                <c:pt idx="3">
                  <c:v>5.1840000000000002</c:v>
                </c:pt>
              </c:numCache>
            </c:numRef>
          </c:val>
          <c:extLst>
            <c:ext xmlns:c15="http://schemas.microsoft.com/office/drawing/2012/chart" uri="{02D57815-91ED-43cb-92C2-25804820EDAC}">
              <c15:filteredCategoryTitle>
                <c15:cat>
                  <c:strRef>
                    <c:extLst>
                      <c:ext uri="{02D57815-91ED-43cb-92C2-25804820EDAC}">
                        <c15:formulaRef>
                          <c15:sqref>'Soome ja Rootsi vs Baltikum'!$A$27:$A$33</c15:sqref>
                        </c15:formulaRef>
                      </c:ext>
                    </c:extLst>
                    <c:strCache>
                      <c:ptCount val="7"/>
                      <c:pt idx="0">
                        <c:v>Industry</c:v>
                      </c:pt>
                      <c:pt idx="1">
                        <c:v>Residential</c:v>
                      </c:pt>
                      <c:pt idx="2">
                        <c:v>Commercial and Public Services</c:v>
                      </c:pt>
                      <c:pt idx="3">
                        <c:v>Agriculture/Forestry</c:v>
                      </c:pt>
                      <c:pt idx="4">
                        <c:v>Transport</c:v>
                      </c:pt>
                      <c:pt idx="5">
                        <c:v>Fishing</c:v>
                      </c:pt>
                      <c:pt idx="6">
                        <c:v>Non-specified</c:v>
                      </c:pt>
                    </c:strCache>
                  </c:strRef>
                </c15:cat>
              </c15:filteredCategoryTitle>
            </c:ext>
            <c:ext xmlns:c16="http://schemas.microsoft.com/office/drawing/2014/chart" uri="{C3380CC4-5D6E-409C-BE32-E72D297353CC}">
              <c16:uniqueId val="{0000000E-EB0B-45BD-8CD2-C8770F764A87}"/>
            </c:ext>
          </c:extLst>
        </c:ser>
        <c:dLbls>
          <c:showLegendKey val="0"/>
          <c:showVal val="0"/>
          <c:showCatName val="0"/>
          <c:showSerName val="0"/>
          <c:showPercent val="0"/>
          <c:showBubbleSize val="0"/>
          <c:showLeaderLines val="0"/>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1">
    <c:autoUpdate val="0"/>
  </c:externalData>
  <c:userShapes r:id="rId2"/>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solidFill>
                <a:srgbClr val="92B5E2"/>
              </a:solidFill>
              <a:ln w="19050">
                <a:solidFill>
                  <a:schemeClr val="lt1"/>
                </a:solidFill>
              </a:ln>
              <a:effectLst/>
            </c:spPr>
            <c:extLst>
              <c:ext xmlns:c16="http://schemas.microsoft.com/office/drawing/2014/chart" uri="{C3380CC4-5D6E-409C-BE32-E72D297353CC}">
                <c16:uniqueId val="{00000001-EED5-47C3-9DF9-1F8A1BE71EF0}"/>
              </c:ext>
            </c:extLst>
          </c:dPt>
          <c:dPt>
            <c:idx val="1"/>
            <c:bubble3D val="0"/>
            <c:spPr>
              <a:solidFill>
                <a:srgbClr val="A2C02F"/>
              </a:solidFill>
              <a:ln w="19050">
                <a:solidFill>
                  <a:schemeClr val="lt1"/>
                </a:solidFill>
              </a:ln>
              <a:effectLst/>
            </c:spPr>
            <c:extLst>
              <c:ext xmlns:c16="http://schemas.microsoft.com/office/drawing/2014/chart" uri="{C3380CC4-5D6E-409C-BE32-E72D297353CC}">
                <c16:uniqueId val="{00000003-EED5-47C3-9DF9-1F8A1BE71EF0}"/>
              </c:ext>
            </c:extLst>
          </c:dPt>
          <c:dPt>
            <c:idx val="2"/>
            <c:bubble3D val="0"/>
            <c:spPr>
              <a:solidFill>
                <a:srgbClr val="FFA300"/>
              </a:solidFill>
              <a:ln w="19050">
                <a:solidFill>
                  <a:schemeClr val="lt1"/>
                </a:solidFill>
              </a:ln>
              <a:effectLst/>
            </c:spPr>
            <c:extLst>
              <c:ext xmlns:c16="http://schemas.microsoft.com/office/drawing/2014/chart" uri="{C3380CC4-5D6E-409C-BE32-E72D297353CC}">
                <c16:uniqueId val="{00000005-EED5-47C3-9DF9-1F8A1BE71EF0}"/>
              </c:ext>
            </c:extLst>
          </c:dPt>
          <c:dPt>
            <c:idx val="3"/>
            <c:bubble3D val="0"/>
            <c:spPr>
              <a:solidFill>
                <a:srgbClr val="E9692D"/>
              </a:solidFill>
              <a:ln w="19050">
                <a:solidFill>
                  <a:schemeClr val="lt1"/>
                </a:solidFill>
              </a:ln>
              <a:effectLst/>
            </c:spPr>
            <c:extLst>
              <c:ext xmlns:c16="http://schemas.microsoft.com/office/drawing/2014/chart" uri="{C3380CC4-5D6E-409C-BE32-E72D297353CC}">
                <c16:uniqueId val="{00000007-EED5-47C3-9DF9-1F8A1BE71EF0}"/>
              </c:ext>
            </c:extLst>
          </c:dPt>
          <c:dPt>
            <c:idx val="4"/>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9-EED5-47C3-9DF9-1F8A1BE71EF0}"/>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EED5-47C3-9DF9-1F8A1BE71EF0}"/>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EED5-47C3-9DF9-1F8A1BE71EF0}"/>
              </c:ext>
            </c:extLst>
          </c:dPt>
          <c:val>
            <c:numRef>
              <c:f>'Soome ja Rootsi vs Baltikum'!$T$27:$T$30</c:f>
              <c:numCache>
                <c:formatCode>#\ ##0.0</c:formatCode>
                <c:ptCount val="4"/>
                <c:pt idx="0">
                  <c:v>2.2096499999999999</c:v>
                </c:pt>
                <c:pt idx="1">
                  <c:v>2.2290000000000001</c:v>
                </c:pt>
                <c:pt idx="2">
                  <c:v>3.2559999999999998</c:v>
                </c:pt>
                <c:pt idx="3">
                  <c:v>0.18893499999999999</c:v>
                </c:pt>
              </c:numCache>
            </c:numRef>
          </c:val>
          <c:extLst>
            <c:ext xmlns:c15="http://schemas.microsoft.com/office/drawing/2012/chart" uri="{02D57815-91ED-43cb-92C2-25804820EDAC}">
              <c15:filteredCategoryTitle>
                <c15:cat>
                  <c:strRef>
                    <c:extLst>
                      <c:ext uri="{02D57815-91ED-43cb-92C2-25804820EDAC}">
                        <c15:formulaRef>
                          <c15:sqref>'Soome ja Rootsi vs Baltikum'!$P$27:$P$30</c15:sqref>
                        </c15:formulaRef>
                      </c:ext>
                    </c:extLst>
                    <c:strCache>
                      <c:ptCount val="4"/>
                      <c:pt idx="0">
                        <c:v>Tööstussektor</c:v>
                      </c:pt>
                      <c:pt idx="1">
                        <c:v>Kodumajapidamised</c:v>
                      </c:pt>
                      <c:pt idx="2">
                        <c:v>Äri- ja avaliku teeninduse sektor</c:v>
                      </c:pt>
                      <c:pt idx="3">
                        <c:v>Muud (põllumajandus- ja metsandus, transport, kalandus)</c:v>
                      </c:pt>
                    </c:strCache>
                  </c:strRef>
                </c15:cat>
              </c15:filteredCategoryTitle>
            </c:ext>
            <c:ext xmlns:c16="http://schemas.microsoft.com/office/drawing/2014/chart" uri="{C3380CC4-5D6E-409C-BE32-E72D297353CC}">
              <c16:uniqueId val="{0000000E-EED5-47C3-9DF9-1F8A1BE71EF0}"/>
            </c:ext>
          </c:extLst>
        </c:ser>
        <c:dLbls>
          <c:showLegendKey val="0"/>
          <c:showVal val="0"/>
          <c:showCatName val="0"/>
          <c:showSerName val="0"/>
          <c:showPercent val="0"/>
          <c:showBubbleSize val="0"/>
          <c:showLeaderLines val="0"/>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r>
              <a:rPr lang="et-EE" sz="2000" b="1" i="0" u="none" strike="noStrike" kern="1200" spc="0" baseline="0" noProof="0">
                <a:solidFill>
                  <a:prstClr val="black">
                    <a:lumMod val="65000"/>
                    <a:lumOff val="35000"/>
                  </a:prstClr>
                </a:solidFill>
              </a:rPr>
              <a:t>ÜHI</a:t>
            </a:r>
            <a:r>
              <a:rPr lang="en-US" sz="2000" b="1" i="0" u="none" strike="noStrike" kern="1200" spc="0" baseline="0" noProof="0">
                <a:solidFill>
                  <a:prstClr val="black">
                    <a:lumMod val="65000"/>
                    <a:lumOff val="35000"/>
                  </a:prstClr>
                </a:solidFill>
              </a:rPr>
              <a:t>S</a:t>
            </a:r>
            <a:r>
              <a:rPr lang="et-EE" sz="2000" b="1" i="0" u="none" strike="noStrike" kern="1200" spc="0" baseline="0" noProof="0">
                <a:solidFill>
                  <a:prstClr val="black">
                    <a:lumMod val="65000"/>
                    <a:lumOff val="35000"/>
                  </a:prstClr>
                </a:solidFill>
              </a:rPr>
              <a:t>KONDLIK KULU </a:t>
            </a:r>
            <a:r>
              <a:rPr lang="en-US" sz="2000" b="1" i="1" u="none" strike="noStrike" kern="1200" spc="0" baseline="0" noProof="0">
                <a:solidFill>
                  <a:prstClr val="black">
                    <a:lumMod val="65000"/>
                    <a:lumOff val="35000"/>
                  </a:prstClr>
                </a:solidFill>
              </a:rPr>
              <a:t>VS</a:t>
            </a:r>
            <a:r>
              <a:rPr lang="et-EE" sz="2000" b="1" i="0" u="none" strike="noStrike" kern="1200" spc="0" baseline="0" noProof="0">
                <a:solidFill>
                  <a:prstClr val="black">
                    <a:lumMod val="65000"/>
                    <a:lumOff val="35000"/>
                  </a:prstClr>
                </a:solidFill>
              </a:rPr>
              <a:t> </a:t>
            </a:r>
            <a:r>
              <a:rPr lang="en-US" sz="2000" b="1" i="0" u="none" strike="noStrike" kern="1200" spc="0" baseline="0" noProof="0">
                <a:solidFill>
                  <a:prstClr val="black">
                    <a:lumMod val="65000"/>
                    <a:lumOff val="35000"/>
                  </a:prstClr>
                </a:solidFill>
              </a:rPr>
              <a:t>TARBIJATE </a:t>
            </a:r>
            <a:r>
              <a:rPr lang="et-EE" sz="2000" b="1" i="0" u="none" strike="noStrike" kern="1200" spc="0" baseline="0" noProof="0">
                <a:solidFill>
                  <a:prstClr val="black">
                    <a:lumMod val="65000"/>
                    <a:lumOff val="35000"/>
                  </a:prstClr>
                </a:solidFill>
              </a:rPr>
              <a:t>SÄÄST, </a:t>
            </a:r>
            <a:r>
              <a:rPr lang="en-US" sz="2000" b="1" i="0" u="none" strike="noStrike" kern="1200" spc="0" baseline="0" noProof="0">
                <a:solidFill>
                  <a:prstClr val="black">
                    <a:lumMod val="65000"/>
                    <a:lumOff val="35000"/>
                  </a:prstClr>
                </a:solidFill>
              </a:rPr>
              <a:t>m</a:t>
            </a:r>
            <a:r>
              <a:rPr lang="et-EE" sz="2000" b="1" i="0" u="none" strike="noStrike" kern="1200" spc="0" baseline="0" noProof="0">
                <a:solidFill>
                  <a:prstClr val="black">
                    <a:lumMod val="65000"/>
                    <a:lumOff val="35000"/>
                  </a:prstClr>
                </a:solidFill>
              </a:rPr>
              <a:t>EUR</a:t>
            </a:r>
          </a:p>
        </c:rich>
      </c:tx>
      <c:layout>
        <c:manualLayout>
          <c:xMode val="edge"/>
          <c:yMode val="edge"/>
          <c:x val="0.16607310770255776"/>
          <c:y val="8.1978077211729786E-3"/>
        </c:manualLayout>
      </c:layout>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CfD graafikud.xlsx]Sheet1'!$G$1</c:f>
              <c:strCache>
                <c:ptCount val="1"/>
                <c:pt idx="0">
                  <c:v>Meretuulepargi garantii kulu riigile, mEUR</c:v>
                </c:pt>
              </c:strCache>
            </c:strRef>
          </c:tx>
          <c:spPr>
            <a:solidFill>
              <a:schemeClr val="accent1">
                <a:lumMod val="20000"/>
                <a:lumOff val="80000"/>
              </a:schemeClr>
            </a:solidFill>
            <a:ln>
              <a:noFill/>
            </a:ln>
            <a:effectLst/>
          </c:spPr>
          <c:invertIfNegative val="0"/>
          <c:cat>
            <c:numRef>
              <c:f>[1]Sheet1!$F$2:$F$22</c:f>
              <c:numCache>
                <c:formatCode>General</c:formatCode>
                <c:ptCount val="21"/>
                <c:pt idx="0">
                  <c:v>0</c:v>
                </c:pt>
                <c:pt idx="1">
                  <c:v>5</c:v>
                </c:pt>
                <c:pt idx="2">
                  <c:v>10</c:v>
                </c:pt>
                <c:pt idx="3">
                  <c:v>15</c:v>
                </c:pt>
                <c:pt idx="4">
                  <c:v>20</c:v>
                </c:pt>
                <c:pt idx="5">
                  <c:v>25</c:v>
                </c:pt>
                <c:pt idx="6">
                  <c:v>30</c:v>
                </c:pt>
                <c:pt idx="7">
                  <c:v>35</c:v>
                </c:pt>
                <c:pt idx="8">
                  <c:v>40</c:v>
                </c:pt>
                <c:pt idx="9">
                  <c:v>45</c:v>
                </c:pt>
                <c:pt idx="10">
                  <c:v>50</c:v>
                </c:pt>
                <c:pt idx="11">
                  <c:v>55</c:v>
                </c:pt>
                <c:pt idx="12">
                  <c:v>60</c:v>
                </c:pt>
                <c:pt idx="13">
                  <c:v>65</c:v>
                </c:pt>
                <c:pt idx="14">
                  <c:v>70</c:v>
                </c:pt>
                <c:pt idx="15">
                  <c:v>75</c:v>
                </c:pt>
                <c:pt idx="16">
                  <c:v>80</c:v>
                </c:pt>
                <c:pt idx="17">
                  <c:v>85</c:v>
                </c:pt>
                <c:pt idx="18">
                  <c:v>90</c:v>
                </c:pt>
                <c:pt idx="19">
                  <c:v>95</c:v>
                </c:pt>
                <c:pt idx="20">
                  <c:v>100</c:v>
                </c:pt>
              </c:numCache>
            </c:numRef>
          </c:cat>
          <c:val>
            <c:numRef>
              <c:f>[1]Sheet1!$G$2:$G$22</c:f>
              <c:numCache>
                <c:formatCode>#,##0</c:formatCode>
                <c:ptCount val="21"/>
                <c:pt idx="0">
                  <c:v>-130000000</c:v>
                </c:pt>
                <c:pt idx="1">
                  <c:v>-130000000</c:v>
                </c:pt>
                <c:pt idx="2">
                  <c:v>-130000000</c:v>
                </c:pt>
                <c:pt idx="3">
                  <c:v>-130000000</c:v>
                </c:pt>
                <c:pt idx="4">
                  <c:v>-130000000</c:v>
                </c:pt>
                <c:pt idx="5">
                  <c:v>-130000000</c:v>
                </c:pt>
                <c:pt idx="6">
                  <c:v>-130000000</c:v>
                </c:pt>
                <c:pt idx="7">
                  <c:v>-130000000</c:v>
                </c:pt>
                <c:pt idx="8">
                  <c:v>-120000000</c:v>
                </c:pt>
                <c:pt idx="9">
                  <c:v>-110000000</c:v>
                </c:pt>
                <c:pt idx="10">
                  <c:v>-100000000</c:v>
                </c:pt>
                <c:pt idx="11">
                  <c:v>-90000000</c:v>
                </c:pt>
                <c:pt idx="12">
                  <c:v>-80000000</c:v>
                </c:pt>
                <c:pt idx="13">
                  <c:v>-70000000</c:v>
                </c:pt>
                <c:pt idx="14">
                  <c:v>-60000000</c:v>
                </c:pt>
                <c:pt idx="15">
                  <c:v>-50000000</c:v>
                </c:pt>
                <c:pt idx="16">
                  <c:v>-40000000</c:v>
                </c:pt>
                <c:pt idx="17">
                  <c:v>-30000000</c:v>
                </c:pt>
                <c:pt idx="18">
                  <c:v>-20000000</c:v>
                </c:pt>
                <c:pt idx="19">
                  <c:v>-10000000</c:v>
                </c:pt>
                <c:pt idx="20">
                  <c:v>0</c:v>
                </c:pt>
              </c:numCache>
            </c:numRef>
          </c:val>
          <c:extLst>
            <c:ext xmlns:c16="http://schemas.microsoft.com/office/drawing/2014/chart" uri="{C3380CC4-5D6E-409C-BE32-E72D297353CC}">
              <c16:uniqueId val="{00000000-D915-4CC8-BF94-E6D31CA80E25}"/>
            </c:ext>
          </c:extLst>
        </c:ser>
        <c:ser>
          <c:idx val="1"/>
          <c:order val="1"/>
          <c:tx>
            <c:strRef>
              <c:f>'[CfD graafikud.xlsx]Sheet1'!$H$1</c:f>
              <c:strCache>
                <c:ptCount val="1"/>
                <c:pt idx="0">
                  <c:v>Tarbijate sääst madalamast elektri hinnast, mEUR</c:v>
                </c:pt>
              </c:strCache>
            </c:strRef>
          </c:tx>
          <c:spPr>
            <a:solidFill>
              <a:schemeClr val="tx2">
                <a:lumMod val="75000"/>
                <a:lumOff val="25000"/>
              </a:schemeClr>
            </a:solidFill>
            <a:ln>
              <a:noFill/>
            </a:ln>
            <a:effectLst/>
          </c:spPr>
          <c:invertIfNegative val="0"/>
          <c:cat>
            <c:numRef>
              <c:f>[1]Sheet1!$F$2:$F$22</c:f>
              <c:numCache>
                <c:formatCode>General</c:formatCode>
                <c:ptCount val="21"/>
                <c:pt idx="0">
                  <c:v>0</c:v>
                </c:pt>
                <c:pt idx="1">
                  <c:v>5</c:v>
                </c:pt>
                <c:pt idx="2">
                  <c:v>10</c:v>
                </c:pt>
                <c:pt idx="3">
                  <c:v>15</c:v>
                </c:pt>
                <c:pt idx="4">
                  <c:v>20</c:v>
                </c:pt>
                <c:pt idx="5">
                  <c:v>25</c:v>
                </c:pt>
                <c:pt idx="6">
                  <c:v>30</c:v>
                </c:pt>
                <c:pt idx="7">
                  <c:v>35</c:v>
                </c:pt>
                <c:pt idx="8">
                  <c:v>40</c:v>
                </c:pt>
                <c:pt idx="9">
                  <c:v>45</c:v>
                </c:pt>
                <c:pt idx="10">
                  <c:v>50</c:v>
                </c:pt>
                <c:pt idx="11">
                  <c:v>55</c:v>
                </c:pt>
                <c:pt idx="12">
                  <c:v>60</c:v>
                </c:pt>
                <c:pt idx="13">
                  <c:v>65</c:v>
                </c:pt>
                <c:pt idx="14">
                  <c:v>70</c:v>
                </c:pt>
                <c:pt idx="15">
                  <c:v>75</c:v>
                </c:pt>
                <c:pt idx="16">
                  <c:v>80</c:v>
                </c:pt>
                <c:pt idx="17">
                  <c:v>85</c:v>
                </c:pt>
                <c:pt idx="18">
                  <c:v>90</c:v>
                </c:pt>
                <c:pt idx="19">
                  <c:v>95</c:v>
                </c:pt>
                <c:pt idx="20">
                  <c:v>100</c:v>
                </c:pt>
              </c:numCache>
            </c:numRef>
          </c:cat>
          <c:val>
            <c:numRef>
              <c:f>[1]Sheet1!$H$2:$H$22</c:f>
              <c:numCache>
                <c:formatCode>#,##0</c:formatCode>
                <c:ptCount val="21"/>
                <c:pt idx="0">
                  <c:v>900000000</c:v>
                </c:pt>
                <c:pt idx="1">
                  <c:v>850000000</c:v>
                </c:pt>
                <c:pt idx="2">
                  <c:v>800000000</c:v>
                </c:pt>
                <c:pt idx="3">
                  <c:v>750000000</c:v>
                </c:pt>
                <c:pt idx="4">
                  <c:v>700000000</c:v>
                </c:pt>
                <c:pt idx="5">
                  <c:v>650000000</c:v>
                </c:pt>
                <c:pt idx="6">
                  <c:v>600000000</c:v>
                </c:pt>
                <c:pt idx="7">
                  <c:v>550000000</c:v>
                </c:pt>
                <c:pt idx="8">
                  <c:v>500000000</c:v>
                </c:pt>
                <c:pt idx="9">
                  <c:v>450000000</c:v>
                </c:pt>
                <c:pt idx="10">
                  <c:v>400000000</c:v>
                </c:pt>
                <c:pt idx="11">
                  <c:v>350000000</c:v>
                </c:pt>
                <c:pt idx="12">
                  <c:v>300000000</c:v>
                </c:pt>
                <c:pt idx="13">
                  <c:v>250000000</c:v>
                </c:pt>
                <c:pt idx="14">
                  <c:v>200000000</c:v>
                </c:pt>
                <c:pt idx="15">
                  <c:v>150000000</c:v>
                </c:pt>
                <c:pt idx="16">
                  <c:v>100000000</c:v>
                </c:pt>
                <c:pt idx="17">
                  <c:v>50000000</c:v>
                </c:pt>
                <c:pt idx="18">
                  <c:v>0</c:v>
                </c:pt>
              </c:numCache>
            </c:numRef>
          </c:val>
          <c:extLst>
            <c:ext xmlns:c16="http://schemas.microsoft.com/office/drawing/2014/chart" uri="{C3380CC4-5D6E-409C-BE32-E72D297353CC}">
              <c16:uniqueId val="{00000001-D915-4CC8-BF94-E6D31CA80E25}"/>
            </c:ext>
          </c:extLst>
        </c:ser>
        <c:dLbls>
          <c:showLegendKey val="0"/>
          <c:showVal val="0"/>
          <c:showCatName val="0"/>
          <c:showSerName val="0"/>
          <c:showPercent val="0"/>
          <c:showBubbleSize val="0"/>
        </c:dLbls>
        <c:gapWidth val="25"/>
        <c:overlap val="100"/>
        <c:axId val="309446111"/>
        <c:axId val="309453311"/>
      </c:barChart>
      <c:catAx>
        <c:axId val="309446111"/>
        <c:scaling>
          <c:orientation val="maxMin"/>
        </c:scaling>
        <c:delete val="0"/>
        <c:axPos val="l"/>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US"/>
                  <a:t>ELEKTRI BÖRSIHIND, EUR/MWh</a:t>
                </a:r>
                <a:endParaRPr lang="et-EE"/>
              </a:p>
            </c:rich>
          </c:tx>
          <c:layout>
            <c:manualLayout>
              <c:xMode val="edge"/>
              <c:yMode val="edge"/>
              <c:x val="8.91303440045281E-3"/>
              <c:y val="0.32104852757906044"/>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309453311"/>
        <c:crosses val="autoZero"/>
        <c:auto val="1"/>
        <c:lblAlgn val="ctr"/>
        <c:lblOffset val="100"/>
        <c:noMultiLvlLbl val="0"/>
      </c:catAx>
      <c:valAx>
        <c:axId val="309453311"/>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309446111"/>
        <c:crosses val="autoZero"/>
        <c:crossBetween val="between"/>
        <c:dispUnits>
          <c:builtInUnit val="millions"/>
        </c:dispUnits>
      </c:valAx>
      <c:spPr>
        <a:noFill/>
        <a:ln>
          <a:noFill/>
        </a:ln>
        <a:effectLst/>
      </c:spPr>
    </c:plotArea>
    <c:legend>
      <c:legendPos val="b"/>
      <c:layout>
        <c:manualLayout>
          <c:xMode val="edge"/>
          <c:yMode val="edge"/>
          <c:x val="5.6338565237738815E-2"/>
          <c:y val="0.93577458739852792"/>
          <c:w val="0.88732286952452233"/>
          <c:h val="5.6027604880299099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1" i="0" u="none" strike="noStrike" kern="1200" spc="0" baseline="0">
                <a:solidFill>
                  <a:sysClr val="windowText" lastClr="000000"/>
                </a:solidFill>
                <a:latin typeface="+mn-lt"/>
                <a:ea typeface="+mn-ea"/>
                <a:cs typeface="+mn-cs"/>
              </a:defRPr>
            </a:pPr>
            <a:r>
              <a:rPr lang="et-EE"/>
              <a:t>CfD 20-aastase meetme eelarve erinevate hinnaprognooside korral, miljonit eurot</a:t>
            </a:r>
          </a:p>
        </c:rich>
      </c:tx>
      <c:overlay val="0"/>
      <c:spPr>
        <a:noFill/>
        <a:ln>
          <a:noFill/>
        </a:ln>
        <a:effectLst/>
      </c:spPr>
      <c:txPr>
        <a:bodyPr rot="0" spcFirstLastPara="1" vertOverflow="ellipsis" vert="horz" wrap="square" anchor="ctr" anchorCtr="1"/>
        <a:lstStyle/>
        <a:p>
          <a:pPr>
            <a:defRPr sz="1320" b="1" i="0" u="none" strike="noStrike" kern="1200" spc="0" baseline="0">
              <a:solidFill>
                <a:sysClr val="windowText" lastClr="000000"/>
              </a:solidFill>
              <a:latin typeface="+mn-lt"/>
              <a:ea typeface="+mn-ea"/>
              <a:cs typeface="+mn-cs"/>
            </a:defRPr>
          </a:pPr>
          <a:endParaRPr lang="en-US"/>
        </a:p>
      </c:txPr>
    </c:title>
    <c:autoTitleDeleted val="0"/>
    <c:plotArea>
      <c:layout/>
      <c:barChart>
        <c:barDir val="col"/>
        <c:grouping val="clustered"/>
        <c:varyColors val="0"/>
        <c:ser>
          <c:idx val="0"/>
          <c:order val="0"/>
          <c:tx>
            <c:strRef>
              <c:f>Sheet1!$A$55</c:f>
              <c:strCache>
                <c:ptCount val="1"/>
                <c:pt idx="0">
                  <c:v>Investeerimisvajak</c:v>
                </c:pt>
              </c:strCache>
            </c:strRef>
          </c:tx>
          <c:spPr>
            <a:solidFill>
              <a:schemeClr val="accent4"/>
            </a:solidFill>
            <a:ln>
              <a:noFill/>
            </a:ln>
            <a:effectLst/>
          </c:spPr>
          <c:invertIfNegative val="0"/>
          <c:dPt>
            <c:idx val="1"/>
            <c:invertIfNegative val="0"/>
            <c:bubble3D val="0"/>
            <c:spPr>
              <a:solidFill>
                <a:schemeClr val="accent4"/>
              </a:solidFill>
              <a:ln>
                <a:noFill/>
              </a:ln>
              <a:effectLst/>
            </c:spPr>
            <c:extLst>
              <c:ext xmlns:c16="http://schemas.microsoft.com/office/drawing/2014/chart" uri="{C3380CC4-5D6E-409C-BE32-E72D297353CC}">
                <c16:uniqueId val="{00000001-C6E8-4E01-83E3-D7D777FCA111}"/>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3-C6E8-4E01-83E3-D7D777FCA111}"/>
              </c:ext>
            </c:extLst>
          </c:dPt>
          <c:dPt>
            <c:idx val="4"/>
            <c:invertIfNegative val="0"/>
            <c:bubble3D val="0"/>
            <c:spPr>
              <a:solidFill>
                <a:srgbClr val="0070C0"/>
              </a:solidFill>
              <a:ln>
                <a:noFill/>
              </a:ln>
              <a:effectLst/>
            </c:spPr>
            <c:extLst>
              <c:ext xmlns:c16="http://schemas.microsoft.com/office/drawing/2014/chart" uri="{C3380CC4-5D6E-409C-BE32-E72D297353CC}">
                <c16:uniqueId val="{00000005-C6E8-4E01-83E3-D7D777FCA111}"/>
              </c:ext>
            </c:extLst>
          </c:dPt>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54:$F$54</c:f>
              <c:strCache>
                <c:ptCount val="5"/>
                <c:pt idx="0">
                  <c:v>2023 a. hind infleeritud</c:v>
                </c:pt>
                <c:pt idx="1">
                  <c:v>Sõltumatu kolmanda osapoole baastsenaarium</c:v>
                </c:pt>
                <c:pt idx="2">
                  <c:v>2023 a. hind infleerimata</c:v>
                </c:pt>
                <c:pt idx="3">
                  <c:v>Sõltumatu kolmanda osapoole madalate hindade stsenaarium</c:v>
                </c:pt>
                <c:pt idx="4">
                  <c:v>KLIMi stsenaarium</c:v>
                </c:pt>
              </c:strCache>
            </c:strRef>
          </c:cat>
          <c:val>
            <c:numRef>
              <c:f>Sheet1!$B$55:$F$55</c:f>
              <c:numCache>
                <c:formatCode>General</c:formatCode>
                <c:ptCount val="5"/>
                <c:pt idx="0">
                  <c:v>-1600</c:v>
                </c:pt>
                <c:pt idx="1">
                  <c:v>600</c:v>
                </c:pt>
                <c:pt idx="2">
                  <c:v>700</c:v>
                </c:pt>
                <c:pt idx="3">
                  <c:v>1200</c:v>
                </c:pt>
                <c:pt idx="4">
                  <c:v>2500</c:v>
                </c:pt>
              </c:numCache>
            </c:numRef>
          </c:val>
          <c:extLst>
            <c:ext xmlns:c16="http://schemas.microsoft.com/office/drawing/2014/chart" uri="{C3380CC4-5D6E-409C-BE32-E72D297353CC}">
              <c16:uniqueId val="{00000006-C6E8-4E01-83E3-D7D777FCA111}"/>
            </c:ext>
          </c:extLst>
        </c:ser>
        <c:dLbls>
          <c:showLegendKey val="0"/>
          <c:showVal val="0"/>
          <c:showCatName val="0"/>
          <c:showSerName val="0"/>
          <c:showPercent val="0"/>
          <c:showBubbleSize val="0"/>
        </c:dLbls>
        <c:gapWidth val="75"/>
        <c:overlap val="-27"/>
        <c:axId val="576595952"/>
        <c:axId val="576587792"/>
      </c:barChart>
      <c:catAx>
        <c:axId val="576595952"/>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ysClr val="windowText" lastClr="000000"/>
                </a:solidFill>
                <a:latin typeface="+mn-lt"/>
                <a:ea typeface="+mn-ea"/>
                <a:cs typeface="+mn-cs"/>
              </a:defRPr>
            </a:pPr>
            <a:endParaRPr lang="en-US"/>
          </a:p>
        </c:txPr>
        <c:crossAx val="576587792"/>
        <c:crosses val="autoZero"/>
        <c:auto val="1"/>
        <c:lblAlgn val="ctr"/>
        <c:lblOffset val="100"/>
        <c:noMultiLvlLbl val="0"/>
      </c:catAx>
      <c:valAx>
        <c:axId val="57658779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00" b="1" i="0" u="none" strike="noStrike" kern="1200" baseline="0">
                    <a:solidFill>
                      <a:sysClr val="windowText" lastClr="000000"/>
                    </a:solidFill>
                    <a:latin typeface="+mn-lt"/>
                    <a:ea typeface="+mn-ea"/>
                    <a:cs typeface="+mn-cs"/>
                  </a:defRPr>
                </a:pPr>
                <a:r>
                  <a:rPr lang="en-US"/>
                  <a:t>Eelarve, mEUR</a:t>
                </a:r>
                <a:endParaRPr lang="et-EE"/>
              </a:p>
            </c:rich>
          </c:tx>
          <c:overlay val="0"/>
          <c:spPr>
            <a:noFill/>
            <a:ln>
              <a:noFill/>
            </a:ln>
            <a:effectLst/>
          </c:spPr>
          <c:txPr>
            <a:bodyPr rot="-5400000" spcFirstLastPara="1" vertOverflow="ellipsis" vert="horz" wrap="square" anchor="ctr" anchorCtr="1"/>
            <a:lstStyle/>
            <a:p>
              <a:pPr>
                <a:defRPr sz="1100" b="1" i="0" u="none" strike="noStrike" kern="1200" baseline="0">
                  <a:solidFill>
                    <a:sysClr val="windowText" lastClr="000000"/>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ysClr val="windowText" lastClr="000000"/>
                </a:solidFill>
                <a:latin typeface="+mn-lt"/>
                <a:ea typeface="+mn-ea"/>
                <a:cs typeface="+mn-cs"/>
              </a:defRPr>
            </a:pPr>
            <a:endParaRPr lang="en-US"/>
          </a:p>
        </c:txPr>
        <c:crossAx val="5765959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b="1">
          <a:solidFill>
            <a:sysClr val="windowText" lastClr="000000"/>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359937920178883"/>
          <c:y val="1.8113570621865537E-2"/>
          <c:w val="0.72003287876781874"/>
          <c:h val="0.88233198385634226"/>
        </c:manualLayout>
      </c:layout>
      <c:lineChart>
        <c:grouping val="standard"/>
        <c:varyColors val="0"/>
        <c:ser>
          <c:idx val="1"/>
          <c:order val="0"/>
          <c:tx>
            <c:v>2019 Tallinna soojuskoormus</c:v>
          </c:tx>
          <c:spPr>
            <a:ln w="19050" cap="rnd">
              <a:solidFill>
                <a:srgbClr val="FFAB00"/>
              </a:solidFill>
              <a:round/>
            </a:ln>
            <a:effectLst/>
          </c:spPr>
          <c:marker>
            <c:symbol val="none"/>
          </c:marker>
          <c:val>
            <c:numRef>
              <c:f>Summary!$H$3:$H$8762</c:f>
              <c:numCache>
                <c:formatCode>0</c:formatCode>
                <c:ptCount val="8760"/>
                <c:pt idx="0">
                  <c:v>2985.9043256602949</c:v>
                </c:pt>
                <c:pt idx="1">
                  <c:v>2946.2532946337374</c:v>
                </c:pt>
                <c:pt idx="2">
                  <c:v>2956.6202757916244</c:v>
                </c:pt>
                <c:pt idx="3">
                  <c:v>2967.9135164344088</c:v>
                </c:pt>
                <c:pt idx="4">
                  <c:v>3031.967922351525</c:v>
                </c:pt>
                <c:pt idx="5">
                  <c:v>3258.0464873960309</c:v>
                </c:pt>
                <c:pt idx="6">
                  <c:v>3186.4395041405228</c:v>
                </c:pt>
                <c:pt idx="7">
                  <c:v>3101.9717641908655</c:v>
                </c:pt>
                <c:pt idx="8">
                  <c:v>3127.5151507551441</c:v>
                </c:pt>
                <c:pt idx="9">
                  <c:v>3118.60880955421</c:v>
                </c:pt>
                <c:pt idx="10">
                  <c:v>3127.5151507551441</c:v>
                </c:pt>
                <c:pt idx="11">
                  <c:v>3125.4488795965271</c:v>
                </c:pt>
                <c:pt idx="12">
                  <c:v>3051.2412447103457</c:v>
                </c:pt>
                <c:pt idx="13">
                  <c:v>3043.7242927367579</c:v>
                </c:pt>
                <c:pt idx="14">
                  <c:v>3078.1383951371668</c:v>
                </c:pt>
                <c:pt idx="15">
                  <c:v>3079.0646546220637</c:v>
                </c:pt>
                <c:pt idx="16">
                  <c:v>3123.6319859915366</c:v>
                </c:pt>
                <c:pt idx="17">
                  <c:v>3116.4356623011822</c:v>
                </c:pt>
                <c:pt idx="18">
                  <c:v>3192.0326864147091</c:v>
                </c:pt>
                <c:pt idx="19">
                  <c:v>3196.485857015176</c:v>
                </c:pt>
                <c:pt idx="20">
                  <c:v>3221.1029840945575</c:v>
                </c:pt>
                <c:pt idx="21">
                  <c:v>3209.5959912629505</c:v>
                </c:pt>
                <c:pt idx="22">
                  <c:v>3123.6319859915366</c:v>
                </c:pt>
                <c:pt idx="23">
                  <c:v>3032.5379281883852</c:v>
                </c:pt>
                <c:pt idx="24">
                  <c:v>2945.1132829600178</c:v>
                </c:pt>
                <c:pt idx="25">
                  <c:v>2862.106182967314</c:v>
                </c:pt>
                <c:pt idx="26">
                  <c:v>2833.9621447723625</c:v>
                </c:pt>
                <c:pt idx="27">
                  <c:v>2789.7154416861231</c:v>
                </c:pt>
                <c:pt idx="28">
                  <c:v>2871.0125241682476</c:v>
                </c:pt>
                <c:pt idx="29">
                  <c:v>3147.0022253027873</c:v>
                </c:pt>
                <c:pt idx="30">
                  <c:v>3342.157973697651</c:v>
                </c:pt>
                <c:pt idx="31">
                  <c:v>3542.4793999890562</c:v>
                </c:pt>
                <c:pt idx="32">
                  <c:v>3580.0997852218011</c:v>
                </c:pt>
                <c:pt idx="33">
                  <c:v>3569.3765504158769</c:v>
                </c:pt>
                <c:pt idx="34">
                  <c:v>3634.0009621698532</c:v>
                </c:pt>
                <c:pt idx="35">
                  <c:v>3922.6732931745223</c:v>
                </c:pt>
                <c:pt idx="36">
                  <c:v>4097.0950792536123</c:v>
                </c:pt>
                <c:pt idx="37">
                  <c:v>4160.5794793338682</c:v>
                </c:pt>
                <c:pt idx="38">
                  <c:v>4182.2397011345402</c:v>
                </c:pt>
                <c:pt idx="39">
                  <c:v>4269.9137239165339</c:v>
                </c:pt>
                <c:pt idx="40">
                  <c:v>4329.1943309499493</c:v>
                </c:pt>
                <c:pt idx="41">
                  <c:v>4267.5268244746831</c:v>
                </c:pt>
                <c:pt idx="42">
                  <c:v>4260.1167485955066</c:v>
                </c:pt>
                <c:pt idx="43">
                  <c:v>4245.0472192835259</c:v>
                </c:pt>
                <c:pt idx="44">
                  <c:v>4231.5095806581057</c:v>
                </c:pt>
                <c:pt idx="45">
                  <c:v>4215.1931635779947</c:v>
                </c:pt>
                <c:pt idx="46">
                  <c:v>3970.0906537282945</c:v>
                </c:pt>
                <c:pt idx="47">
                  <c:v>4025.5949720925141</c:v>
                </c:pt>
                <c:pt idx="48">
                  <c:v>4023.5643262987014</c:v>
                </c:pt>
                <c:pt idx="49">
                  <c:v>3952.31359669123</c:v>
                </c:pt>
                <c:pt idx="50">
                  <c:v>3867.5964791879474</c:v>
                </c:pt>
                <c:pt idx="51">
                  <c:v>3870.2327561834231</c:v>
                </c:pt>
                <c:pt idx="52">
                  <c:v>3871.0165142091055</c:v>
                </c:pt>
                <c:pt idx="53">
                  <c:v>3924.9533165219618</c:v>
                </c:pt>
                <c:pt idx="54">
                  <c:v>4018.6480259557861</c:v>
                </c:pt>
                <c:pt idx="55">
                  <c:v>4049.2145889573912</c:v>
                </c:pt>
                <c:pt idx="56">
                  <c:v>4105.7520429009192</c:v>
                </c:pt>
                <c:pt idx="57">
                  <c:v>4189.7566531081284</c:v>
                </c:pt>
                <c:pt idx="58">
                  <c:v>4244.8334670947033</c:v>
                </c:pt>
                <c:pt idx="59">
                  <c:v>4262.5036480373565</c:v>
                </c:pt>
                <c:pt idx="60">
                  <c:v>4184.9828542244277</c:v>
                </c:pt>
                <c:pt idx="61">
                  <c:v>4162.7526265868964</c:v>
                </c:pt>
                <c:pt idx="62">
                  <c:v>4037.351342477747</c:v>
                </c:pt>
                <c:pt idx="63">
                  <c:v>4253.1698024587777</c:v>
                </c:pt>
                <c:pt idx="64">
                  <c:v>4279.0338173062901</c:v>
                </c:pt>
                <c:pt idx="65">
                  <c:v>4213.4831460674159</c:v>
                </c:pt>
                <c:pt idx="66">
                  <c:v>4321.2142492339117</c:v>
                </c:pt>
                <c:pt idx="67">
                  <c:v>4336.6044068291258</c:v>
                </c:pt>
                <c:pt idx="68">
                  <c:v>4238.5634028892464</c:v>
                </c:pt>
                <c:pt idx="69">
                  <c:v>4354.2745877717789</c:v>
                </c:pt>
                <c:pt idx="70">
                  <c:v>4323.4942725813517</c:v>
                </c:pt>
                <c:pt idx="71">
                  <c:v>4195.8129651247627</c:v>
                </c:pt>
                <c:pt idx="72">
                  <c:v>3977.5007296074714</c:v>
                </c:pt>
                <c:pt idx="73">
                  <c:v>3872.8334078140965</c:v>
                </c:pt>
                <c:pt idx="74">
                  <c:v>3907.2831355793082</c:v>
                </c:pt>
                <c:pt idx="75">
                  <c:v>3752.2415479534516</c:v>
                </c:pt>
                <c:pt idx="76">
                  <c:v>3839.666193181818</c:v>
                </c:pt>
                <c:pt idx="77">
                  <c:v>3833.9661348132204</c:v>
                </c:pt>
                <c:pt idx="78">
                  <c:v>3853.0257049832194</c:v>
                </c:pt>
                <c:pt idx="79">
                  <c:v>3988.9008463446667</c:v>
                </c:pt>
                <c:pt idx="80">
                  <c:v>4042.0182652670364</c:v>
                </c:pt>
                <c:pt idx="81">
                  <c:v>4028.1243729935795</c:v>
                </c:pt>
                <c:pt idx="82">
                  <c:v>4138.4561277907487</c:v>
                </c:pt>
                <c:pt idx="83">
                  <c:v>3888.0098132204876</c:v>
                </c:pt>
                <c:pt idx="84">
                  <c:v>3863.0988486366659</c:v>
                </c:pt>
                <c:pt idx="85">
                  <c:v>3757.0999929561563</c:v>
                </c:pt>
                <c:pt idx="86">
                  <c:v>3645.1437223936964</c:v>
                </c:pt>
                <c:pt idx="87">
                  <c:v>3331.4678006392751</c:v>
                </c:pt>
                <c:pt idx="88">
                  <c:v>3389.5049391481002</c:v>
                </c:pt>
                <c:pt idx="89">
                  <c:v>3392.6180255781837</c:v>
                </c:pt>
                <c:pt idx="90">
                  <c:v>3412.4770295649537</c:v>
                </c:pt>
                <c:pt idx="91">
                  <c:v>3374.4228695294087</c:v>
                </c:pt>
                <c:pt idx="92">
                  <c:v>3357.5532617889735</c:v>
                </c:pt>
                <c:pt idx="93">
                  <c:v>3375.9895304980878</c:v>
                </c:pt>
                <c:pt idx="94">
                  <c:v>3313.1703271250753</c:v>
                </c:pt>
                <c:pt idx="95">
                  <c:v>3283.2356153240034</c:v>
                </c:pt>
                <c:pt idx="96">
                  <c:v>3252.9437953358097</c:v>
                </c:pt>
                <c:pt idx="97">
                  <c:v>3345.0658587657604</c:v>
                </c:pt>
                <c:pt idx="98">
                  <c:v>3343.7408799462933</c:v>
                </c:pt>
                <c:pt idx="99">
                  <c:v>3288.4340687627327</c:v>
                </c:pt>
                <c:pt idx="100">
                  <c:v>3319.289909824392</c:v>
                </c:pt>
                <c:pt idx="101">
                  <c:v>3401.735554807085</c:v>
                </c:pt>
                <c:pt idx="102">
                  <c:v>3446.7685800798617</c:v>
                </c:pt>
                <c:pt idx="103">
                  <c:v>3574.4401978677547</c:v>
                </c:pt>
                <c:pt idx="104">
                  <c:v>3757.3599163483623</c:v>
                </c:pt>
                <c:pt idx="105">
                  <c:v>3854.3905843770644</c:v>
                </c:pt>
                <c:pt idx="106">
                  <c:v>3919.7163878958122</c:v>
                </c:pt>
                <c:pt idx="107">
                  <c:v>3991.2401508949247</c:v>
                </c:pt>
                <c:pt idx="108">
                  <c:v>3999.6209467534127</c:v>
                </c:pt>
                <c:pt idx="109">
                  <c:v>4029.9823073058446</c:v>
                </c:pt>
                <c:pt idx="110">
                  <c:v>4064.0367362710763</c:v>
                </c:pt>
                <c:pt idx="111">
                  <c:v>4014.2755114508604</c:v>
                </c:pt>
                <c:pt idx="112">
                  <c:v>4096.5615538642414</c:v>
                </c:pt>
                <c:pt idx="113">
                  <c:v>4378.2897888265979</c:v>
                </c:pt>
                <c:pt idx="114">
                  <c:v>4422.6752881949515</c:v>
                </c:pt>
                <c:pt idx="115">
                  <c:v>4337.0675365715742</c:v>
                </c:pt>
                <c:pt idx="116">
                  <c:v>4179.2827958558291</c:v>
                </c:pt>
                <c:pt idx="117">
                  <c:v>3952.8719175758633</c:v>
                </c:pt>
                <c:pt idx="118">
                  <c:v>3655.1464698566201</c:v>
                </c:pt>
                <c:pt idx="119">
                  <c:v>3621.0347547003012</c:v>
                </c:pt>
                <c:pt idx="120">
                  <c:v>3621.6210054773737</c:v>
                </c:pt>
                <c:pt idx="121">
                  <c:v>3627.9164350067163</c:v>
                </c:pt>
                <c:pt idx="122">
                  <c:v>3581.394268696924</c:v>
                </c:pt>
                <c:pt idx="123">
                  <c:v>3597.8611672831753</c:v>
                </c:pt>
                <c:pt idx="124">
                  <c:v>3658.5867392978548</c:v>
                </c:pt>
                <c:pt idx="125">
                  <c:v>3801.2458048472786</c:v>
                </c:pt>
                <c:pt idx="126">
                  <c:v>3758.04848241646</c:v>
                </c:pt>
                <c:pt idx="127">
                  <c:v>3718.7043997091782</c:v>
                </c:pt>
                <c:pt idx="128">
                  <c:v>3748.0691054015897</c:v>
                </c:pt>
                <c:pt idx="129">
                  <c:v>3798.8153001295991</c:v>
                </c:pt>
                <c:pt idx="130">
                  <c:v>3766.4064791504179</c:v>
                </c:pt>
                <c:pt idx="131">
                  <c:v>3806.494988526078</c:v>
                </c:pt>
                <c:pt idx="132">
                  <c:v>3844.630090047126</c:v>
                </c:pt>
                <c:pt idx="133">
                  <c:v>3718.7357499323571</c:v>
                </c:pt>
                <c:pt idx="134">
                  <c:v>3736.7738708342736</c:v>
                </c:pt>
                <c:pt idx="135">
                  <c:v>3790.4684200141442</c:v>
                </c:pt>
                <c:pt idx="136">
                  <c:v>3887.0085989160816</c:v>
                </c:pt>
                <c:pt idx="137">
                  <c:v>3949.4128376745612</c:v>
                </c:pt>
                <c:pt idx="138">
                  <c:v>3997.3283836428627</c:v>
                </c:pt>
                <c:pt idx="139">
                  <c:v>3985.4645663832957</c:v>
                </c:pt>
                <c:pt idx="140">
                  <c:v>3985.0769622402781</c:v>
                </c:pt>
                <c:pt idx="141">
                  <c:v>4024.85282446683</c:v>
                </c:pt>
                <c:pt idx="142">
                  <c:v>3856.6523672289595</c:v>
                </c:pt>
                <c:pt idx="143">
                  <c:v>3756.7651147444408</c:v>
                </c:pt>
                <c:pt idx="144">
                  <c:v>3533.7853862015363</c:v>
                </c:pt>
                <c:pt idx="145">
                  <c:v>3433.1861961136665</c:v>
                </c:pt>
                <c:pt idx="146">
                  <c:v>3389.7081456342426</c:v>
                </c:pt>
                <c:pt idx="147">
                  <c:v>3371.4203635554372</c:v>
                </c:pt>
                <c:pt idx="148">
                  <c:v>3372.2066865573743</c:v>
                </c:pt>
                <c:pt idx="149">
                  <c:v>3506.2498290308649</c:v>
                </c:pt>
                <c:pt idx="150">
                  <c:v>3487.9366816281749</c:v>
                </c:pt>
                <c:pt idx="151">
                  <c:v>3402.8801256533907</c:v>
                </c:pt>
                <c:pt idx="152">
                  <c:v>3296.7450400260213</c:v>
                </c:pt>
                <c:pt idx="153">
                  <c:v>3296.7535897656708</c:v>
                </c:pt>
                <c:pt idx="154">
                  <c:v>3347.8429286858818</c:v>
                </c:pt>
                <c:pt idx="155">
                  <c:v>3383.2217643996082</c:v>
                </c:pt>
                <c:pt idx="156">
                  <c:v>3331.8665192263952</c:v>
                </c:pt>
                <c:pt idx="157">
                  <c:v>3302.2535750940042</c:v>
                </c:pt>
                <c:pt idx="158">
                  <c:v>3348.5380494818969</c:v>
                </c:pt>
                <c:pt idx="159">
                  <c:v>3240.9665477975136</c:v>
                </c:pt>
                <c:pt idx="160">
                  <c:v>3276.7466695208145</c:v>
                </c:pt>
                <c:pt idx="161">
                  <c:v>3286.1702906273063</c:v>
                </c:pt>
                <c:pt idx="162">
                  <c:v>3344.7857009534787</c:v>
                </c:pt>
                <c:pt idx="163">
                  <c:v>3367.1313544250693</c:v>
                </c:pt>
                <c:pt idx="164">
                  <c:v>3399.4079349372537</c:v>
                </c:pt>
                <c:pt idx="165">
                  <c:v>3435.9951845906903</c:v>
                </c:pt>
                <c:pt idx="166">
                  <c:v>3323.2409049868675</c:v>
                </c:pt>
                <c:pt idx="167">
                  <c:v>3194.3127097621482</c:v>
                </c:pt>
                <c:pt idx="168">
                  <c:v>3111.6618634174815</c:v>
                </c:pt>
                <c:pt idx="169">
                  <c:v>3068.341419816139</c:v>
                </c:pt>
                <c:pt idx="170">
                  <c:v>2943.4032654494381</c:v>
                </c:pt>
                <c:pt idx="171">
                  <c:v>2904.8566207317963</c:v>
                </c:pt>
                <c:pt idx="172">
                  <c:v>2957.0834055340729</c:v>
                </c:pt>
                <c:pt idx="173">
                  <c:v>3148.1422369765069</c:v>
                </c:pt>
                <c:pt idx="174">
                  <c:v>3263.4971682110026</c:v>
                </c:pt>
                <c:pt idx="175">
                  <c:v>3440.3414790967458</c:v>
                </c:pt>
                <c:pt idx="176">
                  <c:v>3471.9055523128559</c:v>
                </c:pt>
                <c:pt idx="177">
                  <c:v>3564.4152196140235</c:v>
                </c:pt>
                <c:pt idx="178">
                  <c:v>3728.3118486439207</c:v>
                </c:pt>
                <c:pt idx="179">
                  <c:v>3755.1163729048117</c:v>
                </c:pt>
                <c:pt idx="180">
                  <c:v>3778.568693630612</c:v>
                </c:pt>
                <c:pt idx="181">
                  <c:v>3682.3816328923335</c:v>
                </c:pt>
                <c:pt idx="182">
                  <c:v>3719.6893698887711</c:v>
                </c:pt>
                <c:pt idx="183">
                  <c:v>3674.7136297198817</c:v>
                </c:pt>
                <c:pt idx="184">
                  <c:v>3677.682220222619</c:v>
                </c:pt>
                <c:pt idx="185">
                  <c:v>3686.8524737520215</c:v>
                </c:pt>
                <c:pt idx="186">
                  <c:v>3671.2069535679875</c:v>
                </c:pt>
                <c:pt idx="187">
                  <c:v>3675.9676419086536</c:v>
                </c:pt>
                <c:pt idx="188">
                  <c:v>3566.5265212315776</c:v>
                </c:pt>
                <c:pt idx="189">
                  <c:v>3435.9951845906903</c:v>
                </c:pt>
                <c:pt idx="190">
                  <c:v>3302.1506890230557</c:v>
                </c:pt>
                <c:pt idx="191">
                  <c:v>3336.0304109514086</c:v>
                </c:pt>
                <c:pt idx="192">
                  <c:v>3320.8540055450171</c:v>
                </c:pt>
                <c:pt idx="193">
                  <c:v>3306.7107357179343</c:v>
                </c:pt>
                <c:pt idx="194">
                  <c:v>3287.2236611702906</c:v>
                </c:pt>
                <c:pt idx="195">
                  <c:v>3442.9421307274188</c:v>
                </c:pt>
                <c:pt idx="196">
                  <c:v>3571.0865679264557</c:v>
                </c:pt>
                <c:pt idx="197">
                  <c:v>3653.0605323398513</c:v>
                </c:pt>
                <c:pt idx="198">
                  <c:v>3788.3656678644388</c:v>
                </c:pt>
                <c:pt idx="199">
                  <c:v>3890.8598424047864</c:v>
                </c:pt>
                <c:pt idx="200">
                  <c:v>4026.521231577412</c:v>
                </c:pt>
                <c:pt idx="201">
                  <c:v>4210.5718417557664</c:v>
                </c:pt>
                <c:pt idx="202">
                  <c:v>4164.6040061712447</c:v>
                </c:pt>
                <c:pt idx="203">
                  <c:v>4217.5167926089644</c:v>
                </c:pt>
                <c:pt idx="204">
                  <c:v>4140.8983178683548</c:v>
                </c:pt>
                <c:pt idx="205">
                  <c:v>4018.4889947099964</c:v>
                </c:pt>
                <c:pt idx="206">
                  <c:v>3949.969163275663</c:v>
                </c:pt>
                <c:pt idx="207">
                  <c:v>3935.1541409262186</c:v>
                </c:pt>
                <c:pt idx="208">
                  <c:v>3860.9140161596115</c:v>
                </c:pt>
                <c:pt idx="209">
                  <c:v>3706.1545829885672</c:v>
                </c:pt>
                <c:pt idx="210">
                  <c:v>3679.6000048868259</c:v>
                </c:pt>
                <c:pt idx="211">
                  <c:v>3604.1469064643225</c:v>
                </c:pt>
                <c:pt idx="212">
                  <c:v>3729.0850608310229</c:v>
                </c:pt>
                <c:pt idx="213">
                  <c:v>3748.7146368378817</c:v>
                </c:pt>
                <c:pt idx="214">
                  <c:v>3563.2133623048303</c:v>
                </c:pt>
                <c:pt idx="215">
                  <c:v>3516.3660075879179</c:v>
                </c:pt>
                <c:pt idx="216">
                  <c:v>3478.1756165183137</c:v>
                </c:pt>
                <c:pt idx="217">
                  <c:v>3415.4749744637388</c:v>
                </c:pt>
                <c:pt idx="218">
                  <c:v>3410.9149277688607</c:v>
                </c:pt>
                <c:pt idx="219">
                  <c:v>3401.2248285422447</c:v>
                </c:pt>
                <c:pt idx="220">
                  <c:v>3560.8264628629795</c:v>
                </c:pt>
                <c:pt idx="221">
                  <c:v>3697.6278637093242</c:v>
                </c:pt>
                <c:pt idx="222">
                  <c:v>3789.3988034437475</c:v>
                </c:pt>
                <c:pt idx="223">
                  <c:v>3848.1094046403041</c:v>
                </c:pt>
                <c:pt idx="224">
                  <c:v>3814.3721841711658</c:v>
                </c:pt>
                <c:pt idx="225">
                  <c:v>3849.40445807995</c:v>
                </c:pt>
                <c:pt idx="226">
                  <c:v>3873.9506198196855</c:v>
                </c:pt>
                <c:pt idx="227">
                  <c:v>3879.0701276000432</c:v>
                </c:pt>
                <c:pt idx="228">
                  <c:v>3858.7616735629822</c:v>
                </c:pt>
                <c:pt idx="229">
                  <c:v>3832.6234864819826</c:v>
                </c:pt>
                <c:pt idx="230">
                  <c:v>3898.3337608337683</c:v>
                </c:pt>
                <c:pt idx="231">
                  <c:v>3890.8370438238562</c:v>
                </c:pt>
                <c:pt idx="232">
                  <c:v>3926.1819654253477</c:v>
                </c:pt>
                <c:pt idx="233">
                  <c:v>3932.2331480330736</c:v>
                </c:pt>
                <c:pt idx="234">
                  <c:v>3929.6384803503947</c:v>
                </c:pt>
                <c:pt idx="235">
                  <c:v>3930.6533748905595</c:v>
                </c:pt>
                <c:pt idx="236">
                  <c:v>3955.8405078067999</c:v>
                </c:pt>
                <c:pt idx="237">
                  <c:v>3957.7642775062022</c:v>
                </c:pt>
                <c:pt idx="238">
                  <c:v>3811.9852847293159</c:v>
                </c:pt>
                <c:pt idx="239">
                  <c:v>3726.3419077411349</c:v>
                </c:pt>
                <c:pt idx="240">
                  <c:v>3589.7898844484171</c:v>
                </c:pt>
                <c:pt idx="241">
                  <c:v>3540.7693824784765</c:v>
                </c:pt>
                <c:pt idx="242">
                  <c:v>3508.3859258718812</c:v>
                </c:pt>
                <c:pt idx="243">
                  <c:v>3280.4904672223847</c:v>
                </c:pt>
                <c:pt idx="244">
                  <c:v>3368.1644900043775</c:v>
                </c:pt>
                <c:pt idx="245">
                  <c:v>3340.2342039982491</c:v>
                </c:pt>
                <c:pt idx="246">
                  <c:v>3391.64160541004</c:v>
                </c:pt>
                <c:pt idx="247">
                  <c:v>3550.3526056106821</c:v>
                </c:pt>
                <c:pt idx="248">
                  <c:v>3582.7004368524736</c:v>
                </c:pt>
                <c:pt idx="249">
                  <c:v>3595.3830667226034</c:v>
                </c:pt>
                <c:pt idx="250">
                  <c:v>3556.8364220049616</c:v>
                </c:pt>
                <c:pt idx="251">
                  <c:v>3453.665365533343</c:v>
                </c:pt>
                <c:pt idx="252">
                  <c:v>3328.7839268496073</c:v>
                </c:pt>
                <c:pt idx="253">
                  <c:v>3318.2177285495404</c:v>
                </c:pt>
                <c:pt idx="254">
                  <c:v>3245.0432292426676</c:v>
                </c:pt>
                <c:pt idx="255">
                  <c:v>3320.1771236137461</c:v>
                </c:pt>
                <c:pt idx="256">
                  <c:v>3391.5347293156287</c:v>
                </c:pt>
                <c:pt idx="257">
                  <c:v>3409.7749160951412</c:v>
                </c:pt>
                <c:pt idx="258">
                  <c:v>3445.578407722895</c:v>
                </c:pt>
                <c:pt idx="259">
                  <c:v>3405.7848752371228</c:v>
                </c:pt>
                <c:pt idx="260">
                  <c:v>3455.3753830439223</c:v>
                </c:pt>
                <c:pt idx="261">
                  <c:v>3392.1047351524885</c:v>
                </c:pt>
                <c:pt idx="262">
                  <c:v>3189.8595391616814</c:v>
                </c:pt>
                <c:pt idx="263">
                  <c:v>2916.1498613745807</c:v>
                </c:pt>
                <c:pt idx="264">
                  <c:v>2859.0424015941921</c:v>
                </c:pt>
                <c:pt idx="265">
                  <c:v>2851.1691959725667</c:v>
                </c:pt>
                <c:pt idx="266">
                  <c:v>2845.0060078615206</c:v>
                </c:pt>
                <c:pt idx="267">
                  <c:v>2871.6894060995187</c:v>
                </c:pt>
                <c:pt idx="268">
                  <c:v>2888.6827051109008</c:v>
                </c:pt>
                <c:pt idx="269">
                  <c:v>3066.0613964687</c:v>
                </c:pt>
                <c:pt idx="270">
                  <c:v>3172.6524879614772</c:v>
                </c:pt>
                <c:pt idx="271">
                  <c:v>3214.8329198890997</c:v>
                </c:pt>
                <c:pt idx="272">
                  <c:v>3266.8103271377499</c:v>
                </c:pt>
                <c:pt idx="273">
                  <c:v>3391.5347293156287</c:v>
                </c:pt>
                <c:pt idx="274">
                  <c:v>3404.0748577265431</c:v>
                </c:pt>
                <c:pt idx="275">
                  <c:v>3588.1867430322491</c:v>
                </c:pt>
                <c:pt idx="276">
                  <c:v>3491.1788746716766</c:v>
                </c:pt>
                <c:pt idx="277">
                  <c:v>3530.7230296038233</c:v>
                </c:pt>
                <c:pt idx="278">
                  <c:v>3495.7389213665547</c:v>
                </c:pt>
                <c:pt idx="279">
                  <c:v>3485.0156865606305</c:v>
                </c:pt>
                <c:pt idx="280">
                  <c:v>3486.15569823435</c:v>
                </c:pt>
                <c:pt idx="281">
                  <c:v>3454.8053772070625</c:v>
                </c:pt>
                <c:pt idx="282">
                  <c:v>3450.2453305121844</c:v>
                </c:pt>
                <c:pt idx="283">
                  <c:v>3474.7555814971547</c:v>
                </c:pt>
                <c:pt idx="284">
                  <c:v>3560.2564570261197</c:v>
                </c:pt>
                <c:pt idx="285">
                  <c:v>3633.2172041441704</c:v>
                </c:pt>
                <c:pt idx="286">
                  <c:v>3570.5165620895959</c:v>
                </c:pt>
                <c:pt idx="287">
                  <c:v>3579.6366554793526</c:v>
                </c:pt>
                <c:pt idx="288">
                  <c:v>3486.15569823435</c:v>
                </c:pt>
                <c:pt idx="289">
                  <c:v>3473.0455639865759</c:v>
                </c:pt>
                <c:pt idx="290">
                  <c:v>3481.0256457026121</c:v>
                </c:pt>
                <c:pt idx="291">
                  <c:v>3336.9210450715013</c:v>
                </c:pt>
                <c:pt idx="292">
                  <c:v>3303.0769485079527</c:v>
                </c:pt>
                <c:pt idx="293">
                  <c:v>3470.1955348022766</c:v>
                </c:pt>
                <c:pt idx="294">
                  <c:v>3614.050757879761</c:v>
                </c:pt>
                <c:pt idx="295">
                  <c:v>3692.2840589887646</c:v>
                </c:pt>
                <c:pt idx="296">
                  <c:v>3685.7646172296809</c:v>
                </c:pt>
                <c:pt idx="297">
                  <c:v>3733.5382314314897</c:v>
                </c:pt>
                <c:pt idx="298">
                  <c:v>3779.6018281227198</c:v>
                </c:pt>
                <c:pt idx="299">
                  <c:v>3800.3357904384943</c:v>
                </c:pt>
                <c:pt idx="300">
                  <c:v>3761.9316471800676</c:v>
                </c:pt>
                <c:pt idx="301">
                  <c:v>3739.2382898000878</c:v>
                </c:pt>
                <c:pt idx="302">
                  <c:v>3694.7778345250258</c:v>
                </c:pt>
                <c:pt idx="303">
                  <c:v>3616.3307812272001</c:v>
                </c:pt>
                <c:pt idx="304">
                  <c:v>3541.2325122209249</c:v>
                </c:pt>
                <c:pt idx="305">
                  <c:v>3533.4661826937113</c:v>
                </c:pt>
                <c:pt idx="306">
                  <c:v>3609.3838350904716</c:v>
                </c:pt>
                <c:pt idx="307">
                  <c:v>3686.1208708777181</c:v>
                </c:pt>
                <c:pt idx="308">
                  <c:v>3666.384418776448</c:v>
                </c:pt>
                <c:pt idx="309">
                  <c:v>3644.7241969757774</c:v>
                </c:pt>
                <c:pt idx="310">
                  <c:v>3509.9890672880488</c:v>
                </c:pt>
                <c:pt idx="311">
                  <c:v>3376.0376956260034</c:v>
                </c:pt>
                <c:pt idx="312">
                  <c:v>3341.3742156719691</c:v>
                </c:pt>
                <c:pt idx="313">
                  <c:v>3249.1401461950973</c:v>
                </c:pt>
                <c:pt idx="314">
                  <c:v>3238.6662889427989</c:v>
                </c:pt>
                <c:pt idx="315">
                  <c:v>3214.939795983511</c:v>
                </c:pt>
                <c:pt idx="316">
                  <c:v>3229.653071647454</c:v>
                </c:pt>
                <c:pt idx="317">
                  <c:v>3381.1677481577412</c:v>
                </c:pt>
                <c:pt idx="318">
                  <c:v>3399.6216871260763</c:v>
                </c:pt>
                <c:pt idx="319">
                  <c:v>3399.4079349372537</c:v>
                </c:pt>
                <c:pt idx="320">
                  <c:v>3441.8021190536997</c:v>
                </c:pt>
                <c:pt idx="321">
                  <c:v>3416.5081100430471</c:v>
                </c:pt>
                <c:pt idx="322">
                  <c:v>3374.0783005617982</c:v>
                </c:pt>
                <c:pt idx="323">
                  <c:v>3344.1173687618561</c:v>
                </c:pt>
                <c:pt idx="324">
                  <c:v>3393.1378707317963</c:v>
                </c:pt>
                <c:pt idx="325">
                  <c:v>3494.919537976069</c:v>
                </c:pt>
                <c:pt idx="326">
                  <c:v>3496.7720569458634</c:v>
                </c:pt>
                <c:pt idx="327">
                  <c:v>3584.7667080110905</c:v>
                </c:pt>
                <c:pt idx="328">
                  <c:v>3704.5748098460531</c:v>
                </c:pt>
                <c:pt idx="329">
                  <c:v>3707.9948448672117</c:v>
                </c:pt>
                <c:pt idx="330">
                  <c:v>3724.8812677841825</c:v>
                </c:pt>
                <c:pt idx="331">
                  <c:v>3745.401477911134</c:v>
                </c:pt>
                <c:pt idx="332">
                  <c:v>3673.7944946556254</c:v>
                </c:pt>
                <c:pt idx="333">
                  <c:v>3694.7778345250258</c:v>
                </c:pt>
                <c:pt idx="334">
                  <c:v>3564.246497884139</c:v>
                </c:pt>
                <c:pt idx="335">
                  <c:v>3448.5353130016051</c:v>
                </c:pt>
                <c:pt idx="336">
                  <c:v>3395.9878999160956</c:v>
                </c:pt>
                <c:pt idx="337">
                  <c:v>3312.87392382898</c:v>
                </c:pt>
                <c:pt idx="338">
                  <c:v>3346.1480145556689</c:v>
                </c:pt>
                <c:pt idx="339">
                  <c:v>3414.2280866956075</c:v>
                </c:pt>
                <c:pt idx="340">
                  <c:v>3539.1662410623089</c:v>
                </c:pt>
                <c:pt idx="341">
                  <c:v>3742.5514487268356</c:v>
                </c:pt>
                <c:pt idx="342">
                  <c:v>3681.3114466292136</c:v>
                </c:pt>
                <c:pt idx="343">
                  <c:v>3755.6615829746097</c:v>
                </c:pt>
                <c:pt idx="344">
                  <c:v>3806.6058546439522</c:v>
                </c:pt>
                <c:pt idx="345">
                  <c:v>3799.552032412812</c:v>
                </c:pt>
                <c:pt idx="346">
                  <c:v>3856.7663682876114</c:v>
                </c:pt>
                <c:pt idx="347">
                  <c:v>3661.5037437983369</c:v>
                </c:pt>
                <c:pt idx="348">
                  <c:v>3551.4926172844007</c:v>
                </c:pt>
                <c:pt idx="349">
                  <c:v>3815.9753255873338</c:v>
                </c:pt>
                <c:pt idx="350">
                  <c:v>4245.4034729315626</c:v>
                </c:pt>
                <c:pt idx="351">
                  <c:v>3870.2327561834231</c:v>
                </c:pt>
                <c:pt idx="352">
                  <c:v>3796.345749580476</c:v>
                </c:pt>
                <c:pt idx="353">
                  <c:v>3906.7131297424485</c:v>
                </c:pt>
                <c:pt idx="354">
                  <c:v>3909.2069052787106</c:v>
                </c:pt>
                <c:pt idx="355">
                  <c:v>3930.2971212425214</c:v>
                </c:pt>
                <c:pt idx="356">
                  <c:v>3904.8962361374583</c:v>
                </c:pt>
                <c:pt idx="357">
                  <c:v>3863.0364324930692</c:v>
                </c:pt>
                <c:pt idx="358">
                  <c:v>3762.0385232744788</c:v>
                </c:pt>
                <c:pt idx="359">
                  <c:v>3574.3997268532034</c:v>
                </c:pt>
                <c:pt idx="360">
                  <c:v>3543.1562819203273</c:v>
                </c:pt>
                <c:pt idx="361">
                  <c:v>3486.3694504231726</c:v>
                </c:pt>
                <c:pt idx="362">
                  <c:v>3393.1378707317963</c:v>
                </c:pt>
                <c:pt idx="363">
                  <c:v>3445.7921599117176</c:v>
                </c:pt>
                <c:pt idx="364">
                  <c:v>3486.6188279767985</c:v>
                </c:pt>
                <c:pt idx="365">
                  <c:v>3690.7877936670075</c:v>
                </c:pt>
                <c:pt idx="366">
                  <c:v>3767.6317055486652</c:v>
                </c:pt>
                <c:pt idx="367">
                  <c:v>3855.7332327083031</c:v>
                </c:pt>
                <c:pt idx="368">
                  <c:v>3903.3999708157016</c:v>
                </c:pt>
                <c:pt idx="369">
                  <c:v>4137.4586175762443</c:v>
                </c:pt>
                <c:pt idx="370">
                  <c:v>4093.2119144900043</c:v>
                </c:pt>
                <c:pt idx="371">
                  <c:v>4351.9945644243398</c:v>
                </c:pt>
                <c:pt idx="372">
                  <c:v>4186.6928717350065</c:v>
                </c:pt>
                <c:pt idx="373">
                  <c:v>4072.1216985261935</c:v>
                </c:pt>
                <c:pt idx="374">
                  <c:v>3873.9734194878156</c:v>
                </c:pt>
                <c:pt idx="375">
                  <c:v>3902.1530830475704</c:v>
                </c:pt>
                <c:pt idx="376">
                  <c:v>4013.3042212352257</c:v>
                </c:pt>
                <c:pt idx="377">
                  <c:v>4123.0659701955346</c:v>
                </c:pt>
                <c:pt idx="378">
                  <c:v>4106.678302385817</c:v>
                </c:pt>
                <c:pt idx="379">
                  <c:v>4075.5417335473517</c:v>
                </c:pt>
                <c:pt idx="380">
                  <c:v>4075.648609641763</c:v>
                </c:pt>
                <c:pt idx="381">
                  <c:v>4048.0745772836713</c:v>
                </c:pt>
                <c:pt idx="382">
                  <c:v>3744.9383481686855</c:v>
                </c:pt>
                <c:pt idx="383">
                  <c:v>3640.1641502808993</c:v>
                </c:pt>
                <c:pt idx="384">
                  <c:v>3546.5763169414854</c:v>
                </c:pt>
                <c:pt idx="385">
                  <c:v>3403.6117279840946</c:v>
                </c:pt>
                <c:pt idx="386">
                  <c:v>3475.6818409820517</c:v>
                </c:pt>
                <c:pt idx="387">
                  <c:v>3453.7722416277543</c:v>
                </c:pt>
                <c:pt idx="388">
                  <c:v>3268.3065924595071</c:v>
                </c:pt>
                <c:pt idx="389">
                  <c:v>3251.5270456369476</c:v>
                </c:pt>
                <c:pt idx="390">
                  <c:v>3211.8760146103896</c:v>
                </c:pt>
                <c:pt idx="391">
                  <c:v>3196.0227272727275</c:v>
                </c:pt>
                <c:pt idx="392">
                  <c:v>3070.0514373267183</c:v>
                </c:pt>
                <c:pt idx="393">
                  <c:v>3088.1847480118199</c:v>
                </c:pt>
                <c:pt idx="394">
                  <c:v>3008.5976830402747</c:v>
                </c:pt>
                <c:pt idx="395">
                  <c:v>2993.6706551875091</c:v>
                </c:pt>
                <c:pt idx="396">
                  <c:v>3321.8871411243254</c:v>
                </c:pt>
                <c:pt idx="397">
                  <c:v>3381.8446300890128</c:v>
                </c:pt>
                <c:pt idx="398">
                  <c:v>3640.6272800233478</c:v>
                </c:pt>
                <c:pt idx="399">
                  <c:v>3934.8571679373995</c:v>
                </c:pt>
                <c:pt idx="400">
                  <c:v>4012.7342153983654</c:v>
                </c:pt>
                <c:pt idx="401">
                  <c:v>4034.0381835509997</c:v>
                </c:pt>
                <c:pt idx="402">
                  <c:v>4135.285470323216</c:v>
                </c:pt>
                <c:pt idx="403">
                  <c:v>4117.8290415693855</c:v>
                </c:pt>
                <c:pt idx="404">
                  <c:v>4224.3132569677518</c:v>
                </c:pt>
                <c:pt idx="405">
                  <c:v>4201.4061473989495</c:v>
                </c:pt>
                <c:pt idx="406">
                  <c:v>4087.618732215818</c:v>
                </c:pt>
                <c:pt idx="407">
                  <c:v>4030.6181485298416</c:v>
                </c:pt>
                <c:pt idx="408">
                  <c:v>3964.9606011965566</c:v>
                </c:pt>
                <c:pt idx="409">
                  <c:v>3858.2626336093685</c:v>
                </c:pt>
                <c:pt idx="410">
                  <c:v>3799.6589085072233</c:v>
                </c:pt>
                <c:pt idx="411">
                  <c:v>3785.4087625857292</c:v>
                </c:pt>
                <c:pt idx="412">
                  <c:v>3819.5022367029037</c:v>
                </c:pt>
                <c:pt idx="413">
                  <c:v>3806.035848807092</c:v>
                </c:pt>
                <c:pt idx="414">
                  <c:v>3916.0469753210273</c:v>
                </c:pt>
                <c:pt idx="415">
                  <c:v>4047.6114475412228</c:v>
                </c:pt>
                <c:pt idx="416">
                  <c:v>4028.6943788304393</c:v>
                </c:pt>
                <c:pt idx="417">
                  <c:v>4016.8311323507951</c:v>
                </c:pt>
                <c:pt idx="418">
                  <c:v>4178.8196661133807</c:v>
                </c:pt>
                <c:pt idx="419">
                  <c:v>4261.7198900116737</c:v>
                </c:pt>
                <c:pt idx="420">
                  <c:v>4171.4095902342042</c:v>
                </c:pt>
                <c:pt idx="421">
                  <c:v>4203.1161649095293</c:v>
                </c:pt>
                <c:pt idx="422">
                  <c:v>4040.3082477564576</c:v>
                </c:pt>
                <c:pt idx="423">
                  <c:v>4004.1841278454694</c:v>
                </c:pt>
                <c:pt idx="424">
                  <c:v>3983.9845460017514</c:v>
                </c:pt>
                <c:pt idx="425">
                  <c:v>4018.4342737669635</c:v>
                </c:pt>
                <c:pt idx="426">
                  <c:v>4000.977845013133</c:v>
                </c:pt>
                <c:pt idx="427">
                  <c:v>4139.168635086824</c:v>
                </c:pt>
                <c:pt idx="428">
                  <c:v>4166.7426674449152</c:v>
                </c:pt>
                <c:pt idx="429">
                  <c:v>4158.7625857288776</c:v>
                </c:pt>
                <c:pt idx="430">
                  <c:v>4049.9983469830736</c:v>
                </c:pt>
                <c:pt idx="431">
                  <c:v>3999.6240811505913</c:v>
                </c:pt>
                <c:pt idx="432">
                  <c:v>3982.7376582336206</c:v>
                </c:pt>
                <c:pt idx="433">
                  <c:v>3872.5127795308626</c:v>
                </c:pt>
                <c:pt idx="434">
                  <c:v>3876.7165725777036</c:v>
                </c:pt>
                <c:pt idx="435">
                  <c:v>3878.8897198307318</c:v>
                </c:pt>
                <c:pt idx="436">
                  <c:v>3902.3668352363929</c:v>
                </c:pt>
                <c:pt idx="437">
                  <c:v>3850.3894279877427</c:v>
                </c:pt>
                <c:pt idx="438">
                  <c:v>3854.9494746826208</c:v>
                </c:pt>
                <c:pt idx="439">
                  <c:v>3868.6296147672556</c:v>
                </c:pt>
                <c:pt idx="440">
                  <c:v>3899.8730597001318</c:v>
                </c:pt>
                <c:pt idx="441">
                  <c:v>3982.7376582336206</c:v>
                </c:pt>
                <c:pt idx="442">
                  <c:v>4015.5842445826647</c:v>
                </c:pt>
                <c:pt idx="443">
                  <c:v>3934.1802860061293</c:v>
                </c:pt>
                <c:pt idx="444">
                  <c:v>3836.1392820662486</c:v>
                </c:pt>
                <c:pt idx="445">
                  <c:v>3713.1248973989495</c:v>
                </c:pt>
                <c:pt idx="446">
                  <c:v>3692.9609409200348</c:v>
                </c:pt>
                <c:pt idx="447">
                  <c:v>3723.1712502736027</c:v>
                </c:pt>
                <c:pt idx="448">
                  <c:v>3808.4227482489423</c:v>
                </c:pt>
                <c:pt idx="449">
                  <c:v>3889.0429487997962</c:v>
                </c:pt>
                <c:pt idx="450">
                  <c:v>3902.1530830475704</c:v>
                </c:pt>
                <c:pt idx="451">
                  <c:v>3931.4371329162414</c:v>
                </c:pt>
                <c:pt idx="452">
                  <c:v>3904.5399824894212</c:v>
                </c:pt>
                <c:pt idx="453">
                  <c:v>3797.8420149022331</c:v>
                </c:pt>
                <c:pt idx="454">
                  <c:v>3576.3234965526049</c:v>
                </c:pt>
                <c:pt idx="455">
                  <c:v>3259.7565049066106</c:v>
                </c:pt>
                <c:pt idx="456">
                  <c:v>3222.4567479570992</c:v>
                </c:pt>
                <c:pt idx="457">
                  <c:v>3243.7963414745368</c:v>
                </c:pt>
                <c:pt idx="458">
                  <c:v>3273.5435210856563</c:v>
                </c:pt>
                <c:pt idx="459">
                  <c:v>3313.4439296658397</c:v>
                </c:pt>
                <c:pt idx="460">
                  <c:v>3401.6879582846932</c:v>
                </c:pt>
                <c:pt idx="461">
                  <c:v>3495.845797460966</c:v>
                </c:pt>
                <c:pt idx="462">
                  <c:v>3658.4043370604118</c:v>
                </c:pt>
                <c:pt idx="463">
                  <c:v>3724.4181380417335</c:v>
                </c:pt>
                <c:pt idx="464">
                  <c:v>3770.481734732964</c:v>
                </c:pt>
                <c:pt idx="465">
                  <c:v>3881.1697431781704</c:v>
                </c:pt>
                <c:pt idx="466">
                  <c:v>4072.2285746206039</c:v>
                </c:pt>
                <c:pt idx="467">
                  <c:v>4383.3448854516273</c:v>
                </c:pt>
                <c:pt idx="468">
                  <c:v>4528.5894977564576</c:v>
                </c:pt>
                <c:pt idx="469">
                  <c:v>4596.6339445315925</c:v>
                </c:pt>
                <c:pt idx="470">
                  <c:v>4551.3897312308482</c:v>
                </c:pt>
                <c:pt idx="471">
                  <c:v>4557.8735476251286</c:v>
                </c:pt>
                <c:pt idx="472">
                  <c:v>4549.1097078834091</c:v>
                </c:pt>
                <c:pt idx="473">
                  <c:v>4565.9605054355761</c:v>
                </c:pt>
                <c:pt idx="474">
                  <c:v>4546.152802604699</c:v>
                </c:pt>
                <c:pt idx="475">
                  <c:v>4561.8635884831465</c:v>
                </c:pt>
                <c:pt idx="476">
                  <c:v>4605.7540379213488</c:v>
                </c:pt>
                <c:pt idx="477">
                  <c:v>4577.716875820809</c:v>
                </c:pt>
                <c:pt idx="478">
                  <c:v>4462.4688206807241</c:v>
                </c:pt>
                <c:pt idx="479">
                  <c:v>4421.5352765212319</c:v>
                </c:pt>
                <c:pt idx="480">
                  <c:v>4324.064278418211</c:v>
                </c:pt>
                <c:pt idx="481">
                  <c:v>4197.986112377791</c:v>
                </c:pt>
                <c:pt idx="482">
                  <c:v>4142.3392925543567</c:v>
                </c:pt>
                <c:pt idx="483">
                  <c:v>4175.399631092223</c:v>
                </c:pt>
                <c:pt idx="484">
                  <c:v>4191.7160481723331</c:v>
                </c:pt>
                <c:pt idx="485">
                  <c:v>4231.153327010069</c:v>
                </c:pt>
                <c:pt idx="486">
                  <c:v>4335.4643951554071</c:v>
                </c:pt>
                <c:pt idx="487">
                  <c:v>4464.9625962169857</c:v>
                </c:pt>
                <c:pt idx="488">
                  <c:v>4508.0692876295061</c:v>
                </c:pt>
                <c:pt idx="489">
                  <c:v>4549.6797137202693</c:v>
                </c:pt>
                <c:pt idx="490">
                  <c:v>4621.0373194221511</c:v>
                </c:pt>
                <c:pt idx="491">
                  <c:v>4812.2030269589959</c:v>
                </c:pt>
                <c:pt idx="492">
                  <c:v>4835.2526379870133</c:v>
                </c:pt>
                <c:pt idx="493">
                  <c:v>4882.0999927039256</c:v>
                </c:pt>
                <c:pt idx="494">
                  <c:v>4909.4602728731952</c:v>
                </c:pt>
                <c:pt idx="495">
                  <c:v>4882.5631224463741</c:v>
                </c:pt>
                <c:pt idx="496">
                  <c:v>4816.6561975594632</c:v>
                </c:pt>
                <c:pt idx="497">
                  <c:v>4895.2101269516997</c:v>
                </c:pt>
                <c:pt idx="498">
                  <c:v>4838.8864251969944</c:v>
                </c:pt>
                <c:pt idx="499">
                  <c:v>4916.7634726579599</c:v>
                </c:pt>
                <c:pt idx="500">
                  <c:v>4889.9731983255515</c:v>
                </c:pt>
                <c:pt idx="501">
                  <c:v>4918.117236520502</c:v>
                </c:pt>
                <c:pt idx="502">
                  <c:v>4890.6500802568216</c:v>
                </c:pt>
                <c:pt idx="503">
                  <c:v>4922.0004012841091</c:v>
                </c:pt>
                <c:pt idx="504">
                  <c:v>4995.4242781446083</c:v>
                </c:pt>
                <c:pt idx="505">
                  <c:v>5173.828980008755</c:v>
                </c:pt>
                <c:pt idx="506">
                  <c:v>5200.2772508390499</c:v>
                </c:pt>
                <c:pt idx="507">
                  <c:v>5433.75164161681</c:v>
                </c:pt>
                <c:pt idx="508">
                  <c:v>5164.7088866189988</c:v>
                </c:pt>
                <c:pt idx="509">
                  <c:v>5315.1904275499783</c:v>
                </c:pt>
                <c:pt idx="510">
                  <c:v>5952.6849554939454</c:v>
                </c:pt>
                <c:pt idx="511">
                  <c:v>5952.6849554939454</c:v>
                </c:pt>
                <c:pt idx="512">
                  <c:v>5952.6849554939454</c:v>
                </c:pt>
                <c:pt idx="513">
                  <c:v>5952.6849554939454</c:v>
                </c:pt>
                <c:pt idx="514">
                  <c:v>5952.6849554939454</c:v>
                </c:pt>
                <c:pt idx="515">
                  <c:v>5860.8000145921496</c:v>
                </c:pt>
                <c:pt idx="516">
                  <c:v>5723.4286079089452</c:v>
                </c:pt>
                <c:pt idx="517">
                  <c:v>5466.2490993907777</c:v>
                </c:pt>
                <c:pt idx="518">
                  <c:v>5166.0697755545025</c:v>
                </c:pt>
                <c:pt idx="519">
                  <c:v>5231.6959725667593</c:v>
                </c:pt>
                <c:pt idx="520">
                  <c:v>5261.6170039581202</c:v>
                </c:pt>
                <c:pt idx="521">
                  <c:v>5225.8135123303664</c:v>
                </c:pt>
                <c:pt idx="522">
                  <c:v>4873.6567812454396</c:v>
                </c:pt>
                <c:pt idx="523">
                  <c:v>5449.2558003793956</c:v>
                </c:pt>
                <c:pt idx="524">
                  <c:v>5441.9526005946309</c:v>
                </c:pt>
                <c:pt idx="525">
                  <c:v>5504.9026202028308</c:v>
                </c:pt>
                <c:pt idx="526">
                  <c:v>5244.1605752042897</c:v>
                </c:pt>
                <c:pt idx="527">
                  <c:v>4961.7939337698817</c:v>
                </c:pt>
                <c:pt idx="528">
                  <c:v>4561.400458740698</c:v>
                </c:pt>
                <c:pt idx="529">
                  <c:v>4336.3906546403041</c:v>
                </c:pt>
                <c:pt idx="530">
                  <c:v>4256.9104657631697</c:v>
                </c:pt>
                <c:pt idx="531">
                  <c:v>4186.6928717350065</c:v>
                </c:pt>
                <c:pt idx="532">
                  <c:v>4181.0996894608206</c:v>
                </c:pt>
                <c:pt idx="533">
                  <c:v>4039.6313658251861</c:v>
                </c:pt>
                <c:pt idx="534">
                  <c:v>4160.3657271450456</c:v>
                </c:pt>
                <c:pt idx="535">
                  <c:v>4330.904348460529</c:v>
                </c:pt>
                <c:pt idx="536">
                  <c:v>4336.7112829235375</c:v>
                </c:pt>
                <c:pt idx="537">
                  <c:v>4349.60766498249</c:v>
                </c:pt>
                <c:pt idx="538">
                  <c:v>4336.7112829235375</c:v>
                </c:pt>
                <c:pt idx="539">
                  <c:v>4131.8654353020574</c:v>
                </c:pt>
                <c:pt idx="540">
                  <c:v>4061.2915876258576</c:v>
                </c:pt>
                <c:pt idx="541">
                  <c:v>4034.9644430358971</c:v>
                </c:pt>
                <c:pt idx="542">
                  <c:v>3791.6788267911866</c:v>
                </c:pt>
                <c:pt idx="543">
                  <c:v>3662.3943779184301</c:v>
                </c:pt>
                <c:pt idx="544">
                  <c:v>3709.5979862833797</c:v>
                </c:pt>
                <c:pt idx="545">
                  <c:v>3718.6112035787246</c:v>
                </c:pt>
                <c:pt idx="546">
                  <c:v>3801.5826782066251</c:v>
                </c:pt>
                <c:pt idx="547">
                  <c:v>3870.3396322778344</c:v>
                </c:pt>
                <c:pt idx="548">
                  <c:v>3957.5505253173792</c:v>
                </c:pt>
                <c:pt idx="549">
                  <c:v>3756.1247127170582</c:v>
                </c:pt>
                <c:pt idx="550">
                  <c:v>3607.566941485481</c:v>
                </c:pt>
                <c:pt idx="551">
                  <c:v>3429.7251203852329</c:v>
                </c:pt>
                <c:pt idx="552">
                  <c:v>3342.157973697651</c:v>
                </c:pt>
                <c:pt idx="553">
                  <c:v>3370.2307611629944</c:v>
                </c:pt>
                <c:pt idx="554">
                  <c:v>3309.4538888078218</c:v>
                </c:pt>
                <c:pt idx="555">
                  <c:v>3340.2342039982491</c:v>
                </c:pt>
                <c:pt idx="556">
                  <c:v>3377.8545892309935</c:v>
                </c:pt>
                <c:pt idx="557">
                  <c:v>3497.0926852290972</c:v>
                </c:pt>
                <c:pt idx="558">
                  <c:v>3496.985809134686</c:v>
                </c:pt>
                <c:pt idx="559">
                  <c:v>3663.4275134977383</c:v>
                </c:pt>
                <c:pt idx="560">
                  <c:v>4006.464151192909</c:v>
                </c:pt>
                <c:pt idx="561">
                  <c:v>4134.8223405807676</c:v>
                </c:pt>
                <c:pt idx="562">
                  <c:v>4253.9535604844596</c:v>
                </c:pt>
                <c:pt idx="563">
                  <c:v>4308.8878730118204</c:v>
                </c:pt>
                <c:pt idx="564">
                  <c:v>4342.0907130089017</c:v>
                </c:pt>
                <c:pt idx="565">
                  <c:v>4380.7086084561515</c:v>
                </c:pt>
                <c:pt idx="566">
                  <c:v>4303.9003219392971</c:v>
                </c:pt>
                <c:pt idx="567">
                  <c:v>4385.1617790566179</c:v>
                </c:pt>
                <c:pt idx="568">
                  <c:v>4610.7772143586753</c:v>
                </c:pt>
                <c:pt idx="569">
                  <c:v>4754.8818149897861</c:v>
                </c:pt>
                <c:pt idx="570">
                  <c:v>4815.6230619801554</c:v>
                </c:pt>
                <c:pt idx="571">
                  <c:v>4737.6747637895814</c:v>
                </c:pt>
                <c:pt idx="572">
                  <c:v>4734.4684809572454</c:v>
                </c:pt>
                <c:pt idx="573">
                  <c:v>4754.6324374361602</c:v>
                </c:pt>
                <c:pt idx="574">
                  <c:v>4500.552335655917</c:v>
                </c:pt>
                <c:pt idx="575">
                  <c:v>4336.6044068291258</c:v>
                </c:pt>
                <c:pt idx="576">
                  <c:v>4221.1069741354158</c:v>
                </c:pt>
                <c:pt idx="577">
                  <c:v>4131.2954294651981</c:v>
                </c:pt>
                <c:pt idx="578">
                  <c:v>4121.0353244017224</c:v>
                </c:pt>
                <c:pt idx="579">
                  <c:v>4174.3664955129143</c:v>
                </c:pt>
                <c:pt idx="580">
                  <c:v>4197.3092304465199</c:v>
                </c:pt>
                <c:pt idx="581">
                  <c:v>4241.9834379104041</c:v>
                </c:pt>
                <c:pt idx="582">
                  <c:v>4200.5867640084634</c:v>
                </c:pt>
                <c:pt idx="583">
                  <c:v>4280.6369587224581</c:v>
                </c:pt>
                <c:pt idx="584">
                  <c:v>4410.8120417153077</c:v>
                </c:pt>
                <c:pt idx="585">
                  <c:v>4543.5165256092223</c:v>
                </c:pt>
                <c:pt idx="586">
                  <c:v>4689.3311437509119</c:v>
                </c:pt>
                <c:pt idx="587">
                  <c:v>4644.4075587334019</c:v>
                </c:pt>
                <c:pt idx="588">
                  <c:v>4659.2277104917557</c:v>
                </c:pt>
                <c:pt idx="589">
                  <c:v>4659.6908402342042</c:v>
                </c:pt>
                <c:pt idx="590">
                  <c:v>4725.3483875674892</c:v>
                </c:pt>
                <c:pt idx="591">
                  <c:v>4723.2821164088728</c:v>
                </c:pt>
                <c:pt idx="592">
                  <c:v>4696.7412196300893</c:v>
                </c:pt>
                <c:pt idx="593">
                  <c:v>4751.4617799686275</c:v>
                </c:pt>
                <c:pt idx="594">
                  <c:v>4774.3688895374289</c:v>
                </c:pt>
                <c:pt idx="595">
                  <c:v>4717.4751819458634</c:v>
                </c:pt>
                <c:pt idx="596">
                  <c:v>4680.9948083868376</c:v>
                </c:pt>
                <c:pt idx="597">
                  <c:v>4552.5297429045677</c:v>
                </c:pt>
                <c:pt idx="598">
                  <c:v>4365.5678284145633</c:v>
                </c:pt>
                <c:pt idx="599">
                  <c:v>4257.4804716000299</c:v>
                </c:pt>
                <c:pt idx="600">
                  <c:v>4346.401382150153</c:v>
                </c:pt>
                <c:pt idx="601">
                  <c:v>4347.7907713774985</c:v>
                </c:pt>
                <c:pt idx="602">
                  <c:v>4364.1784391872179</c:v>
                </c:pt>
                <c:pt idx="603">
                  <c:v>4491.6459944549833</c:v>
                </c:pt>
                <c:pt idx="604">
                  <c:v>4532.0095327776162</c:v>
                </c:pt>
                <c:pt idx="605">
                  <c:v>4673.9409861556987</c:v>
                </c:pt>
                <c:pt idx="606">
                  <c:v>4705.398183277397</c:v>
                </c:pt>
                <c:pt idx="607">
                  <c:v>4765.2487961476727</c:v>
                </c:pt>
                <c:pt idx="608">
                  <c:v>4874.2267870822998</c:v>
                </c:pt>
                <c:pt idx="609">
                  <c:v>5116.9423974901511</c:v>
                </c:pt>
                <c:pt idx="610">
                  <c:v>5266.7470564898586</c:v>
                </c:pt>
                <c:pt idx="611">
                  <c:v>5190.0100207026126</c:v>
                </c:pt>
                <c:pt idx="612">
                  <c:v>5108.2854338428433</c:v>
                </c:pt>
                <c:pt idx="613">
                  <c:v>5002.5849764701597</c:v>
                </c:pt>
                <c:pt idx="614">
                  <c:v>4841.4158260980594</c:v>
                </c:pt>
                <c:pt idx="615">
                  <c:v>4853.0296950240772</c:v>
                </c:pt>
                <c:pt idx="616">
                  <c:v>4886.8737915876263</c:v>
                </c:pt>
                <c:pt idx="617">
                  <c:v>5055.8448968517441</c:v>
                </c:pt>
                <c:pt idx="618">
                  <c:v>4994.4980186597113</c:v>
                </c:pt>
                <c:pt idx="619">
                  <c:v>4326.1305495768283</c:v>
                </c:pt>
                <c:pt idx="620">
                  <c:v>2673.9312969958123</c:v>
                </c:pt>
                <c:pt idx="621">
                  <c:v>2829.054964949019</c:v>
                </c:pt>
                <c:pt idx="622">
                  <c:v>3807.9596185064934</c:v>
                </c:pt>
                <c:pt idx="623">
                  <c:v>5035.7878164672411</c:v>
                </c:pt>
                <c:pt idx="624">
                  <c:v>5266.5333043010369</c:v>
                </c:pt>
                <c:pt idx="625">
                  <c:v>5120.5761847001322</c:v>
                </c:pt>
                <c:pt idx="626">
                  <c:v>5126.8462489055892</c:v>
                </c:pt>
                <c:pt idx="627">
                  <c:v>5083.7751828578721</c:v>
                </c:pt>
                <c:pt idx="628">
                  <c:v>5076.4719830731074</c:v>
                </c:pt>
                <c:pt idx="629">
                  <c:v>4938.2099422698093</c:v>
                </c:pt>
                <c:pt idx="630">
                  <c:v>4829.6594557128265</c:v>
                </c:pt>
                <c:pt idx="631">
                  <c:v>4764.4294127571875</c:v>
                </c:pt>
                <c:pt idx="632">
                  <c:v>4892.6094753210273</c:v>
                </c:pt>
                <c:pt idx="633">
                  <c:v>4985.0216716219174</c:v>
                </c:pt>
                <c:pt idx="634">
                  <c:v>5031.4415219611856</c:v>
                </c:pt>
                <c:pt idx="635">
                  <c:v>5045.1216620458199</c:v>
                </c:pt>
                <c:pt idx="636">
                  <c:v>4957.8038929118638</c:v>
                </c:pt>
                <c:pt idx="637">
                  <c:v>4918.5803662629514</c:v>
                </c:pt>
                <c:pt idx="638">
                  <c:v>4869.6667403874217</c:v>
                </c:pt>
                <c:pt idx="639">
                  <c:v>4898.060156135999</c:v>
                </c:pt>
                <c:pt idx="640">
                  <c:v>4907.8571314570263</c:v>
                </c:pt>
                <c:pt idx="641">
                  <c:v>5073.5150777943963</c:v>
                </c:pt>
                <c:pt idx="642">
                  <c:v>5124.2455972749158</c:v>
                </c:pt>
                <c:pt idx="643">
                  <c:v>5226.9535240040859</c:v>
                </c:pt>
                <c:pt idx="644">
                  <c:v>5200.1632496716766</c:v>
                </c:pt>
                <c:pt idx="645">
                  <c:v>5260.0138625419522</c:v>
                </c:pt>
                <c:pt idx="646">
                  <c:v>5168.2429228075298</c:v>
                </c:pt>
                <c:pt idx="647">
                  <c:v>5012.0613235079527</c:v>
                </c:pt>
                <c:pt idx="648">
                  <c:v>4814.9461800488843</c:v>
                </c:pt>
                <c:pt idx="649">
                  <c:v>4819.3993506493507</c:v>
                </c:pt>
                <c:pt idx="650">
                  <c:v>4668.3478038815119</c:v>
                </c:pt>
                <c:pt idx="651">
                  <c:v>4682.5979498030065</c:v>
                </c:pt>
                <c:pt idx="652">
                  <c:v>4829.0894498759671</c:v>
                </c:pt>
                <c:pt idx="653">
                  <c:v>4830.799467386546</c:v>
                </c:pt>
                <c:pt idx="654">
                  <c:v>5020.6114110608496</c:v>
                </c:pt>
                <c:pt idx="655">
                  <c:v>5086.1620822997229</c:v>
                </c:pt>
                <c:pt idx="656">
                  <c:v>5163.6828761126517</c:v>
                </c:pt>
                <c:pt idx="657">
                  <c:v>5187.0531154239025</c:v>
                </c:pt>
                <c:pt idx="658">
                  <c:v>5087.9405009890934</c:v>
                </c:pt>
                <c:pt idx="659">
                  <c:v>4946.6585690707652</c:v>
                </c:pt>
                <c:pt idx="660">
                  <c:v>4883.5962580256828</c:v>
                </c:pt>
                <c:pt idx="661">
                  <c:v>4803.5460633116882</c:v>
                </c:pt>
                <c:pt idx="662">
                  <c:v>4480.8158835546483</c:v>
                </c:pt>
                <c:pt idx="663">
                  <c:v>4484.235918575806</c:v>
                </c:pt>
                <c:pt idx="664">
                  <c:v>4478.5358602072083</c:v>
                </c:pt>
                <c:pt idx="665">
                  <c:v>4531.5464030351677</c:v>
                </c:pt>
                <c:pt idx="666">
                  <c:v>4558.4435534619879</c:v>
                </c:pt>
                <c:pt idx="667">
                  <c:v>4661.5077338391948</c:v>
                </c:pt>
                <c:pt idx="668">
                  <c:v>4443.5517519699406</c:v>
                </c:pt>
                <c:pt idx="669">
                  <c:v>4324.7411603494829</c:v>
                </c:pt>
                <c:pt idx="670">
                  <c:v>4180.9928133664089</c:v>
                </c:pt>
                <c:pt idx="671">
                  <c:v>4040.2013716620463</c:v>
                </c:pt>
                <c:pt idx="672">
                  <c:v>4053.2046298154091</c:v>
                </c:pt>
                <c:pt idx="673">
                  <c:v>3951.4942133007444</c:v>
                </c:pt>
                <c:pt idx="674">
                  <c:v>3959.7236725704074</c:v>
                </c:pt>
                <c:pt idx="675">
                  <c:v>3939.7734682803157</c:v>
                </c:pt>
                <c:pt idx="676">
                  <c:v>4013.411097329637</c:v>
                </c:pt>
                <c:pt idx="677">
                  <c:v>4032.8981718772802</c:v>
                </c:pt>
                <c:pt idx="678">
                  <c:v>4048.2883294724938</c:v>
                </c:pt>
                <c:pt idx="679">
                  <c:v>4221.4632277834526</c:v>
                </c:pt>
                <c:pt idx="680">
                  <c:v>4352.4576941667883</c:v>
                </c:pt>
                <c:pt idx="681">
                  <c:v>4448.8955566905006</c:v>
                </c:pt>
                <c:pt idx="682">
                  <c:v>4609.0059222643449</c:v>
                </c:pt>
                <c:pt idx="683">
                  <c:v>4572.8168209617061</c:v>
                </c:pt>
                <c:pt idx="684">
                  <c:v>4529.2663796877277</c:v>
                </c:pt>
                <c:pt idx="685">
                  <c:v>4535.6433199875964</c:v>
                </c:pt>
                <c:pt idx="686">
                  <c:v>4495.4222831241796</c:v>
                </c:pt>
                <c:pt idx="687">
                  <c:v>4451.2824561323514</c:v>
                </c:pt>
                <c:pt idx="688">
                  <c:v>4447.07866308551</c:v>
                </c:pt>
                <c:pt idx="689">
                  <c:v>4464.9625962169857</c:v>
                </c:pt>
                <c:pt idx="690">
                  <c:v>4383.3448854516273</c:v>
                </c:pt>
                <c:pt idx="691">
                  <c:v>4253.3835546476002</c:v>
                </c:pt>
                <c:pt idx="692">
                  <c:v>4257.4804716000299</c:v>
                </c:pt>
                <c:pt idx="693">
                  <c:v>4196.382970961623</c:v>
                </c:pt>
                <c:pt idx="694">
                  <c:v>4155.6988043557567</c:v>
                </c:pt>
                <c:pt idx="695">
                  <c:v>3905.7868702575515</c:v>
                </c:pt>
                <c:pt idx="696">
                  <c:v>3805.8220966182694</c:v>
                </c:pt>
                <c:pt idx="697">
                  <c:v>3702.2947864986136</c:v>
                </c:pt>
                <c:pt idx="698">
                  <c:v>3573.8297210163437</c:v>
                </c:pt>
                <c:pt idx="699">
                  <c:v>3557.0501741937842</c:v>
                </c:pt>
                <c:pt idx="700">
                  <c:v>3438.8452137749891</c:v>
                </c:pt>
                <c:pt idx="701">
                  <c:v>3479.208752097622</c:v>
                </c:pt>
                <c:pt idx="702">
                  <c:v>3554.4495225631113</c:v>
                </c:pt>
                <c:pt idx="703">
                  <c:v>3609.8469648329205</c:v>
                </c:pt>
                <c:pt idx="704">
                  <c:v>3679.6014291186348</c:v>
                </c:pt>
                <c:pt idx="705">
                  <c:v>3639.5263137733714</c:v>
                </c:pt>
                <c:pt idx="706">
                  <c:v>3749.0586355691689</c:v>
                </c:pt>
                <c:pt idx="707">
                  <c:v>3776.8586750328327</c:v>
                </c:pt>
                <c:pt idx="708">
                  <c:v>3549.996351962644</c:v>
                </c:pt>
                <c:pt idx="709">
                  <c:v>3369.4113777725088</c:v>
                </c:pt>
                <c:pt idx="710">
                  <c:v>3356.3012435247333</c:v>
                </c:pt>
                <c:pt idx="711">
                  <c:v>3390.3947176419088</c:v>
                </c:pt>
                <c:pt idx="712">
                  <c:v>3560.6127106741578</c:v>
                </c:pt>
                <c:pt idx="713">
                  <c:v>3733.0751016890413</c:v>
                </c:pt>
                <c:pt idx="714">
                  <c:v>3822.4591419816143</c:v>
                </c:pt>
                <c:pt idx="715">
                  <c:v>3769.9117288961038</c:v>
                </c:pt>
                <c:pt idx="716">
                  <c:v>3799.0889026703635</c:v>
                </c:pt>
                <c:pt idx="717">
                  <c:v>3717.6849440938277</c:v>
                </c:pt>
                <c:pt idx="718">
                  <c:v>3535.0693241098793</c:v>
                </c:pt>
                <c:pt idx="719">
                  <c:v>3396.0947760105068</c:v>
                </c:pt>
                <c:pt idx="720">
                  <c:v>3252.4533051218446</c:v>
                </c:pt>
                <c:pt idx="721">
                  <c:v>3216.6498134940903</c:v>
                </c:pt>
                <c:pt idx="722">
                  <c:v>3172.6524879614772</c:v>
                </c:pt>
                <c:pt idx="723">
                  <c:v>3156.7992006238146</c:v>
                </c:pt>
                <c:pt idx="724">
                  <c:v>3249.4963998431349</c:v>
                </c:pt>
                <c:pt idx="725">
                  <c:v>3505.9990264300309</c:v>
                </c:pt>
                <c:pt idx="726">
                  <c:v>3889.7198307310673</c:v>
                </c:pt>
                <c:pt idx="727">
                  <c:v>3958.9042891799218</c:v>
                </c:pt>
                <c:pt idx="728">
                  <c:v>3985.3739352290972</c:v>
                </c:pt>
                <c:pt idx="729">
                  <c:v>3979.6738768604991</c:v>
                </c:pt>
                <c:pt idx="730">
                  <c:v>3965.3749961183667</c:v>
                </c:pt>
                <c:pt idx="731">
                  <c:v>3843.4288021588563</c:v>
                </c:pt>
                <c:pt idx="732">
                  <c:v>3914.6932114584856</c:v>
                </c:pt>
                <c:pt idx="733">
                  <c:v>3863.7311271067415</c:v>
                </c:pt>
                <c:pt idx="734">
                  <c:v>3820.0722425397635</c:v>
                </c:pt>
                <c:pt idx="735">
                  <c:v>3810.1327657595216</c:v>
                </c:pt>
                <c:pt idx="736">
                  <c:v>3802.4020615971112</c:v>
                </c:pt>
                <c:pt idx="737">
                  <c:v>3789.861933186196</c:v>
                </c:pt>
                <c:pt idx="738">
                  <c:v>3819.2528591492778</c:v>
                </c:pt>
                <c:pt idx="739">
                  <c:v>3861.5757925361154</c:v>
                </c:pt>
                <c:pt idx="740">
                  <c:v>3822.5660180760256</c:v>
                </c:pt>
                <c:pt idx="741">
                  <c:v>3763.7485407850577</c:v>
                </c:pt>
                <c:pt idx="742">
                  <c:v>3626.947139938713</c:v>
                </c:pt>
                <c:pt idx="743">
                  <c:v>3556.8364220049616</c:v>
                </c:pt>
                <c:pt idx="744">
                  <c:v>3496.4158032978262</c:v>
                </c:pt>
                <c:pt idx="745">
                  <c:v>3498.6958266452652</c:v>
                </c:pt>
                <c:pt idx="746">
                  <c:v>3453.0953596964837</c:v>
                </c:pt>
                <c:pt idx="747">
                  <c:v>3474.1855756602945</c:v>
                </c:pt>
                <c:pt idx="748">
                  <c:v>3563.106486210419</c:v>
                </c:pt>
                <c:pt idx="749">
                  <c:v>3787.0119040018972</c:v>
                </c:pt>
                <c:pt idx="750">
                  <c:v>3809.5627599226618</c:v>
                </c:pt>
                <c:pt idx="751">
                  <c:v>3935.676551327886</c:v>
                </c:pt>
                <c:pt idx="752">
                  <c:v>4031.8650362979715</c:v>
                </c:pt>
                <c:pt idx="753">
                  <c:v>3805.3589668758209</c:v>
                </c:pt>
                <c:pt idx="754">
                  <c:v>3562.429604279148</c:v>
                </c:pt>
                <c:pt idx="755">
                  <c:v>3838.8824351561366</c:v>
                </c:pt>
                <c:pt idx="756">
                  <c:v>3947.9673021851745</c:v>
                </c:pt>
                <c:pt idx="757">
                  <c:v>3947.8604260907632</c:v>
                </c:pt>
                <c:pt idx="758">
                  <c:v>4000.4078391762737</c:v>
                </c:pt>
                <c:pt idx="759">
                  <c:v>4022.8874443674308</c:v>
                </c:pt>
                <c:pt idx="760">
                  <c:v>4120.6790707536848</c:v>
                </c:pt>
                <c:pt idx="761">
                  <c:v>4061.8615934627178</c:v>
                </c:pt>
                <c:pt idx="762">
                  <c:v>4060.151575952138</c:v>
                </c:pt>
                <c:pt idx="763">
                  <c:v>4006.00102145046</c:v>
                </c:pt>
                <c:pt idx="764">
                  <c:v>3885.7297898730485</c:v>
                </c:pt>
                <c:pt idx="765">
                  <c:v>3842.409346271706</c:v>
                </c:pt>
                <c:pt idx="766">
                  <c:v>3548.3932105464764</c:v>
                </c:pt>
                <c:pt idx="767">
                  <c:v>3397.5910413322636</c:v>
                </c:pt>
                <c:pt idx="768">
                  <c:v>3375.6814419779662</c:v>
                </c:pt>
                <c:pt idx="769">
                  <c:v>3378.8877248103022</c:v>
                </c:pt>
                <c:pt idx="770">
                  <c:v>3381.4883764409747</c:v>
                </c:pt>
                <c:pt idx="771">
                  <c:v>3393.1378707317963</c:v>
                </c:pt>
                <c:pt idx="772">
                  <c:v>3371.5845250255365</c:v>
                </c:pt>
                <c:pt idx="773">
                  <c:v>3483.3056690500516</c:v>
                </c:pt>
                <c:pt idx="774">
                  <c:v>3445.2221540748578</c:v>
                </c:pt>
                <c:pt idx="775">
                  <c:v>3447.7515549759232</c:v>
                </c:pt>
                <c:pt idx="776">
                  <c:v>3494.1357799503867</c:v>
                </c:pt>
                <c:pt idx="777">
                  <c:v>3620.7839518276664</c:v>
                </c:pt>
                <c:pt idx="778">
                  <c:v>3678.1407891616809</c:v>
                </c:pt>
                <c:pt idx="779">
                  <c:v>3626.4840101962645</c:v>
                </c:pt>
                <c:pt idx="780">
                  <c:v>3600.7268714431634</c:v>
                </c:pt>
                <c:pt idx="781">
                  <c:v>3525.9492307201226</c:v>
                </c:pt>
                <c:pt idx="782">
                  <c:v>3524.4529653983654</c:v>
                </c:pt>
                <c:pt idx="783">
                  <c:v>3526.1629829089452</c:v>
                </c:pt>
                <c:pt idx="784">
                  <c:v>3559.0095692579894</c:v>
                </c:pt>
                <c:pt idx="785">
                  <c:v>3625.8071282649939</c:v>
                </c:pt>
                <c:pt idx="786">
                  <c:v>3620.7839518276664</c:v>
                </c:pt>
                <c:pt idx="787">
                  <c:v>3613.6232535021159</c:v>
                </c:pt>
                <c:pt idx="788">
                  <c:v>3596.8437066795564</c:v>
                </c:pt>
                <c:pt idx="789">
                  <c:v>3562.0733506311108</c:v>
                </c:pt>
                <c:pt idx="790">
                  <c:v>3328.6203350722312</c:v>
                </c:pt>
                <c:pt idx="791">
                  <c:v>3100.4754988691088</c:v>
                </c:pt>
                <c:pt idx="792">
                  <c:v>3032.7873057420111</c:v>
                </c:pt>
                <c:pt idx="793">
                  <c:v>3051.2412447103457</c:v>
                </c:pt>
                <c:pt idx="794">
                  <c:v>3075.751495695316</c:v>
                </c:pt>
                <c:pt idx="795">
                  <c:v>3047.9280857835988</c:v>
                </c:pt>
                <c:pt idx="796">
                  <c:v>3105.9618050488839</c:v>
                </c:pt>
                <c:pt idx="797">
                  <c:v>3246.6463706588361</c:v>
                </c:pt>
                <c:pt idx="798">
                  <c:v>3202.506543667007</c:v>
                </c:pt>
                <c:pt idx="799">
                  <c:v>3206.0690801473811</c:v>
                </c:pt>
                <c:pt idx="800">
                  <c:v>3261.6802746060121</c:v>
                </c:pt>
                <c:pt idx="801">
                  <c:v>3337.3841748139498</c:v>
                </c:pt>
                <c:pt idx="802">
                  <c:v>3457.5485302969505</c:v>
                </c:pt>
                <c:pt idx="803">
                  <c:v>3476.1093453596968</c:v>
                </c:pt>
                <c:pt idx="804">
                  <c:v>3469.0555231285566</c:v>
                </c:pt>
                <c:pt idx="805">
                  <c:v>3447.2884252334748</c:v>
                </c:pt>
                <c:pt idx="806">
                  <c:v>3459.4722999963519</c:v>
                </c:pt>
                <c:pt idx="807">
                  <c:v>3423.2413039909534</c:v>
                </c:pt>
                <c:pt idx="808">
                  <c:v>3424.2388142054579</c:v>
                </c:pt>
                <c:pt idx="809">
                  <c:v>3466.2054939442583</c:v>
                </c:pt>
                <c:pt idx="810">
                  <c:v>3475.8955931708742</c:v>
                </c:pt>
                <c:pt idx="811">
                  <c:v>3574.8628565956519</c:v>
                </c:pt>
                <c:pt idx="812">
                  <c:v>3569.9465562527366</c:v>
                </c:pt>
                <c:pt idx="813">
                  <c:v>3611.5569823434994</c:v>
                </c:pt>
                <c:pt idx="814">
                  <c:v>3558.6533156099522</c:v>
                </c:pt>
                <c:pt idx="815">
                  <c:v>3423.3481800853647</c:v>
                </c:pt>
                <c:pt idx="816">
                  <c:v>3251.4201695425363</c:v>
                </c:pt>
                <c:pt idx="817">
                  <c:v>3193.7427039252884</c:v>
                </c:pt>
                <c:pt idx="818">
                  <c:v>3212.0897667992122</c:v>
                </c:pt>
                <c:pt idx="819">
                  <c:v>3225.5561546950244</c:v>
                </c:pt>
                <c:pt idx="820">
                  <c:v>3287.2236611702906</c:v>
                </c:pt>
                <c:pt idx="821">
                  <c:v>3205.0359445680724</c:v>
                </c:pt>
                <c:pt idx="822">
                  <c:v>3535.2830762987014</c:v>
                </c:pt>
                <c:pt idx="823">
                  <c:v>3813.339048591858</c:v>
                </c:pt>
                <c:pt idx="824">
                  <c:v>4017.9711440245151</c:v>
                </c:pt>
                <c:pt idx="825">
                  <c:v>4023.5643262987014</c:v>
                </c:pt>
                <c:pt idx="826">
                  <c:v>3955.9473839012112</c:v>
                </c:pt>
                <c:pt idx="827">
                  <c:v>3945.0266423902772</c:v>
                </c:pt>
                <c:pt idx="828">
                  <c:v>4036.3729275696714</c:v>
                </c:pt>
                <c:pt idx="829">
                  <c:v>4032.8981718772802</c:v>
                </c:pt>
                <c:pt idx="830">
                  <c:v>3964.746849007734</c:v>
                </c:pt>
                <c:pt idx="831">
                  <c:v>4025.4880959981037</c:v>
                </c:pt>
                <c:pt idx="832">
                  <c:v>4080.1017802422298</c:v>
                </c:pt>
                <c:pt idx="833">
                  <c:v>4152.0293917809722</c:v>
                </c:pt>
                <c:pt idx="834">
                  <c:v>4131.8654353020574</c:v>
                </c:pt>
                <c:pt idx="835">
                  <c:v>4044.8682944513357</c:v>
                </c:pt>
                <c:pt idx="836">
                  <c:v>4032.5775435940468</c:v>
                </c:pt>
                <c:pt idx="837">
                  <c:v>3867.5964791879474</c:v>
                </c:pt>
                <c:pt idx="838">
                  <c:v>3653.2742845286739</c:v>
                </c:pt>
                <c:pt idx="839">
                  <c:v>3573.7228449219324</c:v>
                </c:pt>
                <c:pt idx="840">
                  <c:v>3494.1357799503867</c:v>
                </c:pt>
                <c:pt idx="841">
                  <c:v>3496.985809134686</c:v>
                </c:pt>
                <c:pt idx="842">
                  <c:v>3478.9593745439952</c:v>
                </c:pt>
                <c:pt idx="843">
                  <c:v>3472.3686820553044</c:v>
                </c:pt>
                <c:pt idx="844">
                  <c:v>3450.2453305121844</c:v>
                </c:pt>
                <c:pt idx="845">
                  <c:v>3493.6726502079382</c:v>
                </c:pt>
                <c:pt idx="846">
                  <c:v>3474.7555814971547</c:v>
                </c:pt>
                <c:pt idx="847">
                  <c:v>3547.1463227783456</c:v>
                </c:pt>
                <c:pt idx="848">
                  <c:v>3698.5541231942216</c:v>
                </c:pt>
                <c:pt idx="849">
                  <c:v>3582.0235549212025</c:v>
                </c:pt>
                <c:pt idx="850">
                  <c:v>3681.3100218538052</c:v>
                </c:pt>
                <c:pt idx="851">
                  <c:v>3654.3732565823188</c:v>
                </c:pt>
                <c:pt idx="852">
                  <c:v>3627.6240218699841</c:v>
                </c:pt>
                <c:pt idx="853">
                  <c:v>3598.2330959069022</c:v>
                </c:pt>
                <c:pt idx="854">
                  <c:v>3554.0932689150741</c:v>
                </c:pt>
                <c:pt idx="855">
                  <c:v>3573.2597151794835</c:v>
                </c:pt>
                <c:pt idx="856">
                  <c:v>3648.144231996936</c:v>
                </c:pt>
                <c:pt idx="857">
                  <c:v>3690.6809175725962</c:v>
                </c:pt>
                <c:pt idx="858">
                  <c:v>3696.0247222931566</c:v>
                </c:pt>
                <c:pt idx="859">
                  <c:v>3674.9345063293454</c:v>
                </c:pt>
                <c:pt idx="860">
                  <c:v>3794.9919857179339</c:v>
                </c:pt>
                <c:pt idx="861">
                  <c:v>3826.3423067452213</c:v>
                </c:pt>
                <c:pt idx="862">
                  <c:v>3587.7236132898006</c:v>
                </c:pt>
                <c:pt idx="863">
                  <c:v>3526.1629829089452</c:v>
                </c:pt>
                <c:pt idx="864">
                  <c:v>3404.5379874689916</c:v>
                </c:pt>
                <c:pt idx="865">
                  <c:v>3396.5579057529553</c:v>
                </c:pt>
                <c:pt idx="866">
                  <c:v>3380.2414886728443</c:v>
                </c:pt>
                <c:pt idx="867">
                  <c:v>3373.7576722785643</c:v>
                </c:pt>
                <c:pt idx="868">
                  <c:v>3444.7590243324094</c:v>
                </c:pt>
                <c:pt idx="869">
                  <c:v>3509.5259375456003</c:v>
                </c:pt>
                <c:pt idx="870">
                  <c:v>3595.3830667226034</c:v>
                </c:pt>
                <c:pt idx="871">
                  <c:v>3682.4514583029331</c:v>
                </c:pt>
                <c:pt idx="872">
                  <c:v>3672.4407307930833</c:v>
                </c:pt>
                <c:pt idx="873">
                  <c:v>3638.3472566759087</c:v>
                </c:pt>
                <c:pt idx="874">
                  <c:v>3730.6973227667631</c:v>
                </c:pt>
                <c:pt idx="875">
                  <c:v>3746.2288424357457</c:v>
                </c:pt>
                <c:pt idx="876">
                  <c:v>3722.6012444367434</c:v>
                </c:pt>
                <c:pt idx="877">
                  <c:v>3873.9734194878156</c:v>
                </c:pt>
                <c:pt idx="878">
                  <c:v>3935.3202976798489</c:v>
                </c:pt>
                <c:pt idx="879">
                  <c:v>3897.1299066102438</c:v>
                </c:pt>
                <c:pt idx="880">
                  <c:v>4065.6378821319131</c:v>
                </c:pt>
                <c:pt idx="881">
                  <c:v>4114.9790123850871</c:v>
                </c:pt>
                <c:pt idx="882">
                  <c:v>4168.4526849554941</c:v>
                </c:pt>
                <c:pt idx="883">
                  <c:v>4179.2827958558291</c:v>
                </c:pt>
                <c:pt idx="884">
                  <c:v>4172.3358497191011</c:v>
                </c:pt>
                <c:pt idx="885">
                  <c:v>4109.742083758938</c:v>
                </c:pt>
                <c:pt idx="886">
                  <c:v>3909.1000291842993</c:v>
                </c:pt>
                <c:pt idx="887">
                  <c:v>3650.887385086824</c:v>
                </c:pt>
                <c:pt idx="888">
                  <c:v>3617.3639168065083</c:v>
                </c:pt>
                <c:pt idx="889">
                  <c:v>3571.7634498577268</c:v>
                </c:pt>
                <c:pt idx="890">
                  <c:v>3553.7726406318402</c:v>
                </c:pt>
                <c:pt idx="891">
                  <c:v>3486.2625743287613</c:v>
                </c:pt>
                <c:pt idx="892">
                  <c:v>3532.4330471144026</c:v>
                </c:pt>
                <c:pt idx="893">
                  <c:v>3536.7793416204581</c:v>
                </c:pt>
                <c:pt idx="894">
                  <c:v>3288.8268025864586</c:v>
                </c:pt>
                <c:pt idx="895">
                  <c:v>3472.6893103385378</c:v>
                </c:pt>
                <c:pt idx="896">
                  <c:v>3956.4105136436597</c:v>
                </c:pt>
                <c:pt idx="897">
                  <c:v>3988.1170883189843</c:v>
                </c:pt>
                <c:pt idx="898">
                  <c:v>3729.2127423972329</c:v>
                </c:pt>
                <c:pt idx="899">
                  <c:v>3395.6068515881966</c:v>
                </c:pt>
                <c:pt idx="900">
                  <c:v>3341.1781337423672</c:v>
                </c:pt>
                <c:pt idx="901">
                  <c:v>3426.198209269663</c:v>
                </c:pt>
                <c:pt idx="902">
                  <c:v>3417.8618739055887</c:v>
                </c:pt>
                <c:pt idx="903">
                  <c:v>3430.7582559645411</c:v>
                </c:pt>
                <c:pt idx="904">
                  <c:v>3375.6814419779662</c:v>
                </c:pt>
                <c:pt idx="905">
                  <c:v>3368.841371935649</c:v>
                </c:pt>
                <c:pt idx="906">
                  <c:v>3320.6402533561945</c:v>
                </c:pt>
                <c:pt idx="907">
                  <c:v>3403.1485982416461</c:v>
                </c:pt>
                <c:pt idx="908">
                  <c:v>3409.5611639063181</c:v>
                </c:pt>
                <c:pt idx="909">
                  <c:v>3403.6117279840946</c:v>
                </c:pt>
                <c:pt idx="910">
                  <c:v>3296.8068843024953</c:v>
                </c:pt>
                <c:pt idx="911">
                  <c:v>3150.6360125127685</c:v>
                </c:pt>
                <c:pt idx="912">
                  <c:v>3121.7082162921351</c:v>
                </c:pt>
                <c:pt idx="913">
                  <c:v>3156.2291947869548</c:v>
                </c:pt>
                <c:pt idx="914">
                  <c:v>3091.8185352218006</c:v>
                </c:pt>
                <c:pt idx="915">
                  <c:v>3064.3513789581207</c:v>
                </c:pt>
                <c:pt idx="916">
                  <c:v>3117.9319276229389</c:v>
                </c:pt>
                <c:pt idx="917">
                  <c:v>3193.5289517364658</c:v>
                </c:pt>
                <c:pt idx="918">
                  <c:v>3238.9869172260328</c:v>
                </c:pt>
                <c:pt idx="919">
                  <c:v>3302.0438129286449</c:v>
                </c:pt>
                <c:pt idx="920">
                  <c:v>3285.5136436597113</c:v>
                </c:pt>
                <c:pt idx="921">
                  <c:v>3342.8704809937258</c:v>
                </c:pt>
                <c:pt idx="922">
                  <c:v>3362.0195429324758</c:v>
                </c:pt>
                <c:pt idx="923">
                  <c:v>3378.2447591656651</c:v>
                </c:pt>
                <c:pt idx="924">
                  <c:v>3345.9342623668472</c:v>
                </c:pt>
                <c:pt idx="925">
                  <c:v>3415.0118447212903</c:v>
                </c:pt>
                <c:pt idx="926">
                  <c:v>3353.4512143404349</c:v>
                </c:pt>
                <c:pt idx="927">
                  <c:v>3278.6735736173941</c:v>
                </c:pt>
                <c:pt idx="928">
                  <c:v>3219.962972420838</c:v>
                </c:pt>
                <c:pt idx="929">
                  <c:v>3321.9940172187366</c:v>
                </c:pt>
                <c:pt idx="930">
                  <c:v>3337.3841748139498</c:v>
                </c:pt>
                <c:pt idx="931">
                  <c:v>3389.0409537793666</c:v>
                </c:pt>
                <c:pt idx="932">
                  <c:v>3197.162738946447</c:v>
                </c:pt>
                <c:pt idx="933">
                  <c:v>3236.0300119473222</c:v>
                </c:pt>
                <c:pt idx="934">
                  <c:v>2872.8294177732382</c:v>
                </c:pt>
                <c:pt idx="935">
                  <c:v>2611.1967386546039</c:v>
                </c:pt>
                <c:pt idx="936">
                  <c:v>2525.1258572887787</c:v>
                </c:pt>
                <c:pt idx="937">
                  <c:v>2466.9852619290823</c:v>
                </c:pt>
                <c:pt idx="938">
                  <c:v>2629.5438015285276</c:v>
                </c:pt>
                <c:pt idx="939">
                  <c:v>2632.073202429593</c:v>
                </c:pt>
                <c:pt idx="940">
                  <c:v>2767.9483437910408</c:v>
                </c:pt>
                <c:pt idx="941">
                  <c:v>3073.0083426054284</c:v>
                </c:pt>
                <c:pt idx="942">
                  <c:v>3264.9934335327594</c:v>
                </c:pt>
                <c:pt idx="943">
                  <c:v>3294.5268609550562</c:v>
                </c:pt>
                <c:pt idx="944">
                  <c:v>3349.9243032248655</c:v>
                </c:pt>
                <c:pt idx="945">
                  <c:v>3465.6354881073985</c:v>
                </c:pt>
                <c:pt idx="946">
                  <c:v>3531.7561651831315</c:v>
                </c:pt>
                <c:pt idx="947">
                  <c:v>3461.8591994382027</c:v>
                </c:pt>
                <c:pt idx="948">
                  <c:v>3478.7456223551726</c:v>
                </c:pt>
                <c:pt idx="949">
                  <c:v>3342.8704809937258</c:v>
                </c:pt>
                <c:pt idx="950">
                  <c:v>3304.4307123704948</c:v>
                </c:pt>
                <c:pt idx="951">
                  <c:v>3324.7371703086242</c:v>
                </c:pt>
                <c:pt idx="952">
                  <c:v>3308.8838829709616</c:v>
                </c:pt>
                <c:pt idx="953">
                  <c:v>3311.3776585072233</c:v>
                </c:pt>
                <c:pt idx="954">
                  <c:v>3333.2872578615206</c:v>
                </c:pt>
                <c:pt idx="955">
                  <c:v>3340.697333740698</c:v>
                </c:pt>
                <c:pt idx="956">
                  <c:v>3241.0531883846493</c:v>
                </c:pt>
                <c:pt idx="957">
                  <c:v>3119.0719392966585</c:v>
                </c:pt>
                <c:pt idx="958">
                  <c:v>2959.4703049759232</c:v>
                </c:pt>
                <c:pt idx="959">
                  <c:v>2841.585972840362</c:v>
                </c:pt>
                <c:pt idx="960">
                  <c:v>2821.528892455859</c:v>
                </c:pt>
                <c:pt idx="961">
                  <c:v>2874.076305541369</c:v>
                </c:pt>
                <c:pt idx="962">
                  <c:v>2862.9255663577997</c:v>
                </c:pt>
                <c:pt idx="963">
                  <c:v>2868.8393769152199</c:v>
                </c:pt>
                <c:pt idx="964">
                  <c:v>2830.0789800087555</c:v>
                </c:pt>
                <c:pt idx="965">
                  <c:v>2840.3390850722317</c:v>
                </c:pt>
                <c:pt idx="966">
                  <c:v>3254.1633226324238</c:v>
                </c:pt>
                <c:pt idx="967">
                  <c:v>3223.026753793959</c:v>
                </c:pt>
                <c:pt idx="968">
                  <c:v>3182.9125930249529</c:v>
                </c:pt>
                <c:pt idx="969">
                  <c:v>3166.9524295928791</c:v>
                </c:pt>
                <c:pt idx="970">
                  <c:v>3154.4123011819643</c:v>
                </c:pt>
                <c:pt idx="971">
                  <c:v>3190.2157928097186</c:v>
                </c:pt>
                <c:pt idx="972">
                  <c:v>3170.9424704508974</c:v>
                </c:pt>
                <c:pt idx="973">
                  <c:v>3236.4931416897707</c:v>
                </c:pt>
                <c:pt idx="974">
                  <c:v>3222.2429957682766</c:v>
                </c:pt>
                <c:pt idx="975">
                  <c:v>3105.3917992120241</c:v>
                </c:pt>
                <c:pt idx="976">
                  <c:v>3243.3332117320883</c:v>
                </c:pt>
                <c:pt idx="977">
                  <c:v>3226.3399127207063</c:v>
                </c:pt>
                <c:pt idx="978">
                  <c:v>3240.4831825477895</c:v>
                </c:pt>
                <c:pt idx="979">
                  <c:v>3198.7658803626155</c:v>
                </c:pt>
                <c:pt idx="980">
                  <c:v>3312.4107940865315</c:v>
                </c:pt>
                <c:pt idx="981">
                  <c:v>3275.1466625018243</c:v>
                </c:pt>
                <c:pt idx="982">
                  <c:v>3108.7049581387714</c:v>
                </c:pt>
                <c:pt idx="983">
                  <c:v>2947.5001824018677</c:v>
                </c:pt>
                <c:pt idx="984">
                  <c:v>2854.1261012512769</c:v>
                </c:pt>
                <c:pt idx="985">
                  <c:v>2778.1015727601052</c:v>
                </c:pt>
                <c:pt idx="986">
                  <c:v>2730.4348346527072</c:v>
                </c:pt>
                <c:pt idx="987">
                  <c:v>2769.6583613016196</c:v>
                </c:pt>
                <c:pt idx="988">
                  <c:v>2835.8859144717644</c:v>
                </c:pt>
                <c:pt idx="989">
                  <c:v>3095.487947796586</c:v>
                </c:pt>
                <c:pt idx="990">
                  <c:v>3225.0930249525759</c:v>
                </c:pt>
                <c:pt idx="991">
                  <c:v>3328.264081424194</c:v>
                </c:pt>
                <c:pt idx="992">
                  <c:v>3470.9792928279589</c:v>
                </c:pt>
                <c:pt idx="993">
                  <c:v>3401.1179524478334</c:v>
                </c:pt>
                <c:pt idx="994">
                  <c:v>3349.247421293594</c:v>
                </c:pt>
                <c:pt idx="995">
                  <c:v>3307.7438712972421</c:v>
                </c:pt>
                <c:pt idx="996">
                  <c:v>3261.0033926747415</c:v>
                </c:pt>
                <c:pt idx="997">
                  <c:v>3255.7664640485918</c:v>
                </c:pt>
                <c:pt idx="998">
                  <c:v>3246.0763648219759</c:v>
                </c:pt>
                <c:pt idx="999">
                  <c:v>3262.2502804428718</c:v>
                </c:pt>
                <c:pt idx="1000">
                  <c:v>3164.67240624544</c:v>
                </c:pt>
                <c:pt idx="1001">
                  <c:v>3241.2669405734719</c:v>
                </c:pt>
                <c:pt idx="1002">
                  <c:v>3319.2508641288491</c:v>
                </c:pt>
                <c:pt idx="1003">
                  <c:v>3335.1041514665112</c:v>
                </c:pt>
                <c:pt idx="1004">
                  <c:v>3357.334379104042</c:v>
                </c:pt>
                <c:pt idx="1005">
                  <c:v>3318.0039763607178</c:v>
                </c:pt>
                <c:pt idx="1006">
                  <c:v>3286.7605314278417</c:v>
                </c:pt>
                <c:pt idx="1007">
                  <c:v>3143.9384439296659</c:v>
                </c:pt>
                <c:pt idx="1008">
                  <c:v>3150.0660066759087</c:v>
                </c:pt>
                <c:pt idx="1009">
                  <c:v>3137.0983738873488</c:v>
                </c:pt>
                <c:pt idx="1010">
                  <c:v>3058.0813147526633</c:v>
                </c:pt>
                <c:pt idx="1011">
                  <c:v>3138.4521377498909</c:v>
                </c:pt>
                <c:pt idx="1012">
                  <c:v>3158.9723478768424</c:v>
                </c:pt>
                <c:pt idx="1013">
                  <c:v>3320.8540055450171</c:v>
                </c:pt>
                <c:pt idx="1014">
                  <c:v>3367.1313544250693</c:v>
                </c:pt>
                <c:pt idx="1015">
                  <c:v>3456.9785244600907</c:v>
                </c:pt>
                <c:pt idx="1016">
                  <c:v>3792.2488326280463</c:v>
                </c:pt>
                <c:pt idx="1017">
                  <c:v>3796.9157554173357</c:v>
                </c:pt>
                <c:pt idx="1018">
                  <c:v>3730.6882022471914</c:v>
                </c:pt>
                <c:pt idx="1019">
                  <c:v>3724.4181380417335</c:v>
                </c:pt>
                <c:pt idx="1020">
                  <c:v>3727.2681672260328</c:v>
                </c:pt>
                <c:pt idx="1021">
                  <c:v>3645.7573325550857</c:v>
                </c:pt>
                <c:pt idx="1022">
                  <c:v>3528.3361301619734</c:v>
                </c:pt>
                <c:pt idx="1023">
                  <c:v>3503.8258791770031</c:v>
                </c:pt>
                <c:pt idx="1024">
                  <c:v>3505.9990264300309</c:v>
                </c:pt>
                <c:pt idx="1025">
                  <c:v>3551.1363636363635</c:v>
                </c:pt>
                <c:pt idx="1026">
                  <c:v>3604.3606586531446</c:v>
                </c:pt>
                <c:pt idx="1027">
                  <c:v>3552.2763753100835</c:v>
                </c:pt>
                <c:pt idx="1028">
                  <c:v>3548.2863344520651</c:v>
                </c:pt>
                <c:pt idx="1029">
                  <c:v>3552.8463811469433</c:v>
                </c:pt>
                <c:pt idx="1030">
                  <c:v>3288.149920655188</c:v>
                </c:pt>
                <c:pt idx="1031">
                  <c:v>3483.8756748869105</c:v>
                </c:pt>
                <c:pt idx="1032">
                  <c:v>3426.3050853640743</c:v>
                </c:pt>
                <c:pt idx="1033">
                  <c:v>3423.4550561797751</c:v>
                </c:pt>
                <c:pt idx="1034">
                  <c:v>3426.9819672953458</c:v>
                </c:pt>
                <c:pt idx="1035">
                  <c:v>3441.8021190536997</c:v>
                </c:pt>
                <c:pt idx="1036">
                  <c:v>3558.5464395155409</c:v>
                </c:pt>
                <c:pt idx="1037">
                  <c:v>3633.573457792208</c:v>
                </c:pt>
                <c:pt idx="1038">
                  <c:v>3782.0956036589819</c:v>
                </c:pt>
                <c:pt idx="1039">
                  <c:v>3784.7318806544581</c:v>
                </c:pt>
                <c:pt idx="1040">
                  <c:v>3828.1592003502119</c:v>
                </c:pt>
                <c:pt idx="1041">
                  <c:v>3782.0956036589819</c:v>
                </c:pt>
                <c:pt idx="1042">
                  <c:v>3681.56082418284</c:v>
                </c:pt>
                <c:pt idx="1043">
                  <c:v>3495.845797460966</c:v>
                </c:pt>
                <c:pt idx="1044">
                  <c:v>3449.7822007697359</c:v>
                </c:pt>
                <c:pt idx="1045">
                  <c:v>3340.1273279038378</c:v>
                </c:pt>
                <c:pt idx="1046">
                  <c:v>3354.5912260141549</c:v>
                </c:pt>
                <c:pt idx="1047">
                  <c:v>3277.5335619436746</c:v>
                </c:pt>
                <c:pt idx="1048">
                  <c:v>3336.7072928826797</c:v>
                </c:pt>
                <c:pt idx="1049">
                  <c:v>3359.1512727090326</c:v>
                </c:pt>
                <c:pt idx="1050">
                  <c:v>3388.5778240369182</c:v>
                </c:pt>
                <c:pt idx="1051">
                  <c:v>3381.3815003465643</c:v>
                </c:pt>
                <c:pt idx="1052">
                  <c:v>3408.0648985845614</c:v>
                </c:pt>
                <c:pt idx="1053">
                  <c:v>3425.7350795272146</c:v>
                </c:pt>
                <c:pt idx="1054">
                  <c:v>3352.7743324091639</c:v>
                </c:pt>
                <c:pt idx="1055">
                  <c:v>2945.1132829600178</c:v>
                </c:pt>
                <c:pt idx="1056">
                  <c:v>2793.0286006128704</c:v>
                </c:pt>
                <c:pt idx="1057">
                  <c:v>2781.2722302276375</c:v>
                </c:pt>
                <c:pt idx="1058">
                  <c:v>2765.0983146067415</c:v>
                </c:pt>
                <c:pt idx="1059">
                  <c:v>2754.7313334488549</c:v>
                </c:pt>
                <c:pt idx="1060">
                  <c:v>2772.04526074347</c:v>
                </c:pt>
                <c:pt idx="1061">
                  <c:v>2901.2228335218156</c:v>
                </c:pt>
                <c:pt idx="1062">
                  <c:v>2962.320334160222</c:v>
                </c:pt>
                <c:pt idx="1063">
                  <c:v>3093.9916824748288</c:v>
                </c:pt>
                <c:pt idx="1064">
                  <c:v>3200.4758978731943</c:v>
                </c:pt>
                <c:pt idx="1065">
                  <c:v>3206.852838173063</c:v>
                </c:pt>
                <c:pt idx="1066">
                  <c:v>3151.099142255217</c:v>
                </c:pt>
                <c:pt idx="1067">
                  <c:v>3197.6258686888955</c:v>
                </c:pt>
                <c:pt idx="1068">
                  <c:v>3091.8185352218006</c:v>
                </c:pt>
                <c:pt idx="1069">
                  <c:v>3030.1510287465348</c:v>
                </c:pt>
                <c:pt idx="1070">
                  <c:v>2930.4000072960748</c:v>
                </c:pt>
                <c:pt idx="1071">
                  <c:v>2909.9866732635346</c:v>
                </c:pt>
                <c:pt idx="1072">
                  <c:v>2887.6495695315921</c:v>
                </c:pt>
                <c:pt idx="1073">
                  <c:v>3022.5272006785349</c:v>
                </c:pt>
                <c:pt idx="1074">
                  <c:v>3072.9014665110171</c:v>
                </c:pt>
                <c:pt idx="1075">
                  <c:v>3224.0598893732672</c:v>
                </c:pt>
                <c:pt idx="1076">
                  <c:v>3281.523602801693</c:v>
                </c:pt>
                <c:pt idx="1077">
                  <c:v>3211.8760146103896</c:v>
                </c:pt>
                <c:pt idx="1078">
                  <c:v>2906.5666382423756</c:v>
                </c:pt>
                <c:pt idx="1079">
                  <c:v>2780.0253424595071</c:v>
                </c:pt>
                <c:pt idx="1080">
                  <c:v>2632.1800785240043</c:v>
                </c:pt>
                <c:pt idx="1081">
                  <c:v>2578.2432762111489</c:v>
                </c:pt>
                <c:pt idx="1082">
                  <c:v>2511.2319650153222</c:v>
                </c:pt>
                <c:pt idx="1083">
                  <c:v>2588.0402515321762</c:v>
                </c:pt>
                <c:pt idx="1084">
                  <c:v>2744.9343581278276</c:v>
                </c:pt>
                <c:pt idx="1085">
                  <c:v>2966.4172511126517</c:v>
                </c:pt>
                <c:pt idx="1086">
                  <c:v>3015.9008828250403</c:v>
                </c:pt>
                <c:pt idx="1087">
                  <c:v>3033.4641876732821</c:v>
                </c:pt>
                <c:pt idx="1088">
                  <c:v>2996.1644307237707</c:v>
                </c:pt>
                <c:pt idx="1089">
                  <c:v>2903.9659866117031</c:v>
                </c:pt>
                <c:pt idx="1090">
                  <c:v>2862.7830648985846</c:v>
                </c:pt>
                <c:pt idx="1091">
                  <c:v>2835.5652861885305</c:v>
                </c:pt>
                <c:pt idx="1092">
                  <c:v>2816.6125921129433</c:v>
                </c:pt>
                <c:pt idx="1093">
                  <c:v>2815.7219579928501</c:v>
                </c:pt>
                <c:pt idx="1094">
                  <c:v>2819.1419930140087</c:v>
                </c:pt>
                <c:pt idx="1095">
                  <c:v>2810.2356518130746</c:v>
                </c:pt>
                <c:pt idx="1096">
                  <c:v>2892.6727459689187</c:v>
                </c:pt>
                <c:pt idx="1097">
                  <c:v>2942.3701298701299</c:v>
                </c:pt>
                <c:pt idx="1098">
                  <c:v>3032.4310520939734</c:v>
                </c:pt>
                <c:pt idx="1099">
                  <c:v>3123.1688562490881</c:v>
                </c:pt>
                <c:pt idx="1100">
                  <c:v>3168.1993173610099</c:v>
                </c:pt>
                <c:pt idx="1101">
                  <c:v>3128.6551624288636</c:v>
                </c:pt>
                <c:pt idx="1102">
                  <c:v>2939.0569709433826</c:v>
                </c:pt>
                <c:pt idx="1103">
                  <c:v>2758.7213743068733</c:v>
                </c:pt>
                <c:pt idx="1104">
                  <c:v>2692.6006972311397</c:v>
                </c:pt>
                <c:pt idx="1105">
                  <c:v>2640.2670363344519</c:v>
                </c:pt>
                <c:pt idx="1106">
                  <c:v>2544.5060557420111</c:v>
                </c:pt>
                <c:pt idx="1107">
                  <c:v>2526.3727450569095</c:v>
                </c:pt>
                <c:pt idx="1108">
                  <c:v>2569.1231828213922</c:v>
                </c:pt>
                <c:pt idx="1109">
                  <c:v>2721.5641188165769</c:v>
                </c:pt>
                <c:pt idx="1110">
                  <c:v>2865.9893477309206</c:v>
                </c:pt>
                <c:pt idx="1111">
                  <c:v>2962.9972160914931</c:v>
                </c:pt>
                <c:pt idx="1112">
                  <c:v>2965.7403691813806</c:v>
                </c:pt>
                <c:pt idx="1113">
                  <c:v>3089.4316357799503</c:v>
                </c:pt>
                <c:pt idx="1114">
                  <c:v>3068.4482959105503</c:v>
                </c:pt>
                <c:pt idx="1115">
                  <c:v>2988.4337265613599</c:v>
                </c:pt>
                <c:pt idx="1116">
                  <c:v>2818.1088574347</c:v>
                </c:pt>
                <c:pt idx="1117">
                  <c:v>2607.0998217021743</c:v>
                </c:pt>
                <c:pt idx="1118">
                  <c:v>2458.4351743761858</c:v>
                </c:pt>
                <c:pt idx="1119">
                  <c:v>2389.5713442105648</c:v>
                </c:pt>
                <c:pt idx="1120">
                  <c:v>2428.1179889282066</c:v>
                </c:pt>
                <c:pt idx="1121">
                  <c:v>2527.4058806362177</c:v>
                </c:pt>
                <c:pt idx="1122">
                  <c:v>2592.493422132643</c:v>
                </c:pt>
                <c:pt idx="1123">
                  <c:v>2678.920557146505</c:v>
                </c:pt>
                <c:pt idx="1124">
                  <c:v>2697.3744961148404</c:v>
                </c:pt>
                <c:pt idx="1125">
                  <c:v>2674.0042568035897</c:v>
                </c:pt>
                <c:pt idx="1126">
                  <c:v>2584.2995882277837</c:v>
                </c:pt>
                <c:pt idx="1127">
                  <c:v>2572.5432178425508</c:v>
                </c:pt>
                <c:pt idx="1128">
                  <c:v>2580.8795532066251</c:v>
                </c:pt>
                <c:pt idx="1129">
                  <c:v>2590.2133987852039</c:v>
                </c:pt>
                <c:pt idx="1130">
                  <c:v>2586.009605738363</c:v>
                </c:pt>
                <c:pt idx="1131">
                  <c:v>2629.3300493397055</c:v>
                </c:pt>
                <c:pt idx="1132">
                  <c:v>2700.117649204728</c:v>
                </c:pt>
                <c:pt idx="1133">
                  <c:v>3050.2081091310379</c:v>
                </c:pt>
                <c:pt idx="1134">
                  <c:v>3095.7016999854081</c:v>
                </c:pt>
                <c:pt idx="1135">
                  <c:v>3187.472639719831</c:v>
                </c:pt>
                <c:pt idx="1136">
                  <c:v>3270.6934919013574</c:v>
                </c:pt>
                <c:pt idx="1137">
                  <c:v>3319.2508641288491</c:v>
                </c:pt>
                <c:pt idx="1138">
                  <c:v>3382.4146359258716</c:v>
                </c:pt>
                <c:pt idx="1139">
                  <c:v>3381.6308779001902</c:v>
                </c:pt>
                <c:pt idx="1140">
                  <c:v>3294.0637312126078</c:v>
                </c:pt>
                <c:pt idx="1141">
                  <c:v>3258.8302454217132</c:v>
                </c:pt>
                <c:pt idx="1142">
                  <c:v>3152.5954075769737</c:v>
                </c:pt>
                <c:pt idx="1143">
                  <c:v>3166.9524295928791</c:v>
                </c:pt>
                <c:pt idx="1144">
                  <c:v>3156.7992006238146</c:v>
                </c:pt>
                <c:pt idx="1145">
                  <c:v>3258.1533634904422</c:v>
                </c:pt>
                <c:pt idx="1146">
                  <c:v>3371.4776489311253</c:v>
                </c:pt>
                <c:pt idx="1147">
                  <c:v>3477.0356048445938</c:v>
                </c:pt>
                <c:pt idx="1148">
                  <c:v>3505.6427727819932</c:v>
                </c:pt>
                <c:pt idx="1149">
                  <c:v>3514.6559900773382</c:v>
                </c:pt>
                <c:pt idx="1150">
                  <c:v>3420.711903089888</c:v>
                </c:pt>
                <c:pt idx="1151">
                  <c:v>3414.6912164380565</c:v>
                </c:pt>
                <c:pt idx="1152">
                  <c:v>3322.1008933131475</c:v>
                </c:pt>
                <c:pt idx="1153">
                  <c:v>3338.6310625820811</c:v>
                </c:pt>
                <c:pt idx="1154">
                  <c:v>3286.4399031446083</c:v>
                </c:pt>
                <c:pt idx="1155">
                  <c:v>3307.2807415547936</c:v>
                </c:pt>
                <c:pt idx="1156">
                  <c:v>3403.397975795272</c:v>
                </c:pt>
                <c:pt idx="1157">
                  <c:v>3536.3162118780097</c:v>
                </c:pt>
                <c:pt idx="1158">
                  <c:v>3618.0407987377794</c:v>
                </c:pt>
                <c:pt idx="1159">
                  <c:v>3674.2576243980739</c:v>
                </c:pt>
                <c:pt idx="1160">
                  <c:v>3738.0982781263679</c:v>
                </c:pt>
                <c:pt idx="1161">
                  <c:v>3720.8912269261641</c:v>
                </c:pt>
                <c:pt idx="1162">
                  <c:v>3625.1302463337229</c:v>
                </c:pt>
                <c:pt idx="1163">
                  <c:v>3387.6515645520208</c:v>
                </c:pt>
                <c:pt idx="1164">
                  <c:v>3245.6132350795274</c:v>
                </c:pt>
                <c:pt idx="1165">
                  <c:v>3219.3929665839778</c:v>
                </c:pt>
                <c:pt idx="1166">
                  <c:v>3070.0514373267183</c:v>
                </c:pt>
                <c:pt idx="1167">
                  <c:v>3112.9087511856123</c:v>
                </c:pt>
                <c:pt idx="1168">
                  <c:v>3184.5157344411209</c:v>
                </c:pt>
                <c:pt idx="1169">
                  <c:v>3268.9834743907782</c:v>
                </c:pt>
                <c:pt idx="1170">
                  <c:v>3183.3757227674014</c:v>
                </c:pt>
                <c:pt idx="1171">
                  <c:v>2946.9301765650084</c:v>
                </c:pt>
                <c:pt idx="1172">
                  <c:v>3013.0508536407415</c:v>
                </c:pt>
                <c:pt idx="1173">
                  <c:v>3008.0276772034144</c:v>
                </c:pt>
                <c:pt idx="1174">
                  <c:v>2817.0757218553922</c:v>
                </c:pt>
                <c:pt idx="1175">
                  <c:v>2678.3505513096457</c:v>
                </c:pt>
                <c:pt idx="1176">
                  <c:v>2568.3394247957099</c:v>
                </c:pt>
                <c:pt idx="1177">
                  <c:v>2538.4497437253758</c:v>
                </c:pt>
                <c:pt idx="1178">
                  <c:v>2589.9996465963814</c:v>
                </c:pt>
                <c:pt idx="1179">
                  <c:v>2586.6864876696341</c:v>
                </c:pt>
                <c:pt idx="1180">
                  <c:v>2681.7705863308042</c:v>
                </c:pt>
                <c:pt idx="1181">
                  <c:v>2862.6761888041738</c:v>
                </c:pt>
                <c:pt idx="1182">
                  <c:v>3015.3308769881805</c:v>
                </c:pt>
                <c:pt idx="1183">
                  <c:v>3131.6120677075737</c:v>
                </c:pt>
                <c:pt idx="1184">
                  <c:v>3162.9623887348607</c:v>
                </c:pt>
                <c:pt idx="1185">
                  <c:v>3192.4958161571576</c:v>
                </c:pt>
                <c:pt idx="1186">
                  <c:v>3197.162738946447</c:v>
                </c:pt>
                <c:pt idx="1187">
                  <c:v>3218.2529549102587</c:v>
                </c:pt>
                <c:pt idx="1188">
                  <c:v>3242.8700819896399</c:v>
                </c:pt>
                <c:pt idx="1189">
                  <c:v>3190.3226689041298</c:v>
                </c:pt>
                <c:pt idx="1190">
                  <c:v>3145.3990838866193</c:v>
                </c:pt>
                <c:pt idx="1191">
                  <c:v>3176.9987824675327</c:v>
                </c:pt>
                <c:pt idx="1192">
                  <c:v>3155.6591889500951</c:v>
                </c:pt>
                <c:pt idx="1193">
                  <c:v>3166.9524295928791</c:v>
                </c:pt>
                <c:pt idx="1194">
                  <c:v>3228.6199360681453</c:v>
                </c:pt>
                <c:pt idx="1195">
                  <c:v>3199.2290101050639</c:v>
                </c:pt>
                <c:pt idx="1196">
                  <c:v>3229.653071647454</c:v>
                </c:pt>
                <c:pt idx="1197">
                  <c:v>3168.1993173610099</c:v>
                </c:pt>
                <c:pt idx="1198">
                  <c:v>2916.71986721144</c:v>
                </c:pt>
                <c:pt idx="1199">
                  <c:v>2764.4214326754709</c:v>
                </c:pt>
                <c:pt idx="1200">
                  <c:v>2641.5139241025831</c:v>
                </c:pt>
                <c:pt idx="1201">
                  <c:v>2619.6399501130895</c:v>
                </c:pt>
                <c:pt idx="1202">
                  <c:v>2603.2166569385672</c:v>
                </c:pt>
                <c:pt idx="1203">
                  <c:v>2592.493422132643</c:v>
                </c:pt>
                <c:pt idx="1204">
                  <c:v>2706.2808373157745</c:v>
                </c:pt>
                <c:pt idx="1205">
                  <c:v>2879.7763639099667</c:v>
                </c:pt>
                <c:pt idx="1206">
                  <c:v>2983.9805559608931</c:v>
                </c:pt>
                <c:pt idx="1207">
                  <c:v>3057.5113089158035</c:v>
                </c:pt>
                <c:pt idx="1208">
                  <c:v>3231.9330949948931</c:v>
                </c:pt>
                <c:pt idx="1209">
                  <c:v>3425.7350795272146</c:v>
                </c:pt>
                <c:pt idx="1210">
                  <c:v>3379.5646067415732</c:v>
                </c:pt>
                <c:pt idx="1211">
                  <c:v>3484.4456807237707</c:v>
                </c:pt>
                <c:pt idx="1212">
                  <c:v>3605.8569239749013</c:v>
                </c:pt>
                <c:pt idx="1213">
                  <c:v>3648.5004856449732</c:v>
                </c:pt>
                <c:pt idx="1214">
                  <c:v>3907.9600175105797</c:v>
                </c:pt>
                <c:pt idx="1215">
                  <c:v>3948.4304319276234</c:v>
                </c:pt>
                <c:pt idx="1216">
                  <c:v>3882.5235070407125</c:v>
                </c:pt>
                <c:pt idx="1217">
                  <c:v>3811.5221549868675</c:v>
                </c:pt>
                <c:pt idx="1218">
                  <c:v>3822.352265887203</c:v>
                </c:pt>
                <c:pt idx="1219">
                  <c:v>3873.7596672989935</c:v>
                </c:pt>
                <c:pt idx="1220">
                  <c:v>3895.6336412884871</c:v>
                </c:pt>
                <c:pt idx="1221">
                  <c:v>4100.51511427477</c:v>
                </c:pt>
                <c:pt idx="1222">
                  <c:v>3988.9008463446667</c:v>
                </c:pt>
                <c:pt idx="1223">
                  <c:v>3910.8100466948781</c:v>
                </c:pt>
                <c:pt idx="1224">
                  <c:v>3853.7025869144904</c:v>
                </c:pt>
                <c:pt idx="1225">
                  <c:v>3825.4160472603239</c:v>
                </c:pt>
                <c:pt idx="1226">
                  <c:v>3757.4784765796007</c:v>
                </c:pt>
                <c:pt idx="1227">
                  <c:v>3775.1486575222534</c:v>
                </c:pt>
                <c:pt idx="1228">
                  <c:v>3907.9600175105797</c:v>
                </c:pt>
                <c:pt idx="1229">
                  <c:v>4011.5942037246468</c:v>
                </c:pt>
                <c:pt idx="1230">
                  <c:v>4052.1714942361009</c:v>
                </c:pt>
                <c:pt idx="1231">
                  <c:v>4146.3293334123746</c:v>
                </c:pt>
                <c:pt idx="1232">
                  <c:v>4512.7362104187951</c:v>
                </c:pt>
                <c:pt idx="1233">
                  <c:v>4575.3299763789591</c:v>
                </c:pt>
                <c:pt idx="1234">
                  <c:v>4410.9189178097186</c:v>
                </c:pt>
                <c:pt idx="1235">
                  <c:v>4277.7869295381588</c:v>
                </c:pt>
                <c:pt idx="1236">
                  <c:v>4268.0968303115424</c:v>
                </c:pt>
                <c:pt idx="1237">
                  <c:v>4166.2795377024668</c:v>
                </c:pt>
                <c:pt idx="1238">
                  <c:v>4140.9855286918137</c:v>
                </c:pt>
                <c:pt idx="1239">
                  <c:v>4081.3486680103611</c:v>
                </c:pt>
                <c:pt idx="1240">
                  <c:v>4028.6943788304393</c:v>
                </c:pt>
                <c:pt idx="1241">
                  <c:v>4084.3055732890707</c:v>
                </c:pt>
                <c:pt idx="1242">
                  <c:v>4109.6352076645262</c:v>
                </c:pt>
                <c:pt idx="1243">
                  <c:v>4186.0159898037355</c:v>
                </c:pt>
                <c:pt idx="1244">
                  <c:v>4221.0000980410041</c:v>
                </c:pt>
                <c:pt idx="1245">
                  <c:v>4195.7060890303519</c:v>
                </c:pt>
                <c:pt idx="1246">
                  <c:v>4091.038767236977</c:v>
                </c:pt>
                <c:pt idx="1247">
                  <c:v>4008.1741687034873</c:v>
                </c:pt>
                <c:pt idx="1248">
                  <c:v>3949.0004377644832</c:v>
                </c:pt>
                <c:pt idx="1249">
                  <c:v>3893.1398657522259</c:v>
                </c:pt>
                <c:pt idx="1250">
                  <c:v>3853.9163391033121</c:v>
                </c:pt>
                <c:pt idx="1251">
                  <c:v>3848.6794104771639</c:v>
                </c:pt>
                <c:pt idx="1252">
                  <c:v>3845.1524993615935</c:v>
                </c:pt>
                <c:pt idx="1253">
                  <c:v>3897.1299066102438</c:v>
                </c:pt>
                <c:pt idx="1254">
                  <c:v>4044.2982886144755</c:v>
                </c:pt>
                <c:pt idx="1255">
                  <c:v>4168.9158146979435</c:v>
                </c:pt>
                <c:pt idx="1256">
                  <c:v>4314.3741791915954</c:v>
                </c:pt>
                <c:pt idx="1257">
                  <c:v>4299.1977737852039</c:v>
                </c:pt>
                <c:pt idx="1258">
                  <c:v>4145.5455753866918</c:v>
                </c:pt>
                <c:pt idx="1259">
                  <c:v>3924.0270570370644</c:v>
                </c:pt>
                <c:pt idx="1260">
                  <c:v>3839.3455648985851</c:v>
                </c:pt>
                <c:pt idx="1261">
                  <c:v>3808.2089960601202</c:v>
                </c:pt>
                <c:pt idx="1262">
                  <c:v>3656.2311898073835</c:v>
                </c:pt>
                <c:pt idx="1263">
                  <c:v>3763.5347885962356</c:v>
                </c:pt>
                <c:pt idx="1264">
                  <c:v>3751.8852943054144</c:v>
                </c:pt>
                <c:pt idx="1265">
                  <c:v>3893.0329896578141</c:v>
                </c:pt>
                <c:pt idx="1266">
                  <c:v>3925.2739448051948</c:v>
                </c:pt>
                <c:pt idx="1267">
                  <c:v>3903.1862186268791</c:v>
                </c:pt>
                <c:pt idx="1268">
                  <c:v>3943.4072554902964</c:v>
                </c:pt>
                <c:pt idx="1269">
                  <c:v>3965.4237309390051</c:v>
                </c:pt>
                <c:pt idx="1270">
                  <c:v>3878.4265900882829</c:v>
                </c:pt>
                <c:pt idx="1271">
                  <c:v>3727.8381730628921</c:v>
                </c:pt>
                <c:pt idx="1272">
                  <c:v>3582.0235549212025</c:v>
                </c:pt>
                <c:pt idx="1273">
                  <c:v>3521.9591898621043</c:v>
                </c:pt>
                <c:pt idx="1274">
                  <c:v>3444.6521482379981</c:v>
                </c:pt>
                <c:pt idx="1275">
                  <c:v>3411.9480633481689</c:v>
                </c:pt>
                <c:pt idx="1276">
                  <c:v>3279.2435794542539</c:v>
                </c:pt>
                <c:pt idx="1277">
                  <c:v>3258.1533634904422</c:v>
                </c:pt>
                <c:pt idx="1278">
                  <c:v>3337.2772987195385</c:v>
                </c:pt>
                <c:pt idx="1279">
                  <c:v>3273.1872674376186</c:v>
                </c:pt>
                <c:pt idx="1280">
                  <c:v>3204.0028089887642</c:v>
                </c:pt>
                <c:pt idx="1281">
                  <c:v>3228.5130599737345</c:v>
                </c:pt>
                <c:pt idx="1282">
                  <c:v>3267.8434627170582</c:v>
                </c:pt>
                <c:pt idx="1283">
                  <c:v>3262.0365282540497</c:v>
                </c:pt>
                <c:pt idx="1284">
                  <c:v>3343.6542390194077</c:v>
                </c:pt>
                <c:pt idx="1285">
                  <c:v>3390.3947176419088</c:v>
                </c:pt>
                <c:pt idx="1286">
                  <c:v>3287.2236611702906</c:v>
                </c:pt>
                <c:pt idx="1287">
                  <c:v>3316.1870827557277</c:v>
                </c:pt>
                <c:pt idx="1288">
                  <c:v>3314.7976935283818</c:v>
                </c:pt>
                <c:pt idx="1289">
                  <c:v>3333.7503876039691</c:v>
                </c:pt>
                <c:pt idx="1290">
                  <c:v>3334.747897818474</c:v>
                </c:pt>
                <c:pt idx="1291">
                  <c:v>3333.8572636983804</c:v>
                </c:pt>
                <c:pt idx="1292">
                  <c:v>3359.0443966146213</c:v>
                </c:pt>
                <c:pt idx="1293">
                  <c:v>3311.6270360608496</c:v>
                </c:pt>
                <c:pt idx="1294">
                  <c:v>3183.0194691193637</c:v>
                </c:pt>
                <c:pt idx="1295">
                  <c:v>3024.9141001203852</c:v>
                </c:pt>
                <c:pt idx="1296">
                  <c:v>2893.3496279001902</c:v>
                </c:pt>
                <c:pt idx="1297">
                  <c:v>2879.6694878155554</c:v>
                </c:pt>
                <c:pt idx="1298">
                  <c:v>2811.2687873923833</c:v>
                </c:pt>
                <c:pt idx="1299">
                  <c:v>2855.1592368305855</c:v>
                </c:pt>
                <c:pt idx="1300">
                  <c:v>2894.5965156683205</c:v>
                </c:pt>
                <c:pt idx="1301">
                  <c:v>3058.5444444951117</c:v>
                </c:pt>
                <c:pt idx="1302">
                  <c:v>3087.3653646213338</c:v>
                </c:pt>
                <c:pt idx="1303">
                  <c:v>3062.5344853531301</c:v>
                </c:pt>
                <c:pt idx="1304">
                  <c:v>3091.2485293849409</c:v>
                </c:pt>
                <c:pt idx="1305">
                  <c:v>3126.9451449182843</c:v>
                </c:pt>
                <c:pt idx="1306">
                  <c:v>3178.8156760725228</c:v>
                </c:pt>
                <c:pt idx="1307">
                  <c:v>3271.2634977382172</c:v>
                </c:pt>
                <c:pt idx="1308">
                  <c:v>3248.4632642638262</c:v>
                </c:pt>
                <c:pt idx="1309">
                  <c:v>3253.0233109587043</c:v>
                </c:pt>
                <c:pt idx="1310">
                  <c:v>3196.5927331095872</c:v>
                </c:pt>
                <c:pt idx="1311">
                  <c:v>3204.7865670144461</c:v>
                </c:pt>
                <c:pt idx="1312">
                  <c:v>3202.0790392893628</c:v>
                </c:pt>
                <c:pt idx="1313">
                  <c:v>3178.5662985188969</c:v>
                </c:pt>
                <c:pt idx="1314">
                  <c:v>3182.6988408361303</c:v>
                </c:pt>
                <c:pt idx="1315">
                  <c:v>3193.8495800196997</c:v>
                </c:pt>
                <c:pt idx="1316">
                  <c:v>3177.105658561944</c:v>
                </c:pt>
                <c:pt idx="1317">
                  <c:v>3139.6990255180212</c:v>
                </c:pt>
                <c:pt idx="1318">
                  <c:v>2913.7629619327304</c:v>
                </c:pt>
                <c:pt idx="1319">
                  <c:v>2821.7426446446811</c:v>
                </c:pt>
                <c:pt idx="1320">
                  <c:v>2792.9217245184595</c:v>
                </c:pt>
                <c:pt idx="1321">
                  <c:v>2736.5980227637533</c:v>
                </c:pt>
                <c:pt idx="1322">
                  <c:v>2715.6146828943529</c:v>
                </c:pt>
                <c:pt idx="1323">
                  <c:v>2775.2515435758064</c:v>
                </c:pt>
                <c:pt idx="1324">
                  <c:v>2824.2720455457466</c:v>
                </c:pt>
                <c:pt idx="1325">
                  <c:v>3031.2910404202539</c:v>
                </c:pt>
                <c:pt idx="1326">
                  <c:v>3164.67240624544</c:v>
                </c:pt>
                <c:pt idx="1327">
                  <c:v>3191.5695566722607</c:v>
                </c:pt>
                <c:pt idx="1328">
                  <c:v>3306.0338537866628</c:v>
                </c:pt>
                <c:pt idx="1329">
                  <c:v>3192.4958161571576</c:v>
                </c:pt>
                <c:pt idx="1330">
                  <c:v>3013.0508536407415</c:v>
                </c:pt>
                <c:pt idx="1331">
                  <c:v>2867.2362354990519</c:v>
                </c:pt>
                <c:pt idx="1332">
                  <c:v>2755.871345122574</c:v>
                </c:pt>
                <c:pt idx="1333">
                  <c:v>2723.0247587735303</c:v>
                </c:pt>
                <c:pt idx="1334">
                  <c:v>2695.4507264154386</c:v>
                </c:pt>
                <c:pt idx="1335">
                  <c:v>2716.2915648256239</c:v>
                </c:pt>
                <c:pt idx="1336">
                  <c:v>2772.4015143915076</c:v>
                </c:pt>
                <c:pt idx="1337">
                  <c:v>2847.7491609514086</c:v>
                </c:pt>
                <c:pt idx="1338">
                  <c:v>3014.6539950569095</c:v>
                </c:pt>
                <c:pt idx="1339">
                  <c:v>3099.6917408434265</c:v>
                </c:pt>
                <c:pt idx="1340">
                  <c:v>3071.9752070261202</c:v>
                </c:pt>
                <c:pt idx="1341">
                  <c:v>2837.2753036991098</c:v>
                </c:pt>
                <c:pt idx="1342">
                  <c:v>2743.0818391580328</c:v>
                </c:pt>
                <c:pt idx="1343">
                  <c:v>2588.7527588282505</c:v>
                </c:pt>
                <c:pt idx="1344">
                  <c:v>2540.5160148839927</c:v>
                </c:pt>
                <c:pt idx="1345">
                  <c:v>2550.2061141106087</c:v>
                </c:pt>
                <c:pt idx="1346">
                  <c:v>2509.1656938567053</c:v>
                </c:pt>
                <c:pt idx="1347">
                  <c:v>2538.9128734678243</c:v>
                </c:pt>
                <c:pt idx="1348">
                  <c:v>2654.4103061615351</c:v>
                </c:pt>
                <c:pt idx="1349">
                  <c:v>2892.2096162264702</c:v>
                </c:pt>
                <c:pt idx="1350">
                  <c:v>3118.0388037173502</c:v>
                </c:pt>
                <c:pt idx="1351">
                  <c:v>3182.9125930249529</c:v>
                </c:pt>
                <c:pt idx="1352">
                  <c:v>3254.7333284692836</c:v>
                </c:pt>
                <c:pt idx="1353">
                  <c:v>3186.4395041405228</c:v>
                </c:pt>
                <c:pt idx="1354">
                  <c:v>3170.2655885196268</c:v>
                </c:pt>
                <c:pt idx="1355">
                  <c:v>3146.5390955603389</c:v>
                </c:pt>
                <c:pt idx="1356">
                  <c:v>3206.0690801473811</c:v>
                </c:pt>
                <c:pt idx="1357">
                  <c:v>3206.9597142674743</c:v>
                </c:pt>
                <c:pt idx="1358">
                  <c:v>3076.2146254377649</c:v>
                </c:pt>
                <c:pt idx="1359">
                  <c:v>3023.9878406354883</c:v>
                </c:pt>
                <c:pt idx="1360">
                  <c:v>3038.59424020502</c:v>
                </c:pt>
                <c:pt idx="1361">
                  <c:v>3030.2579048409457</c:v>
                </c:pt>
                <c:pt idx="1362">
                  <c:v>3206.3897084306145</c:v>
                </c:pt>
                <c:pt idx="1363">
                  <c:v>3304.1100840872609</c:v>
                </c:pt>
                <c:pt idx="1364">
                  <c:v>3292.4605897964398</c:v>
                </c:pt>
                <c:pt idx="1365">
                  <c:v>3266.026569112068</c:v>
                </c:pt>
                <c:pt idx="1366">
                  <c:v>3193.8495800196997</c:v>
                </c:pt>
                <c:pt idx="1367">
                  <c:v>3063.6744970268496</c:v>
                </c:pt>
                <c:pt idx="1368">
                  <c:v>3038.8079923938421</c:v>
                </c:pt>
                <c:pt idx="1369">
                  <c:v>2933.7131662228221</c:v>
                </c:pt>
                <c:pt idx="1370">
                  <c:v>3005.2845241135269</c:v>
                </c:pt>
                <c:pt idx="1371">
                  <c:v>2900.0828218480956</c:v>
                </c:pt>
                <c:pt idx="1372">
                  <c:v>2904.2866148949365</c:v>
                </c:pt>
                <c:pt idx="1373">
                  <c:v>3057.2975567269814</c:v>
                </c:pt>
                <c:pt idx="1374">
                  <c:v>3076.9983834634468</c:v>
                </c:pt>
                <c:pt idx="1375">
                  <c:v>3080.3115423901941</c:v>
                </c:pt>
                <c:pt idx="1376">
                  <c:v>3116.2219101123596</c:v>
                </c:pt>
                <c:pt idx="1377">
                  <c:v>3151.5622719976654</c:v>
                </c:pt>
                <c:pt idx="1378">
                  <c:v>3128.7620385232749</c:v>
                </c:pt>
                <c:pt idx="1379">
                  <c:v>3059.3282025207941</c:v>
                </c:pt>
                <c:pt idx="1380">
                  <c:v>2976.9267337297533</c:v>
                </c:pt>
                <c:pt idx="1381">
                  <c:v>2913.4067082846932</c:v>
                </c:pt>
                <c:pt idx="1382">
                  <c:v>2790.0716953341607</c:v>
                </c:pt>
                <c:pt idx="1383">
                  <c:v>2886.0464281154241</c:v>
                </c:pt>
                <c:pt idx="1384">
                  <c:v>2916.1498613745807</c:v>
                </c:pt>
                <c:pt idx="1385">
                  <c:v>2971.9035572924267</c:v>
                </c:pt>
                <c:pt idx="1386">
                  <c:v>2956.7271518860352</c:v>
                </c:pt>
                <c:pt idx="1387">
                  <c:v>2999.2638374616959</c:v>
                </c:pt>
                <c:pt idx="1388">
                  <c:v>3022.8478289617688</c:v>
                </c:pt>
                <c:pt idx="1389">
                  <c:v>3000.5107252298262</c:v>
                </c:pt>
                <c:pt idx="1390">
                  <c:v>2872.1525358419672</c:v>
                </c:pt>
                <c:pt idx="1391">
                  <c:v>2816.5057160185324</c:v>
                </c:pt>
                <c:pt idx="1392">
                  <c:v>2736.1348930213044</c:v>
                </c:pt>
                <c:pt idx="1393">
                  <c:v>2719.8541013059976</c:v>
                </c:pt>
                <c:pt idx="1394">
                  <c:v>2718.0015823362032</c:v>
                </c:pt>
                <c:pt idx="1395">
                  <c:v>2695.4507264154386</c:v>
                </c:pt>
                <c:pt idx="1396">
                  <c:v>2747.5350097585001</c:v>
                </c:pt>
                <c:pt idx="1397">
                  <c:v>2853.2354671311837</c:v>
                </c:pt>
                <c:pt idx="1398">
                  <c:v>2918.0736310739821</c:v>
                </c:pt>
                <c:pt idx="1399">
                  <c:v>3019.3209178461989</c:v>
                </c:pt>
                <c:pt idx="1400">
                  <c:v>3099.6917408434265</c:v>
                </c:pt>
                <c:pt idx="1401">
                  <c:v>3046.6811980154675</c:v>
                </c:pt>
                <c:pt idx="1402">
                  <c:v>2999.7269672041443</c:v>
                </c:pt>
                <c:pt idx="1403">
                  <c:v>2924.8068250218885</c:v>
                </c:pt>
                <c:pt idx="1404">
                  <c:v>2934.9600539909529</c:v>
                </c:pt>
                <c:pt idx="1405">
                  <c:v>2945.6832887968772</c:v>
                </c:pt>
                <c:pt idx="1406">
                  <c:v>2977.1404859185759</c:v>
                </c:pt>
                <c:pt idx="1407">
                  <c:v>3060.9313439369621</c:v>
                </c:pt>
                <c:pt idx="1408">
                  <c:v>3186.3326280461115</c:v>
                </c:pt>
                <c:pt idx="1409">
                  <c:v>3293.0305956332995</c:v>
                </c:pt>
                <c:pt idx="1410">
                  <c:v>3276.9635561068148</c:v>
                </c:pt>
                <c:pt idx="1411">
                  <c:v>3272.9735152487965</c:v>
                </c:pt>
                <c:pt idx="1412">
                  <c:v>3336.2441631402312</c:v>
                </c:pt>
                <c:pt idx="1413">
                  <c:v>3414.3349627900188</c:v>
                </c:pt>
                <c:pt idx="1414">
                  <c:v>3406.4617571683939</c:v>
                </c:pt>
                <c:pt idx="1415">
                  <c:v>3331.6841164453522</c:v>
                </c:pt>
                <c:pt idx="1416">
                  <c:v>3375.9308195315921</c:v>
                </c:pt>
                <c:pt idx="1417">
                  <c:v>3612.6969940172189</c:v>
                </c:pt>
                <c:pt idx="1418">
                  <c:v>3554.0932689150741</c:v>
                </c:pt>
                <c:pt idx="1419">
                  <c:v>3559.1164453524007</c:v>
                </c:pt>
                <c:pt idx="1420">
                  <c:v>3737.5282722895081</c:v>
                </c:pt>
                <c:pt idx="1421">
                  <c:v>3880.5997373413102</c:v>
                </c:pt>
                <c:pt idx="1422">
                  <c:v>3962.7874539435288</c:v>
                </c:pt>
                <c:pt idx="1423">
                  <c:v>4091.965026721874</c:v>
                </c:pt>
                <c:pt idx="1424">
                  <c:v>4300.6940391069611</c:v>
                </c:pt>
                <c:pt idx="1425">
                  <c:v>4353.1345760980594</c:v>
                </c:pt>
                <c:pt idx="1426">
                  <c:v>4226.4864042207791</c:v>
                </c:pt>
                <c:pt idx="1427">
                  <c:v>4089.7918794688458</c:v>
                </c:pt>
                <c:pt idx="1428">
                  <c:v>4004.397880034292</c:v>
                </c:pt>
                <c:pt idx="1429">
                  <c:v>3951.7435908543703</c:v>
                </c:pt>
                <c:pt idx="1430">
                  <c:v>3880.1366075988617</c:v>
                </c:pt>
                <c:pt idx="1431">
                  <c:v>3831.5792353713705</c:v>
                </c:pt>
                <c:pt idx="1432">
                  <c:v>3799.7657846016346</c:v>
                </c:pt>
                <c:pt idx="1433">
                  <c:v>3800.0151621552604</c:v>
                </c:pt>
                <c:pt idx="1434">
                  <c:v>3895.4198890996645</c:v>
                </c:pt>
                <c:pt idx="1435">
                  <c:v>3926.770210126952</c:v>
                </c:pt>
                <c:pt idx="1436">
                  <c:v>3961.7543183642201</c:v>
                </c:pt>
                <c:pt idx="1437">
                  <c:v>3923.8133048482418</c:v>
                </c:pt>
                <c:pt idx="1438">
                  <c:v>3690.7877936670075</c:v>
                </c:pt>
                <c:pt idx="1439">
                  <c:v>3602.4368889537432</c:v>
                </c:pt>
                <c:pt idx="1440">
                  <c:v>3585.4435899423611</c:v>
                </c:pt>
                <c:pt idx="1441">
                  <c:v>3586.8329791697065</c:v>
                </c:pt>
                <c:pt idx="1442">
                  <c:v>3594.5636833321178</c:v>
                </c:pt>
                <c:pt idx="1443">
                  <c:v>3596.8437066795564</c:v>
                </c:pt>
                <c:pt idx="1444">
                  <c:v>3564.6027515321762</c:v>
                </c:pt>
                <c:pt idx="1445">
                  <c:v>3583.2704426893338</c:v>
                </c:pt>
                <c:pt idx="1446">
                  <c:v>3613.1601237596674</c:v>
                </c:pt>
                <c:pt idx="1447">
                  <c:v>3607.566941485481</c:v>
                </c:pt>
                <c:pt idx="1448">
                  <c:v>3601.2968772800232</c:v>
                </c:pt>
                <c:pt idx="1449">
                  <c:v>3577.8197618743616</c:v>
                </c:pt>
                <c:pt idx="1450">
                  <c:v>3055.2312855683645</c:v>
                </c:pt>
                <c:pt idx="1451">
                  <c:v>2919.6767724901506</c:v>
                </c:pt>
                <c:pt idx="1452">
                  <c:v>2920.7099080694588</c:v>
                </c:pt>
                <c:pt idx="1453">
                  <c:v>2809.4518937873927</c:v>
                </c:pt>
                <c:pt idx="1454">
                  <c:v>2790.7485772654313</c:v>
                </c:pt>
                <c:pt idx="1455">
                  <c:v>2803.5024578651687</c:v>
                </c:pt>
                <c:pt idx="1456">
                  <c:v>2877.1757122792942</c:v>
                </c:pt>
                <c:pt idx="1457">
                  <c:v>2933.9269184116447</c:v>
                </c:pt>
                <c:pt idx="1458">
                  <c:v>3073.4714723478774</c:v>
                </c:pt>
                <c:pt idx="1459">
                  <c:v>3152.8091597657963</c:v>
                </c:pt>
                <c:pt idx="1460">
                  <c:v>3181.5588291624108</c:v>
                </c:pt>
                <c:pt idx="1461">
                  <c:v>3164.2092765029915</c:v>
                </c:pt>
                <c:pt idx="1462">
                  <c:v>3074.5046079271856</c:v>
                </c:pt>
                <c:pt idx="1463">
                  <c:v>3014.8677472457321</c:v>
                </c:pt>
                <c:pt idx="1464">
                  <c:v>2976.1073503392677</c:v>
                </c:pt>
                <c:pt idx="1465">
                  <c:v>2926.7662200860937</c:v>
                </c:pt>
                <c:pt idx="1466">
                  <c:v>2918.5367608164311</c:v>
                </c:pt>
                <c:pt idx="1467">
                  <c:v>2867.5924891470891</c:v>
                </c:pt>
                <c:pt idx="1468">
                  <c:v>2965.8472452757919</c:v>
                </c:pt>
                <c:pt idx="1469">
                  <c:v>3323.2409049868675</c:v>
                </c:pt>
                <c:pt idx="1470">
                  <c:v>3645.5435803662631</c:v>
                </c:pt>
                <c:pt idx="1471">
                  <c:v>3670.267583540056</c:v>
                </c:pt>
                <c:pt idx="1472">
                  <c:v>3732.96822559463</c:v>
                </c:pt>
                <c:pt idx="1473">
                  <c:v>3764.8885524587772</c:v>
                </c:pt>
                <c:pt idx="1474">
                  <c:v>3811.0590252444185</c:v>
                </c:pt>
                <c:pt idx="1475">
                  <c:v>3826.0929291915954</c:v>
                </c:pt>
                <c:pt idx="1476">
                  <c:v>3747.0046193273024</c:v>
                </c:pt>
                <c:pt idx="1477">
                  <c:v>3644.0473150445064</c:v>
                </c:pt>
                <c:pt idx="1478">
                  <c:v>3467.4523817123891</c:v>
                </c:pt>
                <c:pt idx="1479">
                  <c:v>3434.8551729169708</c:v>
                </c:pt>
                <c:pt idx="1480">
                  <c:v>3469.0555231285566</c:v>
                </c:pt>
                <c:pt idx="1481">
                  <c:v>3486.2625743287613</c:v>
                </c:pt>
                <c:pt idx="1482">
                  <c:v>3552.0626231212609</c:v>
                </c:pt>
                <c:pt idx="1483">
                  <c:v>3672.0844771450461</c:v>
                </c:pt>
                <c:pt idx="1484">
                  <c:v>3716.9011860681458</c:v>
                </c:pt>
                <c:pt idx="1485">
                  <c:v>3776.3955452903842</c:v>
                </c:pt>
                <c:pt idx="1486">
                  <c:v>3750.1752767948346</c:v>
                </c:pt>
                <c:pt idx="1487">
                  <c:v>3673.010736629943</c:v>
                </c:pt>
                <c:pt idx="1488">
                  <c:v>3535.6393299467386</c:v>
                </c:pt>
                <c:pt idx="1489">
                  <c:v>3503.3627494345546</c:v>
                </c:pt>
                <c:pt idx="1490">
                  <c:v>3426.198209269663</c:v>
                </c:pt>
                <c:pt idx="1491">
                  <c:v>3411.5918097001318</c:v>
                </c:pt>
                <c:pt idx="1492">
                  <c:v>3406.9248869108424</c:v>
                </c:pt>
                <c:pt idx="1493">
                  <c:v>3462.3223291806512</c:v>
                </c:pt>
                <c:pt idx="1494">
                  <c:v>3548.2863344520651</c:v>
                </c:pt>
                <c:pt idx="1495">
                  <c:v>3614.9770173646584</c:v>
                </c:pt>
                <c:pt idx="1496">
                  <c:v>3624.0971107544146</c:v>
                </c:pt>
                <c:pt idx="1497">
                  <c:v>3618.2901762914053</c:v>
                </c:pt>
                <c:pt idx="1498">
                  <c:v>3451.9553480227642</c:v>
                </c:pt>
                <c:pt idx="1499">
                  <c:v>3504.0396313658252</c:v>
                </c:pt>
                <c:pt idx="1500">
                  <c:v>3455.268506949511</c:v>
                </c:pt>
                <c:pt idx="1501">
                  <c:v>3422.2081684116451</c:v>
                </c:pt>
                <c:pt idx="1502">
                  <c:v>3427.4450970377943</c:v>
                </c:pt>
                <c:pt idx="1503">
                  <c:v>3596.1668247482853</c:v>
                </c:pt>
                <c:pt idx="1504">
                  <c:v>3515.2259959141979</c:v>
                </c:pt>
                <c:pt idx="1505">
                  <c:v>3556.8364220049616</c:v>
                </c:pt>
                <c:pt idx="1506">
                  <c:v>3542.8000282722901</c:v>
                </c:pt>
                <c:pt idx="1507">
                  <c:v>3518.5391548409461</c:v>
                </c:pt>
                <c:pt idx="1508">
                  <c:v>3555.6964103312416</c:v>
                </c:pt>
                <c:pt idx="1509">
                  <c:v>3556.2664161681018</c:v>
                </c:pt>
                <c:pt idx="1510">
                  <c:v>3517.5060192616374</c:v>
                </c:pt>
                <c:pt idx="1511">
                  <c:v>3449.6753246753246</c:v>
                </c:pt>
                <c:pt idx="1512">
                  <c:v>3388.6847001313295</c:v>
                </c:pt>
                <c:pt idx="1513">
                  <c:v>3316.293958850139</c:v>
                </c:pt>
                <c:pt idx="1514">
                  <c:v>3298.5169018130746</c:v>
                </c:pt>
                <c:pt idx="1515">
                  <c:v>3247.3232525901067</c:v>
                </c:pt>
                <c:pt idx="1516">
                  <c:v>3279.2435794542539</c:v>
                </c:pt>
                <c:pt idx="1517">
                  <c:v>3361.4312960564716</c:v>
                </c:pt>
                <c:pt idx="1518">
                  <c:v>3398.8379291003939</c:v>
                </c:pt>
                <c:pt idx="1519">
                  <c:v>3476.5724751021453</c:v>
                </c:pt>
                <c:pt idx="1520">
                  <c:v>3501.4389797351528</c:v>
                </c:pt>
                <c:pt idx="1521">
                  <c:v>3523.4198298190572</c:v>
                </c:pt>
                <c:pt idx="1522">
                  <c:v>3739.1314137056766</c:v>
                </c:pt>
                <c:pt idx="1523">
                  <c:v>3962.003695917846</c:v>
                </c:pt>
                <c:pt idx="1524">
                  <c:v>3996.9878041551146</c:v>
                </c:pt>
                <c:pt idx="1525">
                  <c:v>3972.2638009813222</c:v>
                </c:pt>
                <c:pt idx="1526">
                  <c:v>4112.8058651320589</c:v>
                </c:pt>
                <c:pt idx="1527">
                  <c:v>4176.3258905771199</c:v>
                </c:pt>
                <c:pt idx="1528">
                  <c:v>4225.3463925470596</c:v>
                </c:pt>
                <c:pt idx="1529">
                  <c:v>4209.1368515613603</c:v>
                </c:pt>
                <c:pt idx="1530">
                  <c:v>4419.0415009849703</c:v>
                </c:pt>
                <c:pt idx="1531">
                  <c:v>4426.6653290529703</c:v>
                </c:pt>
                <c:pt idx="1532">
                  <c:v>4440.4523452320154</c:v>
                </c:pt>
                <c:pt idx="1533">
                  <c:v>4459.7256675908366</c:v>
                </c:pt>
                <c:pt idx="1534">
                  <c:v>4423.7084237742592</c:v>
                </c:pt>
                <c:pt idx="1535">
                  <c:v>4397.2387777250842</c:v>
                </c:pt>
                <c:pt idx="1536">
                  <c:v>4362.7177992302641</c:v>
                </c:pt>
                <c:pt idx="1537">
                  <c:v>4262.3967719429447</c:v>
                </c:pt>
                <c:pt idx="1538">
                  <c:v>4201.0498937509119</c:v>
                </c:pt>
                <c:pt idx="1539">
                  <c:v>4276.2906642164016</c:v>
                </c:pt>
                <c:pt idx="1540">
                  <c:v>4299.5540274332416</c:v>
                </c:pt>
                <c:pt idx="1541">
                  <c:v>4312.4504094921931</c:v>
                </c:pt>
                <c:pt idx="1542">
                  <c:v>4511.1330690026271</c:v>
                </c:pt>
                <c:pt idx="1543">
                  <c:v>4708.9250943929665</c:v>
                </c:pt>
                <c:pt idx="1544">
                  <c:v>4785.6621301802134</c:v>
                </c:pt>
                <c:pt idx="1545">
                  <c:v>4512.8430865132068</c:v>
                </c:pt>
                <c:pt idx="1546">
                  <c:v>4105.5382907120966</c:v>
                </c:pt>
                <c:pt idx="1547">
                  <c:v>3989.5777282759382</c:v>
                </c:pt>
                <c:pt idx="1548">
                  <c:v>3915.8332231322047</c:v>
                </c:pt>
                <c:pt idx="1549">
                  <c:v>3634.9272216547502</c:v>
                </c:pt>
                <c:pt idx="1550">
                  <c:v>3669.2344479607473</c:v>
                </c:pt>
                <c:pt idx="1551">
                  <c:v>3684.4108533671388</c:v>
                </c:pt>
                <c:pt idx="1552">
                  <c:v>3669.3413240551586</c:v>
                </c:pt>
                <c:pt idx="1553">
                  <c:v>3663.4275134977383</c:v>
                </c:pt>
                <c:pt idx="1554">
                  <c:v>3694.7778345250258</c:v>
                </c:pt>
                <c:pt idx="1555">
                  <c:v>3732.3982197577711</c:v>
                </c:pt>
                <c:pt idx="1556">
                  <c:v>3845.615629104042</c:v>
                </c:pt>
                <c:pt idx="1557">
                  <c:v>3907.0337580256823</c:v>
                </c:pt>
                <c:pt idx="1558">
                  <c:v>3637.6703747446372</c:v>
                </c:pt>
                <c:pt idx="1559">
                  <c:v>3506.2127786188535</c:v>
                </c:pt>
                <c:pt idx="1560">
                  <c:v>3392.1047351524885</c:v>
                </c:pt>
                <c:pt idx="1561">
                  <c:v>3351.990574383482</c:v>
                </c:pt>
                <c:pt idx="1562">
                  <c:v>3360.2912843827526</c:v>
                </c:pt>
                <c:pt idx="1563">
                  <c:v>3313.550805760251</c:v>
                </c:pt>
                <c:pt idx="1564">
                  <c:v>3352.6674563147526</c:v>
                </c:pt>
                <c:pt idx="1565">
                  <c:v>3415.0118447212903</c:v>
                </c:pt>
                <c:pt idx="1566">
                  <c:v>3498.588950550854</c:v>
                </c:pt>
                <c:pt idx="1567">
                  <c:v>3627.5171457755728</c:v>
                </c:pt>
                <c:pt idx="1568">
                  <c:v>3585.3367138479498</c:v>
                </c:pt>
                <c:pt idx="1569">
                  <c:v>3593.4236716583982</c:v>
                </c:pt>
                <c:pt idx="1570">
                  <c:v>3549.3194700313734</c:v>
                </c:pt>
                <c:pt idx="1571">
                  <c:v>3499.3727085765358</c:v>
                </c:pt>
                <c:pt idx="1572">
                  <c:v>3204.4659387312126</c:v>
                </c:pt>
                <c:pt idx="1573">
                  <c:v>3191.5695566722607</c:v>
                </c:pt>
                <c:pt idx="1574">
                  <c:v>3220.3192260688752</c:v>
                </c:pt>
                <c:pt idx="1575">
                  <c:v>3312.87392382898</c:v>
                </c:pt>
                <c:pt idx="1576">
                  <c:v>3349.9243032248655</c:v>
                </c:pt>
                <c:pt idx="1577">
                  <c:v>3353.3443382460237</c:v>
                </c:pt>
                <c:pt idx="1578">
                  <c:v>3336.3510392346416</c:v>
                </c:pt>
                <c:pt idx="1579">
                  <c:v>3329.867222840362</c:v>
                </c:pt>
                <c:pt idx="1580">
                  <c:v>3310.5939004815409</c:v>
                </c:pt>
                <c:pt idx="1581">
                  <c:v>3218.4667070990808</c:v>
                </c:pt>
                <c:pt idx="1582">
                  <c:v>3017.6109003356196</c:v>
                </c:pt>
                <c:pt idx="1583">
                  <c:v>2970.0866636874362</c:v>
                </c:pt>
                <c:pt idx="1584">
                  <c:v>2822.0988982927188</c:v>
                </c:pt>
                <c:pt idx="1585">
                  <c:v>2795.3086239603094</c:v>
                </c:pt>
                <c:pt idx="1586">
                  <c:v>2767.3783379541806</c:v>
                </c:pt>
                <c:pt idx="1587">
                  <c:v>2749.1381511746686</c:v>
                </c:pt>
                <c:pt idx="1588">
                  <c:v>2836.4559203086242</c:v>
                </c:pt>
                <c:pt idx="1589">
                  <c:v>2938.3800890121115</c:v>
                </c:pt>
                <c:pt idx="1590">
                  <c:v>3043.2611629943094</c:v>
                </c:pt>
                <c:pt idx="1591">
                  <c:v>3159.5423537137021</c:v>
                </c:pt>
                <c:pt idx="1592">
                  <c:v>3056.371297242084</c:v>
                </c:pt>
                <c:pt idx="1593">
                  <c:v>2908.7397854954038</c:v>
                </c:pt>
                <c:pt idx="1594">
                  <c:v>2933.3569125747849</c:v>
                </c:pt>
                <c:pt idx="1595">
                  <c:v>2628.6531674084345</c:v>
                </c:pt>
                <c:pt idx="1596">
                  <c:v>2822.7757802239894</c:v>
                </c:pt>
                <c:pt idx="1597">
                  <c:v>2853.5560954144171</c:v>
                </c:pt>
                <c:pt idx="1598">
                  <c:v>2808.2050060192619</c:v>
                </c:pt>
                <c:pt idx="1599">
                  <c:v>2791.4254591967024</c:v>
                </c:pt>
                <c:pt idx="1600">
                  <c:v>2799.7617945607767</c:v>
                </c:pt>
                <c:pt idx="1601">
                  <c:v>2787.435418338684</c:v>
                </c:pt>
                <c:pt idx="1602">
                  <c:v>2914.439843864001</c:v>
                </c:pt>
                <c:pt idx="1603">
                  <c:v>2897.4465448526194</c:v>
                </c:pt>
                <c:pt idx="1604">
                  <c:v>2928.5831136910842</c:v>
                </c:pt>
                <c:pt idx="1605">
                  <c:v>2912.7298263534221</c:v>
                </c:pt>
                <c:pt idx="1606">
                  <c:v>2799.7617945607767</c:v>
                </c:pt>
                <c:pt idx="1607">
                  <c:v>2765.775196538013</c:v>
                </c:pt>
                <c:pt idx="1608">
                  <c:v>2810.6987815555231</c:v>
                </c:pt>
                <c:pt idx="1609">
                  <c:v>2861.8924307784914</c:v>
                </c:pt>
                <c:pt idx="1610">
                  <c:v>2882.5195169998542</c:v>
                </c:pt>
                <c:pt idx="1611">
                  <c:v>2960.717192744054</c:v>
                </c:pt>
                <c:pt idx="1612">
                  <c:v>3239.9131767109297</c:v>
                </c:pt>
                <c:pt idx="1613">
                  <c:v>3336.81416897709</c:v>
                </c:pt>
                <c:pt idx="1614">
                  <c:v>3365.2075847256679</c:v>
                </c:pt>
                <c:pt idx="1615">
                  <c:v>3346.5042682037069</c:v>
                </c:pt>
                <c:pt idx="1616">
                  <c:v>3333.0378803078947</c:v>
                </c:pt>
                <c:pt idx="1617">
                  <c:v>3331.5772403509418</c:v>
                </c:pt>
                <c:pt idx="1618">
                  <c:v>2968.6972744600907</c:v>
                </c:pt>
                <c:pt idx="1619">
                  <c:v>3021.9571948416756</c:v>
                </c:pt>
                <c:pt idx="1620">
                  <c:v>2943.0470118014009</c:v>
                </c:pt>
                <c:pt idx="1621">
                  <c:v>2942.9401357069896</c:v>
                </c:pt>
                <c:pt idx="1622">
                  <c:v>2908.7397854954038</c:v>
                </c:pt>
                <c:pt idx="1623">
                  <c:v>2855.2661129249964</c:v>
                </c:pt>
                <c:pt idx="1624">
                  <c:v>2938.2732129177002</c:v>
                </c:pt>
                <c:pt idx="1625">
                  <c:v>3052.4881324784769</c:v>
                </c:pt>
                <c:pt idx="1626">
                  <c:v>3119.9981987815559</c:v>
                </c:pt>
                <c:pt idx="1627">
                  <c:v>3298.8375300963085</c:v>
                </c:pt>
                <c:pt idx="1628">
                  <c:v>3173.7924996351962</c:v>
                </c:pt>
                <c:pt idx="1629">
                  <c:v>3167.8786890777765</c:v>
                </c:pt>
                <c:pt idx="1630">
                  <c:v>2967.4503866919599</c:v>
                </c:pt>
                <c:pt idx="1631">
                  <c:v>2932.6800306435139</c:v>
                </c:pt>
                <c:pt idx="1632">
                  <c:v>2938.3800890121115</c:v>
                </c:pt>
                <c:pt idx="1633">
                  <c:v>2898.0165506894796</c:v>
                </c:pt>
                <c:pt idx="1634">
                  <c:v>2818.6788632715602</c:v>
                </c:pt>
                <c:pt idx="1635">
                  <c:v>2785.7254008281047</c:v>
                </c:pt>
                <c:pt idx="1636">
                  <c:v>2812.76505271414</c:v>
                </c:pt>
                <c:pt idx="1637">
                  <c:v>2892.2096162264702</c:v>
                </c:pt>
                <c:pt idx="1638">
                  <c:v>2957.7602874653439</c:v>
                </c:pt>
                <c:pt idx="1639">
                  <c:v>2965.7403691813806</c:v>
                </c:pt>
                <c:pt idx="1640">
                  <c:v>2959.0071752334748</c:v>
                </c:pt>
                <c:pt idx="1641">
                  <c:v>3072.2245845797461</c:v>
                </c:pt>
                <c:pt idx="1642">
                  <c:v>3425.1650736903548</c:v>
                </c:pt>
                <c:pt idx="1643">
                  <c:v>3531.3999115350944</c:v>
                </c:pt>
                <c:pt idx="1644">
                  <c:v>3440.9114849336056</c:v>
                </c:pt>
                <c:pt idx="1645">
                  <c:v>3371.5845250255365</c:v>
                </c:pt>
                <c:pt idx="1646">
                  <c:v>3298.8375300963085</c:v>
                </c:pt>
                <c:pt idx="1647">
                  <c:v>3237.6331533634907</c:v>
                </c:pt>
                <c:pt idx="1648">
                  <c:v>3126.2682629870128</c:v>
                </c:pt>
                <c:pt idx="1649">
                  <c:v>3362.5713077301912</c:v>
                </c:pt>
                <c:pt idx="1650">
                  <c:v>3566.4196451371663</c:v>
                </c:pt>
                <c:pt idx="1651">
                  <c:v>3650.887385086824</c:v>
                </c:pt>
                <c:pt idx="1652">
                  <c:v>3680.0645588610832</c:v>
                </c:pt>
                <c:pt idx="1653">
                  <c:v>3705.50106933095</c:v>
                </c:pt>
                <c:pt idx="1654">
                  <c:v>3527.3029945826647</c:v>
                </c:pt>
                <c:pt idx="1655">
                  <c:v>3474.2924517547058</c:v>
                </c:pt>
                <c:pt idx="1656">
                  <c:v>3500.7620978038813</c:v>
                </c:pt>
                <c:pt idx="1657">
                  <c:v>3518.1829011929085</c:v>
                </c:pt>
                <c:pt idx="1658">
                  <c:v>3562.9996101160077</c:v>
                </c:pt>
                <c:pt idx="1659">
                  <c:v>3504.5027611082737</c:v>
                </c:pt>
                <c:pt idx="1660">
                  <c:v>3606.3200537173498</c:v>
                </c:pt>
                <c:pt idx="1661">
                  <c:v>3742.3020711732088</c:v>
                </c:pt>
                <c:pt idx="1662">
                  <c:v>3701.4041523785208</c:v>
                </c:pt>
                <c:pt idx="1663">
                  <c:v>3739.8082956369476</c:v>
                </c:pt>
                <c:pt idx="1664">
                  <c:v>3747.7883773529838</c:v>
                </c:pt>
                <c:pt idx="1665">
                  <c:v>3735.3551250364808</c:v>
                </c:pt>
                <c:pt idx="1666">
                  <c:v>3750.1752767948346</c:v>
                </c:pt>
                <c:pt idx="1667">
                  <c:v>3748.2515070954332</c:v>
                </c:pt>
                <c:pt idx="1668">
                  <c:v>3718.2549499306874</c:v>
                </c:pt>
                <c:pt idx="1669">
                  <c:v>3710.0611160258281</c:v>
                </c:pt>
                <c:pt idx="1670">
                  <c:v>3743.1214545636954</c:v>
                </c:pt>
                <c:pt idx="1671">
                  <c:v>3701.8316567561651</c:v>
                </c:pt>
                <c:pt idx="1672">
                  <c:v>3687.260882551438</c:v>
                </c:pt>
                <c:pt idx="1673">
                  <c:v>3699.8010109623524</c:v>
                </c:pt>
                <c:pt idx="1674">
                  <c:v>3743.4420828469283</c:v>
                </c:pt>
                <c:pt idx="1675">
                  <c:v>3719.0743333211731</c:v>
                </c:pt>
                <c:pt idx="1676">
                  <c:v>3785.9787684225889</c:v>
                </c:pt>
                <c:pt idx="1677">
                  <c:v>3875.5765609039836</c:v>
                </c:pt>
                <c:pt idx="1678">
                  <c:v>3826.3423067452213</c:v>
                </c:pt>
                <c:pt idx="1679">
                  <c:v>3773.545516106085</c:v>
                </c:pt>
                <c:pt idx="1680">
                  <c:v>3722.1381146942949</c:v>
                </c:pt>
                <c:pt idx="1681">
                  <c:v>3672.6544829819059</c:v>
                </c:pt>
                <c:pt idx="1682">
                  <c:v>3650.1036270611412</c:v>
                </c:pt>
                <c:pt idx="1683">
                  <c:v>3621.8170874069751</c:v>
                </c:pt>
                <c:pt idx="1684">
                  <c:v>3608.7069531592006</c:v>
                </c:pt>
                <c:pt idx="1685">
                  <c:v>3693.8515750401289</c:v>
                </c:pt>
                <c:pt idx="1686">
                  <c:v>3801.832055760251</c:v>
                </c:pt>
                <c:pt idx="1687">
                  <c:v>3933.6102801692691</c:v>
                </c:pt>
                <c:pt idx="1688">
                  <c:v>3990.6108638552464</c:v>
                </c:pt>
                <c:pt idx="1689">
                  <c:v>4032.1144138515983</c:v>
                </c:pt>
                <c:pt idx="1690">
                  <c:v>3943.8703852327453</c:v>
                </c:pt>
                <c:pt idx="1691">
                  <c:v>3887.4398073836278</c:v>
                </c:pt>
                <c:pt idx="1692">
                  <c:v>3849.3562924084345</c:v>
                </c:pt>
                <c:pt idx="1693">
                  <c:v>3643.4773092076466</c:v>
                </c:pt>
                <c:pt idx="1694">
                  <c:v>3596.0599486538749</c:v>
                </c:pt>
                <c:pt idx="1695">
                  <c:v>3179.5994340982056</c:v>
                </c:pt>
                <c:pt idx="1696">
                  <c:v>3956.8736433861081</c:v>
                </c:pt>
                <c:pt idx="1697">
                  <c:v>3590.6805185685103</c:v>
                </c:pt>
                <c:pt idx="1698">
                  <c:v>3661.0406140558885</c:v>
                </c:pt>
                <c:pt idx="1699">
                  <c:v>3674.2576243980739</c:v>
                </c:pt>
                <c:pt idx="1700">
                  <c:v>3767.8454577374873</c:v>
                </c:pt>
                <c:pt idx="1701">
                  <c:v>3737.3145201006864</c:v>
                </c:pt>
                <c:pt idx="1702">
                  <c:v>3466.3123700386695</c:v>
                </c:pt>
                <c:pt idx="1703">
                  <c:v>3343.761115113819</c:v>
                </c:pt>
                <c:pt idx="1704">
                  <c:v>3227.7293019480521</c:v>
                </c:pt>
                <c:pt idx="1705">
                  <c:v>3218.822960747118</c:v>
                </c:pt>
                <c:pt idx="1706">
                  <c:v>3213.1229023785208</c:v>
                </c:pt>
                <c:pt idx="1707">
                  <c:v>3230.3299535787251</c:v>
                </c:pt>
                <c:pt idx="1708">
                  <c:v>3299.0869076499343</c:v>
                </c:pt>
                <c:pt idx="1709">
                  <c:v>3453.3091118853058</c:v>
                </c:pt>
                <c:pt idx="1710">
                  <c:v>3669.6975777031962</c:v>
                </c:pt>
                <c:pt idx="1711">
                  <c:v>3714.1580329782578</c:v>
                </c:pt>
                <c:pt idx="1712">
                  <c:v>3665.6006607507666</c:v>
                </c:pt>
                <c:pt idx="1713">
                  <c:v>3604.1469064643225</c:v>
                </c:pt>
                <c:pt idx="1714">
                  <c:v>3508.2790497774699</c:v>
                </c:pt>
                <c:pt idx="1715">
                  <c:v>3498.2326969028168</c:v>
                </c:pt>
                <c:pt idx="1716">
                  <c:v>3152.702283671385</c:v>
                </c:pt>
                <c:pt idx="1717">
                  <c:v>3141.8721727710495</c:v>
                </c:pt>
                <c:pt idx="1718">
                  <c:v>2948.0701882387275</c:v>
                </c:pt>
                <c:pt idx="1719">
                  <c:v>2892.2096162264702</c:v>
                </c:pt>
                <c:pt idx="1720">
                  <c:v>3035.7442110207212</c:v>
                </c:pt>
                <c:pt idx="1721">
                  <c:v>3203.4328031519044</c:v>
                </c:pt>
                <c:pt idx="1722">
                  <c:v>3383.0915178571431</c:v>
                </c:pt>
                <c:pt idx="1723">
                  <c:v>3380.134612578433</c:v>
                </c:pt>
                <c:pt idx="1724">
                  <c:v>3422.9919264373266</c:v>
                </c:pt>
                <c:pt idx="1725">
                  <c:v>3412.9811989274776</c:v>
                </c:pt>
                <c:pt idx="1726">
                  <c:v>3202.8627973150446</c:v>
                </c:pt>
                <c:pt idx="1727">
                  <c:v>3131.718943801985</c:v>
                </c:pt>
                <c:pt idx="1728">
                  <c:v>3053.9843978002336</c:v>
                </c:pt>
                <c:pt idx="1729">
                  <c:v>2976.6773561761274</c:v>
                </c:pt>
                <c:pt idx="1730">
                  <c:v>2936.6700715015327</c:v>
                </c:pt>
                <c:pt idx="1731">
                  <c:v>2902.3628451955346</c:v>
                </c:pt>
                <c:pt idx="1732">
                  <c:v>2958.9002991390635</c:v>
                </c:pt>
                <c:pt idx="1733">
                  <c:v>3160.8961175762443</c:v>
                </c:pt>
                <c:pt idx="1734">
                  <c:v>3190.678922552167</c:v>
                </c:pt>
                <c:pt idx="1735">
                  <c:v>3259.8633810010215</c:v>
                </c:pt>
                <c:pt idx="1736">
                  <c:v>3296.3437545600468</c:v>
                </c:pt>
                <c:pt idx="1737">
                  <c:v>3319.2508641288491</c:v>
                </c:pt>
                <c:pt idx="1738">
                  <c:v>3259.400251258573</c:v>
                </c:pt>
                <c:pt idx="1739">
                  <c:v>3175.2887649569534</c:v>
                </c:pt>
                <c:pt idx="1740">
                  <c:v>3135.6021085655916</c:v>
                </c:pt>
                <c:pt idx="1741">
                  <c:v>2936.7769475959435</c:v>
                </c:pt>
                <c:pt idx="1742">
                  <c:v>2718.2509598898296</c:v>
                </c:pt>
                <c:pt idx="1743">
                  <c:v>2690.9975558149717</c:v>
                </c:pt>
                <c:pt idx="1744">
                  <c:v>2738.3080402743326</c:v>
                </c:pt>
                <c:pt idx="1745">
                  <c:v>2787.435418338684</c:v>
                </c:pt>
                <c:pt idx="1746">
                  <c:v>2879.6694878155554</c:v>
                </c:pt>
                <c:pt idx="1747">
                  <c:v>2905.9966324055158</c:v>
                </c:pt>
                <c:pt idx="1748">
                  <c:v>2910.8060566540203</c:v>
                </c:pt>
                <c:pt idx="1749">
                  <c:v>2868.9462530096312</c:v>
                </c:pt>
                <c:pt idx="1750">
                  <c:v>2666.024175087553</c:v>
                </c:pt>
                <c:pt idx="1751">
                  <c:v>2593.3128055231286</c:v>
                </c:pt>
                <c:pt idx="1752">
                  <c:v>2557.6161899897857</c:v>
                </c:pt>
                <c:pt idx="1753">
                  <c:v>2481.3422839449877</c:v>
                </c:pt>
                <c:pt idx="1754">
                  <c:v>2495.3786776776597</c:v>
                </c:pt>
                <c:pt idx="1755">
                  <c:v>2482.3754195242964</c:v>
                </c:pt>
                <c:pt idx="1756">
                  <c:v>2683.8012321246174</c:v>
                </c:pt>
                <c:pt idx="1757">
                  <c:v>2933.7131662228221</c:v>
                </c:pt>
                <c:pt idx="1758">
                  <c:v>3136.7421202393116</c:v>
                </c:pt>
                <c:pt idx="1759">
                  <c:v>3197.6258686888955</c:v>
                </c:pt>
                <c:pt idx="1760">
                  <c:v>3188.6126513935505</c:v>
                </c:pt>
                <c:pt idx="1761">
                  <c:v>3227.5868004888371</c:v>
                </c:pt>
                <c:pt idx="1762">
                  <c:v>3170.3724646140381</c:v>
                </c:pt>
                <c:pt idx="1763">
                  <c:v>3135.9583622136292</c:v>
                </c:pt>
                <c:pt idx="1764">
                  <c:v>3083.1615715744933</c:v>
                </c:pt>
                <c:pt idx="1765">
                  <c:v>3082.1284359951846</c:v>
                </c:pt>
                <c:pt idx="1766">
                  <c:v>3096.1648297278566</c:v>
                </c:pt>
                <c:pt idx="1767">
                  <c:v>3007.9208011090036</c:v>
                </c:pt>
                <c:pt idx="1768">
                  <c:v>2989.6806143294912</c:v>
                </c:pt>
                <c:pt idx="1769">
                  <c:v>2974.2904567342771</c:v>
                </c:pt>
                <c:pt idx="1770">
                  <c:v>3004.500766087845</c:v>
                </c:pt>
                <c:pt idx="1771">
                  <c:v>2969.8372861338103</c:v>
                </c:pt>
                <c:pt idx="1772">
                  <c:v>2956.6202757916244</c:v>
                </c:pt>
                <c:pt idx="1773">
                  <c:v>2955.4802641179049</c:v>
                </c:pt>
                <c:pt idx="1774">
                  <c:v>2756.6551031482563</c:v>
                </c:pt>
                <c:pt idx="1775">
                  <c:v>2628.2969137603968</c:v>
                </c:pt>
                <c:pt idx="1776">
                  <c:v>2614.6167736757629</c:v>
                </c:pt>
                <c:pt idx="1777">
                  <c:v>2611.1967386546039</c:v>
                </c:pt>
                <c:pt idx="1778">
                  <c:v>2584.7627179702322</c:v>
                </c:pt>
                <c:pt idx="1779">
                  <c:v>2525.8027392200497</c:v>
                </c:pt>
                <c:pt idx="1780">
                  <c:v>2592.493422132643</c:v>
                </c:pt>
                <c:pt idx="1781">
                  <c:v>2705.1408256420546</c:v>
                </c:pt>
                <c:pt idx="1782">
                  <c:v>2763.9583029330224</c:v>
                </c:pt>
                <c:pt idx="1783">
                  <c:v>2801.0086823289071</c:v>
                </c:pt>
                <c:pt idx="1784">
                  <c:v>2900.2965740369186</c:v>
                </c:pt>
                <c:pt idx="1785">
                  <c:v>2946.3601707281487</c:v>
                </c:pt>
                <c:pt idx="1786">
                  <c:v>2976.5704800817161</c:v>
                </c:pt>
                <c:pt idx="1787">
                  <c:v>2982.6267920983514</c:v>
                </c:pt>
                <c:pt idx="1788">
                  <c:v>2913.9767141215525</c:v>
                </c:pt>
                <c:pt idx="1789">
                  <c:v>2831.218991682475</c:v>
                </c:pt>
                <c:pt idx="1790">
                  <c:v>2829.615850266307</c:v>
                </c:pt>
                <c:pt idx="1791">
                  <c:v>2830.4352336567927</c:v>
                </c:pt>
                <c:pt idx="1792">
                  <c:v>2815.8288340872609</c:v>
                </c:pt>
                <c:pt idx="1793">
                  <c:v>2868.2693710783601</c:v>
                </c:pt>
                <c:pt idx="1794">
                  <c:v>2900.4034501313295</c:v>
                </c:pt>
                <c:pt idx="1795">
                  <c:v>2880.0257414635926</c:v>
                </c:pt>
                <c:pt idx="1796">
                  <c:v>2820.9588866189993</c:v>
                </c:pt>
                <c:pt idx="1797">
                  <c:v>2835.8859144717644</c:v>
                </c:pt>
                <c:pt idx="1798">
                  <c:v>2717.3247004049322</c:v>
                </c:pt>
                <c:pt idx="1799">
                  <c:v>2675.9636518677953</c:v>
                </c:pt>
                <c:pt idx="1800">
                  <c:v>2540.1597612359551</c:v>
                </c:pt>
                <c:pt idx="1801">
                  <c:v>2538.5922451845909</c:v>
                </c:pt>
                <c:pt idx="1802">
                  <c:v>2521.8126983620314</c:v>
                </c:pt>
                <c:pt idx="1803">
                  <c:v>2515.4357580621627</c:v>
                </c:pt>
                <c:pt idx="1804">
                  <c:v>2597.5165985699696</c:v>
                </c:pt>
                <c:pt idx="1805">
                  <c:v>2834.0690208667738</c:v>
                </c:pt>
                <c:pt idx="1806">
                  <c:v>2873.9694294469577</c:v>
                </c:pt>
                <c:pt idx="1807">
                  <c:v>2918.3230086276085</c:v>
                </c:pt>
                <c:pt idx="1808">
                  <c:v>2917.3967491427115</c:v>
                </c:pt>
                <c:pt idx="1809">
                  <c:v>2932.1100248066541</c:v>
                </c:pt>
                <c:pt idx="1810">
                  <c:v>2947.607058496279</c:v>
                </c:pt>
                <c:pt idx="1811">
                  <c:v>2950.1364593973444</c:v>
                </c:pt>
                <c:pt idx="1812">
                  <c:v>2948.1770643331388</c:v>
                </c:pt>
                <c:pt idx="1813">
                  <c:v>2969.8372861338103</c:v>
                </c:pt>
                <c:pt idx="1814">
                  <c:v>2956.9765294396616</c:v>
                </c:pt>
                <c:pt idx="1815">
                  <c:v>2970.40729197067</c:v>
                </c:pt>
                <c:pt idx="1816">
                  <c:v>3017.5040242412083</c:v>
                </c:pt>
                <c:pt idx="1817">
                  <c:v>3093.0654229899314</c:v>
                </c:pt>
                <c:pt idx="1818">
                  <c:v>3219.3929665839778</c:v>
                </c:pt>
                <c:pt idx="1819">
                  <c:v>3259.6496288121994</c:v>
                </c:pt>
                <c:pt idx="1820">
                  <c:v>3273.7572732744784</c:v>
                </c:pt>
                <c:pt idx="1821">
                  <c:v>3243.226335637677</c:v>
                </c:pt>
                <c:pt idx="1822">
                  <c:v>2879.5626117211441</c:v>
                </c:pt>
                <c:pt idx="1823">
                  <c:v>2540.0528851415443</c:v>
                </c:pt>
                <c:pt idx="1824">
                  <c:v>2382.1612683313879</c:v>
                </c:pt>
                <c:pt idx="1825">
                  <c:v>2372.9342988472204</c:v>
                </c:pt>
                <c:pt idx="1826">
                  <c:v>2323.1300388515979</c:v>
                </c:pt>
                <c:pt idx="1827">
                  <c:v>2356.974135415147</c:v>
                </c:pt>
                <c:pt idx="1828">
                  <c:v>2470.9753027871006</c:v>
                </c:pt>
                <c:pt idx="1829">
                  <c:v>2644.363953286882</c:v>
                </c:pt>
                <c:pt idx="1830">
                  <c:v>2918.3230086276085</c:v>
                </c:pt>
                <c:pt idx="1831">
                  <c:v>3076.9983834634468</c:v>
                </c:pt>
                <c:pt idx="1832">
                  <c:v>3092.2816649642491</c:v>
                </c:pt>
                <c:pt idx="1833">
                  <c:v>3064.8145087005691</c:v>
                </c:pt>
                <c:pt idx="1834">
                  <c:v>2859.7192835254637</c:v>
                </c:pt>
                <c:pt idx="1835">
                  <c:v>2706.9577192470451</c:v>
                </c:pt>
                <c:pt idx="1836">
                  <c:v>2696.2344844411209</c:v>
                </c:pt>
                <c:pt idx="1837">
                  <c:v>2685.9743793776447</c:v>
                </c:pt>
                <c:pt idx="1838">
                  <c:v>2599.582869728586</c:v>
                </c:pt>
                <c:pt idx="1839">
                  <c:v>2577.1032645374289</c:v>
                </c:pt>
                <c:pt idx="1840">
                  <c:v>2628.4037898548081</c:v>
                </c:pt>
                <c:pt idx="1841">
                  <c:v>2677.6736693783746</c:v>
                </c:pt>
                <c:pt idx="1842">
                  <c:v>2867.6993652415003</c:v>
                </c:pt>
                <c:pt idx="1843">
                  <c:v>2986.9374612396036</c:v>
                </c:pt>
                <c:pt idx="1844">
                  <c:v>2968.6972744600907</c:v>
                </c:pt>
                <c:pt idx="1845">
                  <c:v>2983.9805559608931</c:v>
                </c:pt>
                <c:pt idx="1846">
                  <c:v>2831.6821214249235</c:v>
                </c:pt>
                <c:pt idx="1847">
                  <c:v>2673.8973807091784</c:v>
                </c:pt>
                <c:pt idx="1848">
                  <c:v>2638.4501427294617</c:v>
                </c:pt>
                <c:pt idx="1849">
                  <c:v>2659.1841050452358</c:v>
                </c:pt>
                <c:pt idx="1850">
                  <c:v>2635.136983802714</c:v>
                </c:pt>
                <c:pt idx="1851">
                  <c:v>2597.6234746643809</c:v>
                </c:pt>
                <c:pt idx="1852">
                  <c:v>2629.9000551765653</c:v>
                </c:pt>
                <c:pt idx="1853">
                  <c:v>2767.841467696629</c:v>
                </c:pt>
                <c:pt idx="1854">
                  <c:v>2837.702808076755</c:v>
                </c:pt>
                <c:pt idx="1855">
                  <c:v>2882.9826467423027</c:v>
                </c:pt>
                <c:pt idx="1856">
                  <c:v>2837.9521856303809</c:v>
                </c:pt>
                <c:pt idx="1857">
                  <c:v>2922.0636719320009</c:v>
                </c:pt>
                <c:pt idx="1858">
                  <c:v>2938.1663368232894</c:v>
                </c:pt>
                <c:pt idx="1859">
                  <c:v>2984.1943081497157</c:v>
                </c:pt>
                <c:pt idx="1860">
                  <c:v>3066.5245262111489</c:v>
                </c:pt>
                <c:pt idx="1861">
                  <c:v>3020.9240592623673</c:v>
                </c:pt>
                <c:pt idx="1862">
                  <c:v>3004.1445124398078</c:v>
                </c:pt>
                <c:pt idx="1863">
                  <c:v>2985.4768212826502</c:v>
                </c:pt>
                <c:pt idx="1864">
                  <c:v>2993.3144015394719</c:v>
                </c:pt>
                <c:pt idx="1865">
                  <c:v>3053.3075158689626</c:v>
                </c:pt>
                <c:pt idx="1866">
                  <c:v>3040.5180099044214</c:v>
                </c:pt>
                <c:pt idx="1867">
                  <c:v>3095.7016999854081</c:v>
                </c:pt>
                <c:pt idx="1868">
                  <c:v>3063.8882492156722</c:v>
                </c:pt>
                <c:pt idx="1869">
                  <c:v>3092.6379186122867</c:v>
                </c:pt>
                <c:pt idx="1870">
                  <c:v>3023.880964541077</c:v>
                </c:pt>
                <c:pt idx="1871">
                  <c:v>2983.4105501240333</c:v>
                </c:pt>
                <c:pt idx="1872">
                  <c:v>2858.0092660148844</c:v>
                </c:pt>
                <c:pt idx="1873">
                  <c:v>2755.5150914745368</c:v>
                </c:pt>
                <c:pt idx="1874">
                  <c:v>2724.6279001896978</c:v>
                </c:pt>
                <c:pt idx="1875">
                  <c:v>2722.2410007478475</c:v>
                </c:pt>
                <c:pt idx="1876">
                  <c:v>2856.2992485043046</c:v>
                </c:pt>
                <c:pt idx="1877">
                  <c:v>3096.3785819166787</c:v>
                </c:pt>
                <c:pt idx="1878">
                  <c:v>3300.3337954180652</c:v>
                </c:pt>
                <c:pt idx="1879">
                  <c:v>3466.2054939442583</c:v>
                </c:pt>
                <c:pt idx="1880">
                  <c:v>3405.3217454946744</c:v>
                </c:pt>
                <c:pt idx="1881">
                  <c:v>3219.3929665839778</c:v>
                </c:pt>
                <c:pt idx="1882">
                  <c:v>3019.3209178461989</c:v>
                </c:pt>
                <c:pt idx="1883">
                  <c:v>2815.7219579928501</c:v>
                </c:pt>
                <c:pt idx="1884">
                  <c:v>2724.6279001896978</c:v>
                </c:pt>
                <c:pt idx="1885">
                  <c:v>2624.7700026448274</c:v>
                </c:pt>
                <c:pt idx="1886">
                  <c:v>2545.0760615788708</c:v>
                </c:pt>
                <c:pt idx="1887">
                  <c:v>2634.1038482234062</c:v>
                </c:pt>
                <c:pt idx="1888">
                  <c:v>2701.1507847840367</c:v>
                </c:pt>
                <c:pt idx="1889">
                  <c:v>2987.6143431708742</c:v>
                </c:pt>
                <c:pt idx="1890">
                  <c:v>3070.5145670691668</c:v>
                </c:pt>
                <c:pt idx="1891">
                  <c:v>3135.6021085655916</c:v>
                </c:pt>
                <c:pt idx="1892">
                  <c:v>3113.2650048336495</c:v>
                </c:pt>
                <c:pt idx="1893">
                  <c:v>3039.2711221362906</c:v>
                </c:pt>
                <c:pt idx="1894">
                  <c:v>2902.5765973843577</c:v>
                </c:pt>
                <c:pt idx="1895">
                  <c:v>2766.3452023748728</c:v>
                </c:pt>
                <c:pt idx="1896">
                  <c:v>2701.0439086896254</c:v>
                </c:pt>
                <c:pt idx="1897">
                  <c:v>2677.4242918247487</c:v>
                </c:pt>
                <c:pt idx="1898">
                  <c:v>2638.0938890814245</c:v>
                </c:pt>
                <c:pt idx="1899">
                  <c:v>2675.5005221253468</c:v>
                </c:pt>
                <c:pt idx="1900">
                  <c:v>2756.5482270538455</c:v>
                </c:pt>
                <c:pt idx="1901">
                  <c:v>2960.0403108127825</c:v>
                </c:pt>
                <c:pt idx="1902">
                  <c:v>3108.3487044907342</c:v>
                </c:pt>
                <c:pt idx="1903">
                  <c:v>3234.1062422479208</c:v>
                </c:pt>
                <c:pt idx="1904">
                  <c:v>3166.4892998504306</c:v>
                </c:pt>
                <c:pt idx="1905">
                  <c:v>3083.054695480082</c:v>
                </c:pt>
                <c:pt idx="1906">
                  <c:v>3000.0475954873777</c:v>
                </c:pt>
                <c:pt idx="1907">
                  <c:v>2878.4226000474246</c:v>
                </c:pt>
                <c:pt idx="1908">
                  <c:v>2583.8364584853352</c:v>
                </c:pt>
                <c:pt idx="1909">
                  <c:v>2399.7245731796293</c:v>
                </c:pt>
                <c:pt idx="1910">
                  <c:v>2232.6059868853058</c:v>
                </c:pt>
                <c:pt idx="1911">
                  <c:v>2310.8036626295052</c:v>
                </c:pt>
                <c:pt idx="1912">
                  <c:v>2479.5253903399971</c:v>
                </c:pt>
                <c:pt idx="1913">
                  <c:v>2559.3262075003649</c:v>
                </c:pt>
                <c:pt idx="1914">
                  <c:v>2693.2775791624108</c:v>
                </c:pt>
                <c:pt idx="1915">
                  <c:v>2762.355161516854</c:v>
                </c:pt>
                <c:pt idx="1916">
                  <c:v>2795.3086239603094</c:v>
                </c:pt>
                <c:pt idx="1917">
                  <c:v>2768.5183496279005</c:v>
                </c:pt>
                <c:pt idx="1918">
                  <c:v>2694.4175908361303</c:v>
                </c:pt>
                <c:pt idx="1919">
                  <c:v>2536.4190979315631</c:v>
                </c:pt>
                <c:pt idx="1920">
                  <c:v>2429.57862888516</c:v>
                </c:pt>
                <c:pt idx="1921">
                  <c:v>2420.7079130490297</c:v>
                </c:pt>
                <c:pt idx="1922">
                  <c:v>2491.9586426565011</c:v>
                </c:pt>
                <c:pt idx="1923">
                  <c:v>2598.7634863381004</c:v>
                </c:pt>
                <c:pt idx="1924">
                  <c:v>2770.6914968809283</c:v>
                </c:pt>
                <c:pt idx="1925">
                  <c:v>3079.2784068108858</c:v>
                </c:pt>
                <c:pt idx="1926">
                  <c:v>3184.6226105355322</c:v>
                </c:pt>
                <c:pt idx="1927">
                  <c:v>3212.0897667992122</c:v>
                </c:pt>
                <c:pt idx="1928">
                  <c:v>3234.1062422479208</c:v>
                </c:pt>
                <c:pt idx="1929">
                  <c:v>3217.5760729789872</c:v>
                </c:pt>
                <c:pt idx="1930">
                  <c:v>3087.7216182693714</c:v>
                </c:pt>
                <c:pt idx="1931">
                  <c:v>2945.7901648912884</c:v>
                </c:pt>
                <c:pt idx="1932">
                  <c:v>2881.3795053261347</c:v>
                </c:pt>
                <c:pt idx="1933">
                  <c:v>2721.2078651685397</c:v>
                </c:pt>
                <c:pt idx="1934">
                  <c:v>2648.9239999817601</c:v>
                </c:pt>
                <c:pt idx="1935">
                  <c:v>2587.8264993433536</c:v>
                </c:pt>
                <c:pt idx="1936">
                  <c:v>2628.866919597257</c:v>
                </c:pt>
                <c:pt idx="1937">
                  <c:v>2655.1940641872175</c:v>
                </c:pt>
                <c:pt idx="1938">
                  <c:v>2871.1194002626585</c:v>
                </c:pt>
                <c:pt idx="1939">
                  <c:v>3014.5471189624982</c:v>
                </c:pt>
                <c:pt idx="1940">
                  <c:v>3002.220742740406</c:v>
                </c:pt>
                <c:pt idx="1941">
                  <c:v>3023.880964541077</c:v>
                </c:pt>
                <c:pt idx="1942">
                  <c:v>2909.5235435210857</c:v>
                </c:pt>
                <c:pt idx="1943">
                  <c:v>2822.5620280351673</c:v>
                </c:pt>
                <c:pt idx="1944">
                  <c:v>2836.8121739566614</c:v>
                </c:pt>
                <c:pt idx="1945">
                  <c:v>2825.6258094082887</c:v>
                </c:pt>
                <c:pt idx="1946">
                  <c:v>2819.7119988508684</c:v>
                </c:pt>
                <c:pt idx="1947">
                  <c:v>2818.7857393659715</c:v>
                </c:pt>
                <c:pt idx="1948">
                  <c:v>2963.92347557639</c:v>
                </c:pt>
                <c:pt idx="1949">
                  <c:v>3161.9292531555525</c:v>
                </c:pt>
                <c:pt idx="1950">
                  <c:v>3139.1290196811619</c:v>
                </c:pt>
                <c:pt idx="1951">
                  <c:v>3077.8177668539324</c:v>
                </c:pt>
                <c:pt idx="1952">
                  <c:v>3061.5013497738219</c:v>
                </c:pt>
                <c:pt idx="1953">
                  <c:v>2948.6401940755877</c:v>
                </c:pt>
                <c:pt idx="1954">
                  <c:v>2947.1439287538306</c:v>
                </c:pt>
                <c:pt idx="1955">
                  <c:v>2879.5626117211441</c:v>
                </c:pt>
                <c:pt idx="1956">
                  <c:v>2802.7186998394864</c:v>
                </c:pt>
                <c:pt idx="1957">
                  <c:v>2834.1758969611851</c:v>
                </c:pt>
                <c:pt idx="1958">
                  <c:v>2829.8652278199329</c:v>
                </c:pt>
                <c:pt idx="1959">
                  <c:v>2853.0929656719686</c:v>
                </c:pt>
                <c:pt idx="1960">
                  <c:v>2840.8022148146802</c:v>
                </c:pt>
                <c:pt idx="1961">
                  <c:v>2836.8121739566614</c:v>
                </c:pt>
                <c:pt idx="1962">
                  <c:v>2822.6689041295786</c:v>
                </c:pt>
                <c:pt idx="1963">
                  <c:v>2749.9219092003505</c:v>
                </c:pt>
                <c:pt idx="1964">
                  <c:v>2735.9211408324823</c:v>
                </c:pt>
                <c:pt idx="1965">
                  <c:v>2732.1448521632865</c:v>
                </c:pt>
                <c:pt idx="1966">
                  <c:v>2605.389804191595</c:v>
                </c:pt>
                <c:pt idx="1967">
                  <c:v>2591.1396582701009</c:v>
                </c:pt>
                <c:pt idx="1968">
                  <c:v>2484.0854370348752</c:v>
                </c:pt>
                <c:pt idx="1969">
                  <c:v>2470.5121730446522</c:v>
                </c:pt>
                <c:pt idx="1970">
                  <c:v>2494.3455420983514</c:v>
                </c:pt>
                <c:pt idx="1971">
                  <c:v>2473.1484500401289</c:v>
                </c:pt>
                <c:pt idx="1972">
                  <c:v>2542.7960382314318</c:v>
                </c:pt>
                <c:pt idx="1973">
                  <c:v>2822.2057743871296</c:v>
                </c:pt>
                <c:pt idx="1974">
                  <c:v>2908.0629035641327</c:v>
                </c:pt>
                <c:pt idx="1975">
                  <c:v>2873.5062997045093</c:v>
                </c:pt>
                <c:pt idx="1976">
                  <c:v>2891.176480647162</c:v>
                </c:pt>
                <c:pt idx="1977">
                  <c:v>2872.1525358419672</c:v>
                </c:pt>
                <c:pt idx="1978">
                  <c:v>2848.2122906938571</c:v>
                </c:pt>
                <c:pt idx="1979">
                  <c:v>2798.728658981468</c:v>
                </c:pt>
                <c:pt idx="1980">
                  <c:v>2798.9424111702906</c:v>
                </c:pt>
                <c:pt idx="1981">
                  <c:v>2677.1036635415148</c:v>
                </c:pt>
                <c:pt idx="1982">
                  <c:v>2661.4641283926749</c:v>
                </c:pt>
                <c:pt idx="1983">
                  <c:v>2643.0101894243398</c:v>
                </c:pt>
                <c:pt idx="1984">
                  <c:v>2638.2007651758358</c:v>
                </c:pt>
                <c:pt idx="1985">
                  <c:v>2644.7202069349191</c:v>
                </c:pt>
                <c:pt idx="1986">
                  <c:v>2740.4811875273604</c:v>
                </c:pt>
                <c:pt idx="1987">
                  <c:v>2877.0332108200791</c:v>
                </c:pt>
                <c:pt idx="1988">
                  <c:v>2930.8631370385233</c:v>
                </c:pt>
                <c:pt idx="1989">
                  <c:v>2942.3701298701299</c:v>
                </c:pt>
                <c:pt idx="1990">
                  <c:v>2835.6721622829423</c:v>
                </c:pt>
                <c:pt idx="1991">
                  <c:v>2711.6246420363345</c:v>
                </c:pt>
                <c:pt idx="1992">
                  <c:v>2702.397672552167</c:v>
                </c:pt>
                <c:pt idx="1993">
                  <c:v>2754.7313334488549</c:v>
                </c:pt>
                <c:pt idx="1994">
                  <c:v>2760.6451440062747</c:v>
                </c:pt>
                <c:pt idx="1995">
                  <c:v>2777.5315669232455</c:v>
                </c:pt>
                <c:pt idx="1996">
                  <c:v>2777.8521952064793</c:v>
                </c:pt>
                <c:pt idx="1997">
                  <c:v>2896.199657084489</c:v>
                </c:pt>
                <c:pt idx="1998">
                  <c:v>2984.3368096089303</c:v>
                </c:pt>
                <c:pt idx="1999">
                  <c:v>3083.1615715744933</c:v>
                </c:pt>
                <c:pt idx="2000">
                  <c:v>3047.3580799467391</c:v>
                </c:pt>
                <c:pt idx="2001">
                  <c:v>2948.5333179811764</c:v>
                </c:pt>
                <c:pt idx="2002">
                  <c:v>2708.204607015176</c:v>
                </c:pt>
                <c:pt idx="2003">
                  <c:v>2511.3388411097335</c:v>
                </c:pt>
                <c:pt idx="2004">
                  <c:v>2414.6516010323949</c:v>
                </c:pt>
                <c:pt idx="2005">
                  <c:v>2473.1484500401289</c:v>
                </c:pt>
                <c:pt idx="2006">
                  <c:v>2540.0528851415443</c:v>
                </c:pt>
                <c:pt idx="2007">
                  <c:v>2668.6604520830292</c:v>
                </c:pt>
                <c:pt idx="2008">
                  <c:v>2711.0546361994748</c:v>
                </c:pt>
                <c:pt idx="2009">
                  <c:v>2766.3452023748728</c:v>
                </c:pt>
                <c:pt idx="2010">
                  <c:v>2900.0828218480956</c:v>
                </c:pt>
                <c:pt idx="2011">
                  <c:v>3109.2749639756312</c:v>
                </c:pt>
                <c:pt idx="2012">
                  <c:v>3251.4201695425363</c:v>
                </c:pt>
                <c:pt idx="2013">
                  <c:v>3288.3636728440101</c:v>
                </c:pt>
                <c:pt idx="2014">
                  <c:v>3213.0160262841096</c:v>
                </c:pt>
                <c:pt idx="2015">
                  <c:v>3086.118476853203</c:v>
                </c:pt>
                <c:pt idx="2016">
                  <c:v>3062.5344853531301</c:v>
                </c:pt>
                <c:pt idx="2017">
                  <c:v>2992.6375196082008</c:v>
                </c:pt>
                <c:pt idx="2018">
                  <c:v>2989.6806143294912</c:v>
                </c:pt>
                <c:pt idx="2019">
                  <c:v>3015.3308769881805</c:v>
                </c:pt>
                <c:pt idx="2020">
                  <c:v>3044.5080507624402</c:v>
                </c:pt>
                <c:pt idx="2021">
                  <c:v>3123.0619801546768</c:v>
                </c:pt>
                <c:pt idx="2022">
                  <c:v>3151.5622719976654</c:v>
                </c:pt>
                <c:pt idx="2023">
                  <c:v>3147.4653550452358</c:v>
                </c:pt>
                <c:pt idx="2024">
                  <c:v>3021.4940650992266</c:v>
                </c:pt>
                <c:pt idx="2025">
                  <c:v>2959.6840571647454</c:v>
                </c:pt>
                <c:pt idx="2026">
                  <c:v>2957.6534113709326</c:v>
                </c:pt>
                <c:pt idx="2027">
                  <c:v>2929.7231253648042</c:v>
                </c:pt>
                <c:pt idx="2028">
                  <c:v>2939.7338528746536</c:v>
                </c:pt>
                <c:pt idx="2029">
                  <c:v>2989.5737382350799</c:v>
                </c:pt>
                <c:pt idx="2030">
                  <c:v>2922.3130494856273</c:v>
                </c:pt>
                <c:pt idx="2031">
                  <c:v>2871.3331524514815</c:v>
                </c:pt>
                <c:pt idx="2032">
                  <c:v>2882.5195169998542</c:v>
                </c:pt>
                <c:pt idx="2033">
                  <c:v>2894.4896395739092</c:v>
                </c:pt>
                <c:pt idx="2034">
                  <c:v>2899.6196921056471</c:v>
                </c:pt>
                <c:pt idx="2035">
                  <c:v>2995.8438024405373</c:v>
                </c:pt>
                <c:pt idx="2036">
                  <c:v>3087.1516124325112</c:v>
                </c:pt>
                <c:pt idx="2037">
                  <c:v>3108.7049581387714</c:v>
                </c:pt>
                <c:pt idx="2038">
                  <c:v>3049.0680974573183</c:v>
                </c:pt>
                <c:pt idx="2039">
                  <c:v>2954.3402524441854</c:v>
                </c:pt>
                <c:pt idx="2040">
                  <c:v>2905.889756311105</c:v>
                </c:pt>
                <c:pt idx="2041">
                  <c:v>2912.1598205165624</c:v>
                </c:pt>
                <c:pt idx="2042">
                  <c:v>2868.2693710783601</c:v>
                </c:pt>
                <c:pt idx="2043">
                  <c:v>2909.8797971691233</c:v>
                </c:pt>
                <c:pt idx="2044">
                  <c:v>2955.3733880234936</c:v>
                </c:pt>
                <c:pt idx="2045">
                  <c:v>3200.1196442251571</c:v>
                </c:pt>
                <c:pt idx="2046">
                  <c:v>3336.1372870458199</c:v>
                </c:pt>
                <c:pt idx="2047">
                  <c:v>3336.9210450715013</c:v>
                </c:pt>
                <c:pt idx="2048">
                  <c:v>3173.1156177039256</c:v>
                </c:pt>
                <c:pt idx="2049">
                  <c:v>3070.1583134211296</c:v>
                </c:pt>
                <c:pt idx="2050">
                  <c:v>2852.8792134831465</c:v>
                </c:pt>
                <c:pt idx="2051">
                  <c:v>2633.4269662921351</c:v>
                </c:pt>
                <c:pt idx="2052">
                  <c:v>2568.4463008901212</c:v>
                </c:pt>
                <c:pt idx="2053">
                  <c:v>2710.8408840106526</c:v>
                </c:pt>
                <c:pt idx="2054">
                  <c:v>2669.9073398511605</c:v>
                </c:pt>
                <c:pt idx="2055">
                  <c:v>2630.5769371078359</c:v>
                </c:pt>
                <c:pt idx="2056">
                  <c:v>2621.5637198124914</c:v>
                </c:pt>
                <c:pt idx="2057">
                  <c:v>2640.7301660769008</c:v>
                </c:pt>
                <c:pt idx="2058">
                  <c:v>2734.888005253174</c:v>
                </c:pt>
                <c:pt idx="2059">
                  <c:v>2807.4924987231871</c:v>
                </c:pt>
                <c:pt idx="2060">
                  <c:v>2877.8525942105648</c:v>
                </c:pt>
                <c:pt idx="2061">
                  <c:v>2992.53064351379</c:v>
                </c:pt>
                <c:pt idx="2062">
                  <c:v>2866.0962238253319</c:v>
                </c:pt>
                <c:pt idx="2063">
                  <c:v>2803.2887056763461</c:v>
                </c:pt>
                <c:pt idx="2064">
                  <c:v>2787.1147900554502</c:v>
                </c:pt>
                <c:pt idx="2065">
                  <c:v>2737.7380344374728</c:v>
                </c:pt>
                <c:pt idx="2066">
                  <c:v>2715.1515531519044</c:v>
                </c:pt>
                <c:pt idx="2067">
                  <c:v>2714.1540429373999</c:v>
                </c:pt>
                <c:pt idx="2068">
                  <c:v>2700.794531135999</c:v>
                </c:pt>
                <c:pt idx="2069">
                  <c:v>2905.3197504742452</c:v>
                </c:pt>
                <c:pt idx="2070">
                  <c:v>3109.3818400700425</c:v>
                </c:pt>
                <c:pt idx="2071">
                  <c:v>3145.7553375346565</c:v>
                </c:pt>
                <c:pt idx="2072">
                  <c:v>3001.6507369035462</c:v>
                </c:pt>
                <c:pt idx="2073">
                  <c:v>2912.373572705385</c:v>
                </c:pt>
                <c:pt idx="2074">
                  <c:v>2600.3666277542684</c:v>
                </c:pt>
                <c:pt idx="2075">
                  <c:v>2287.8965530607038</c:v>
                </c:pt>
                <c:pt idx="2076">
                  <c:v>2057.0441891324972</c:v>
                </c:pt>
                <c:pt idx="2077">
                  <c:v>1925.4797169123012</c:v>
                </c:pt>
                <c:pt idx="2078">
                  <c:v>1808.7353964504598</c:v>
                </c:pt>
                <c:pt idx="2079">
                  <c:v>1804.5316034036189</c:v>
                </c:pt>
                <c:pt idx="2080">
                  <c:v>1852.0558400518023</c:v>
                </c:pt>
                <c:pt idx="2081">
                  <c:v>1882.26614940537</c:v>
                </c:pt>
                <c:pt idx="2082">
                  <c:v>1918.5327707755728</c:v>
                </c:pt>
                <c:pt idx="2083">
                  <c:v>2026.8338797789288</c:v>
                </c:pt>
                <c:pt idx="2084">
                  <c:v>2164.8821683934048</c:v>
                </c:pt>
                <c:pt idx="2085">
                  <c:v>2251.1668019480521</c:v>
                </c:pt>
                <c:pt idx="2086">
                  <c:v>2239.3391808332117</c:v>
                </c:pt>
                <c:pt idx="2087">
                  <c:v>2219.1395989894936</c:v>
                </c:pt>
                <c:pt idx="2088">
                  <c:v>2257.7931198015467</c:v>
                </c:pt>
                <c:pt idx="2089">
                  <c:v>2240.5860686013425</c:v>
                </c:pt>
                <c:pt idx="2090">
                  <c:v>2210.5895114365976</c:v>
                </c:pt>
                <c:pt idx="2091">
                  <c:v>2236.1328980008757</c:v>
                </c:pt>
                <c:pt idx="2092">
                  <c:v>2289.0365647344229</c:v>
                </c:pt>
                <c:pt idx="2093">
                  <c:v>2207.0626003210273</c:v>
                </c:pt>
                <c:pt idx="2094">
                  <c:v>2786.1885305705532</c:v>
                </c:pt>
                <c:pt idx="2095">
                  <c:v>2923.9161909017948</c:v>
                </c:pt>
                <c:pt idx="2096">
                  <c:v>2761.1082737487236</c:v>
                </c:pt>
                <c:pt idx="2097">
                  <c:v>2380.3443747263973</c:v>
                </c:pt>
                <c:pt idx="2098">
                  <c:v>2168.3022034145629</c:v>
                </c:pt>
                <c:pt idx="2099">
                  <c:v>1979.0602655771197</c:v>
                </c:pt>
                <c:pt idx="2100">
                  <c:v>1990.4603823143152</c:v>
                </c:pt>
                <c:pt idx="2101">
                  <c:v>2024.1976027834526</c:v>
                </c:pt>
                <c:pt idx="2102">
                  <c:v>1997.7635820990808</c:v>
                </c:pt>
                <c:pt idx="2103">
                  <c:v>2053.8379063001607</c:v>
                </c:pt>
                <c:pt idx="2104">
                  <c:v>2041.0840257004234</c:v>
                </c:pt>
                <c:pt idx="2105">
                  <c:v>2051.5578829527217</c:v>
                </c:pt>
                <c:pt idx="2106">
                  <c:v>2207.0626003210273</c:v>
                </c:pt>
                <c:pt idx="2107">
                  <c:v>2323.3437910404205</c:v>
                </c:pt>
                <c:pt idx="2108">
                  <c:v>2352.5209648146802</c:v>
                </c:pt>
                <c:pt idx="2109">
                  <c:v>2397.2307976433681</c:v>
                </c:pt>
                <c:pt idx="2110">
                  <c:v>2204.3194472311397</c:v>
                </c:pt>
                <c:pt idx="2111">
                  <c:v>2225.3027871005402</c:v>
                </c:pt>
                <c:pt idx="2112">
                  <c:v>2212.0857767583539</c:v>
                </c:pt>
                <c:pt idx="2113">
                  <c:v>2220.7427404056621</c:v>
                </c:pt>
                <c:pt idx="2114">
                  <c:v>2202.0394238837007</c:v>
                </c:pt>
                <c:pt idx="2115">
                  <c:v>2227.5828104479792</c:v>
                </c:pt>
                <c:pt idx="2116">
                  <c:v>2216.182693710784</c:v>
                </c:pt>
                <c:pt idx="2117">
                  <c:v>2369.4073877316505</c:v>
                </c:pt>
                <c:pt idx="2118">
                  <c:v>2421.0285413322631</c:v>
                </c:pt>
                <c:pt idx="2119">
                  <c:v>2495.2718015832484</c:v>
                </c:pt>
                <c:pt idx="2120">
                  <c:v>2556.0130485736172</c:v>
                </c:pt>
                <c:pt idx="2121">
                  <c:v>2554.0892788742158</c:v>
                </c:pt>
                <c:pt idx="2122">
                  <c:v>2467.0921380234931</c:v>
                </c:pt>
                <c:pt idx="2123">
                  <c:v>2273.7532832336206</c:v>
                </c:pt>
                <c:pt idx="2124">
                  <c:v>2156.2252047460966</c:v>
                </c:pt>
                <c:pt idx="2125">
                  <c:v>2124.5186300707719</c:v>
                </c:pt>
                <c:pt idx="2126">
                  <c:v>2055.4410477163287</c:v>
                </c:pt>
                <c:pt idx="2127">
                  <c:v>2028.6507733839194</c:v>
                </c:pt>
                <c:pt idx="2128">
                  <c:v>1998.547340124763</c:v>
                </c:pt>
                <c:pt idx="2129">
                  <c:v>2019.316927805341</c:v>
                </c:pt>
                <c:pt idx="2130">
                  <c:v>2074.2512403327014</c:v>
                </c:pt>
                <c:pt idx="2131">
                  <c:v>2134.6718590398368</c:v>
                </c:pt>
                <c:pt idx="2132">
                  <c:v>2079.9512987012986</c:v>
                </c:pt>
                <c:pt idx="2133">
                  <c:v>2064.561141106085</c:v>
                </c:pt>
                <c:pt idx="2134">
                  <c:v>1938.1267214176276</c:v>
                </c:pt>
                <c:pt idx="2135">
                  <c:v>1929.4697577703198</c:v>
                </c:pt>
                <c:pt idx="2136">
                  <c:v>1879.8792499635197</c:v>
                </c:pt>
                <c:pt idx="2137">
                  <c:v>1912.3695826645264</c:v>
                </c:pt>
                <c:pt idx="2138">
                  <c:v>1912.3695826645264</c:v>
                </c:pt>
                <c:pt idx="2139">
                  <c:v>1912.3695826645264</c:v>
                </c:pt>
                <c:pt idx="2140">
                  <c:v>1697.014252425945</c:v>
                </c:pt>
                <c:pt idx="2141">
                  <c:v>1836.5588063621772</c:v>
                </c:pt>
                <c:pt idx="2142">
                  <c:v>2178.4554323836278</c:v>
                </c:pt>
                <c:pt idx="2143">
                  <c:v>2671.510481267328</c:v>
                </c:pt>
                <c:pt idx="2144">
                  <c:v>2788.5754300124036</c:v>
                </c:pt>
                <c:pt idx="2145">
                  <c:v>2892.77962206333</c:v>
                </c:pt>
                <c:pt idx="2146">
                  <c:v>2904.8566207317963</c:v>
                </c:pt>
                <c:pt idx="2147">
                  <c:v>2872.2594119363785</c:v>
                </c:pt>
                <c:pt idx="2148">
                  <c:v>2891.0696045527511</c:v>
                </c:pt>
                <c:pt idx="2149">
                  <c:v>2851.0623198781559</c:v>
                </c:pt>
                <c:pt idx="2150">
                  <c:v>2765.6683204436017</c:v>
                </c:pt>
                <c:pt idx="2151">
                  <c:v>2779.348460528236</c:v>
                </c:pt>
                <c:pt idx="2152">
                  <c:v>3067.664537884868</c:v>
                </c:pt>
                <c:pt idx="2153">
                  <c:v>2952.1671051911571</c:v>
                </c:pt>
                <c:pt idx="2154">
                  <c:v>2873.8625533525465</c:v>
                </c:pt>
                <c:pt idx="2155">
                  <c:v>2914.439843864001</c:v>
                </c:pt>
                <c:pt idx="2156">
                  <c:v>2976.6773561761274</c:v>
                </c:pt>
                <c:pt idx="2157">
                  <c:v>3056.9413030789437</c:v>
                </c:pt>
                <c:pt idx="2158">
                  <c:v>2984.6574378921641</c:v>
                </c:pt>
                <c:pt idx="2159">
                  <c:v>2833.8552686779517</c:v>
                </c:pt>
                <c:pt idx="2160">
                  <c:v>2614.8305258645851</c:v>
                </c:pt>
                <c:pt idx="2161">
                  <c:v>2615.0799034182114</c:v>
                </c:pt>
                <c:pt idx="2162">
                  <c:v>2612.2298742339126</c:v>
                </c:pt>
                <c:pt idx="2163">
                  <c:v>2585.6533520903258</c:v>
                </c:pt>
                <c:pt idx="2164">
                  <c:v>2657.8303411826942</c:v>
                </c:pt>
                <c:pt idx="2165">
                  <c:v>2789.1454358492633</c:v>
                </c:pt>
                <c:pt idx="2166">
                  <c:v>2897.9096745950683</c:v>
                </c:pt>
                <c:pt idx="2167">
                  <c:v>3023.3109587042172</c:v>
                </c:pt>
                <c:pt idx="2168">
                  <c:v>3018.1809061724794</c:v>
                </c:pt>
                <c:pt idx="2169">
                  <c:v>2896.8765390157596</c:v>
                </c:pt>
                <c:pt idx="2170">
                  <c:v>2788.2548017291701</c:v>
                </c:pt>
                <c:pt idx="2171">
                  <c:v>2712.087771778783</c:v>
                </c:pt>
                <c:pt idx="2172">
                  <c:v>2697.2676200204291</c:v>
                </c:pt>
                <c:pt idx="2173">
                  <c:v>2659.7541108820956</c:v>
                </c:pt>
                <c:pt idx="2174">
                  <c:v>2532.4290570735443</c:v>
                </c:pt>
                <c:pt idx="2175">
                  <c:v>2579.9532937217277</c:v>
                </c:pt>
                <c:pt idx="2176">
                  <c:v>2518.8557930833213</c:v>
                </c:pt>
                <c:pt idx="2177">
                  <c:v>2537.7728617941052</c:v>
                </c:pt>
                <c:pt idx="2178">
                  <c:v>2652.5934125565445</c:v>
                </c:pt>
                <c:pt idx="2179">
                  <c:v>2750.4919150372098</c:v>
                </c:pt>
                <c:pt idx="2180">
                  <c:v>2878.3157239530133</c:v>
                </c:pt>
                <c:pt idx="2181">
                  <c:v>2986.9374612396036</c:v>
                </c:pt>
                <c:pt idx="2182">
                  <c:v>2845.4691376039696</c:v>
                </c:pt>
                <c:pt idx="2183">
                  <c:v>2764.635184864293</c:v>
                </c:pt>
                <c:pt idx="2184">
                  <c:v>2796.8048892820661</c:v>
                </c:pt>
                <c:pt idx="2185">
                  <c:v>2784.5853891543852</c:v>
                </c:pt>
                <c:pt idx="2186">
                  <c:v>2777.745319112068</c:v>
                </c:pt>
                <c:pt idx="2187">
                  <c:v>2819.6051227564571</c:v>
                </c:pt>
                <c:pt idx="2188">
                  <c:v>2900.7597037793671</c:v>
                </c:pt>
                <c:pt idx="2189">
                  <c:v>3031.967922351525</c:v>
                </c:pt>
                <c:pt idx="2190">
                  <c:v>3086.4747305012406</c:v>
                </c:pt>
                <c:pt idx="2191">
                  <c:v>3168.6624471034584</c:v>
                </c:pt>
                <c:pt idx="2192">
                  <c:v>3177.4262868451774</c:v>
                </c:pt>
                <c:pt idx="2193">
                  <c:v>3093.4216766379691</c:v>
                </c:pt>
                <c:pt idx="2194">
                  <c:v>2919.5698963957393</c:v>
                </c:pt>
                <c:pt idx="2195">
                  <c:v>2710.8408840106526</c:v>
                </c:pt>
                <c:pt idx="2196">
                  <c:v>2595.8065810593903</c:v>
                </c:pt>
                <c:pt idx="2197">
                  <c:v>2452.7351160075877</c:v>
                </c:pt>
                <c:pt idx="2198">
                  <c:v>2186.4355140996645</c:v>
                </c:pt>
                <c:pt idx="2199">
                  <c:v>2122.131730628922</c:v>
                </c:pt>
                <c:pt idx="2200">
                  <c:v>2079.4881689588501</c:v>
                </c:pt>
                <c:pt idx="2201">
                  <c:v>2047.9240957427405</c:v>
                </c:pt>
                <c:pt idx="2202">
                  <c:v>2058.9679588318986</c:v>
                </c:pt>
                <c:pt idx="2203">
                  <c:v>2092.3845510178026</c:v>
                </c:pt>
                <c:pt idx="2204">
                  <c:v>2262.4600425908361</c:v>
                </c:pt>
                <c:pt idx="2205">
                  <c:v>2363.1373235261931</c:v>
                </c:pt>
                <c:pt idx="2206">
                  <c:v>2430.504888370057</c:v>
                </c:pt>
                <c:pt idx="2207">
                  <c:v>2647.7839883080405</c:v>
                </c:pt>
                <c:pt idx="2208">
                  <c:v>2597.6234746643809</c:v>
                </c:pt>
                <c:pt idx="2209">
                  <c:v>2678.8136810520941</c:v>
                </c:pt>
                <c:pt idx="2210">
                  <c:v>2615.8636614438933</c:v>
                </c:pt>
                <c:pt idx="2211">
                  <c:v>2627.6200318291262</c:v>
                </c:pt>
                <c:pt idx="2212">
                  <c:v>2757.1182328907048</c:v>
                </c:pt>
                <c:pt idx="2213">
                  <c:v>2938.0238353640743</c:v>
                </c:pt>
                <c:pt idx="2214">
                  <c:v>3052.8443861265141</c:v>
                </c:pt>
                <c:pt idx="2215">
                  <c:v>3101.8648880964543</c:v>
                </c:pt>
                <c:pt idx="2216">
                  <c:v>3051.3481208047569</c:v>
                </c:pt>
                <c:pt idx="2217">
                  <c:v>2848.996048719539</c:v>
                </c:pt>
                <c:pt idx="2218">
                  <c:v>2568.2325487012986</c:v>
                </c:pt>
                <c:pt idx="2219">
                  <c:v>2157.8069709433826</c:v>
                </c:pt>
                <c:pt idx="2220">
                  <c:v>1982.7083029330222</c:v>
                </c:pt>
                <c:pt idx="2221">
                  <c:v>1844.5388880782141</c:v>
                </c:pt>
                <c:pt idx="2222">
                  <c:v>1735.0977674011383</c:v>
                </c:pt>
                <c:pt idx="2223">
                  <c:v>1660.3201266780973</c:v>
                </c:pt>
                <c:pt idx="2224">
                  <c:v>1671.2571136728441</c:v>
                </c:pt>
                <c:pt idx="2225">
                  <c:v>1648.4568801984533</c:v>
                </c:pt>
                <c:pt idx="2226">
                  <c:v>1646.1768568510142</c:v>
                </c:pt>
                <c:pt idx="2227">
                  <c:v>1682.1941006675911</c:v>
                </c:pt>
                <c:pt idx="2228">
                  <c:v>1830.8587479935793</c:v>
                </c:pt>
                <c:pt idx="2229">
                  <c:v>1912.9395885013864</c:v>
                </c:pt>
                <c:pt idx="2230">
                  <c:v>1951.6999854078508</c:v>
                </c:pt>
                <c:pt idx="2231">
                  <c:v>1903.8194951116302</c:v>
                </c:pt>
                <c:pt idx="2232">
                  <c:v>1882.83615524223</c:v>
                </c:pt>
                <c:pt idx="2233">
                  <c:v>1861.4253109951846</c:v>
                </c:pt>
                <c:pt idx="2234">
                  <c:v>1921.1334224062455</c:v>
                </c:pt>
                <c:pt idx="2235">
                  <c:v>1979.9865250620167</c:v>
                </c:pt>
                <c:pt idx="2236">
                  <c:v>2142.2956871078359</c:v>
                </c:pt>
                <c:pt idx="2237">
                  <c:v>2481.0216556617543</c:v>
                </c:pt>
                <c:pt idx="2238">
                  <c:v>2804.5355934444769</c:v>
                </c:pt>
                <c:pt idx="2239">
                  <c:v>2884.3435356778054</c:v>
                </c:pt>
                <c:pt idx="2240">
                  <c:v>2862.5693127097625</c:v>
                </c:pt>
                <c:pt idx="2241">
                  <c:v>2509.1656938567053</c:v>
                </c:pt>
                <c:pt idx="2242">
                  <c:v>2175.605403199329</c:v>
                </c:pt>
                <c:pt idx="2243">
                  <c:v>1896.9794250693126</c:v>
                </c:pt>
                <c:pt idx="2244">
                  <c:v>1747.8516480008757</c:v>
                </c:pt>
                <c:pt idx="2245">
                  <c:v>1653.9431863782286</c:v>
                </c:pt>
                <c:pt idx="2246">
                  <c:v>1561.3528632533198</c:v>
                </c:pt>
                <c:pt idx="2247">
                  <c:v>1606.9533302021014</c:v>
                </c:pt>
                <c:pt idx="2248">
                  <c:v>1544.0389359587043</c:v>
                </c:pt>
                <c:pt idx="2249">
                  <c:v>1534.4557128264996</c:v>
                </c:pt>
                <c:pt idx="2250">
                  <c:v>1534.9188425689481</c:v>
                </c:pt>
                <c:pt idx="2251">
                  <c:v>1547.6727231686855</c:v>
                </c:pt>
                <c:pt idx="2252">
                  <c:v>1687.6804068473662</c:v>
                </c:pt>
                <c:pt idx="2253">
                  <c:v>1908.3795418065083</c:v>
                </c:pt>
                <c:pt idx="2254">
                  <c:v>1912.0133290164893</c:v>
                </c:pt>
                <c:pt idx="2255">
                  <c:v>1934.3860581132351</c:v>
                </c:pt>
                <c:pt idx="2256">
                  <c:v>1901.0763420217427</c:v>
                </c:pt>
                <c:pt idx="2257">
                  <c:v>1928.89975193346</c:v>
                </c:pt>
                <c:pt idx="2258">
                  <c:v>1959.0031851926165</c:v>
                </c:pt>
                <c:pt idx="2259">
                  <c:v>1996.3741928717352</c:v>
                </c:pt>
                <c:pt idx="2260">
                  <c:v>2193.3824602363929</c:v>
                </c:pt>
                <c:pt idx="2261">
                  <c:v>2454.908263260616</c:v>
                </c:pt>
                <c:pt idx="2262">
                  <c:v>2656.7972056033855</c:v>
                </c:pt>
                <c:pt idx="2263">
                  <c:v>2714.3677951262221</c:v>
                </c:pt>
                <c:pt idx="2264">
                  <c:v>2640.7301660769008</c:v>
                </c:pt>
                <c:pt idx="2265">
                  <c:v>2361.5341821100246</c:v>
                </c:pt>
                <c:pt idx="2266">
                  <c:v>2041.1909017948346</c:v>
                </c:pt>
                <c:pt idx="2267">
                  <c:v>1749.9179191594922</c:v>
                </c:pt>
                <c:pt idx="2268">
                  <c:v>1657.113843845761</c:v>
                </c:pt>
                <c:pt idx="2269">
                  <c:v>1616.9996830767548</c:v>
                </c:pt>
                <c:pt idx="2270">
                  <c:v>1533.5294533416022</c:v>
                </c:pt>
                <c:pt idx="2271">
                  <c:v>1542.2220423537137</c:v>
                </c:pt>
                <c:pt idx="2272">
                  <c:v>1518.4955493944258</c:v>
                </c:pt>
                <c:pt idx="2273">
                  <c:v>1456.0086595286737</c:v>
                </c:pt>
                <c:pt idx="2274">
                  <c:v>1466.5181421457758</c:v>
                </c:pt>
                <c:pt idx="2275">
                  <c:v>1472.8950824456442</c:v>
                </c:pt>
                <c:pt idx="2276">
                  <c:v>1621.5597297716329</c:v>
                </c:pt>
                <c:pt idx="2277">
                  <c:v>1741.4747077010068</c:v>
                </c:pt>
                <c:pt idx="2278">
                  <c:v>1766.5549645228371</c:v>
                </c:pt>
                <c:pt idx="2279">
                  <c:v>1774.7844237924996</c:v>
                </c:pt>
                <c:pt idx="2280">
                  <c:v>1780.6982343499199</c:v>
                </c:pt>
                <c:pt idx="2281">
                  <c:v>1760.1780242229681</c:v>
                </c:pt>
                <c:pt idx="2282">
                  <c:v>1812.1554314716186</c:v>
                </c:pt>
                <c:pt idx="2283">
                  <c:v>1853.1958517255216</c:v>
                </c:pt>
                <c:pt idx="2284">
                  <c:v>1895.1625314643222</c:v>
                </c:pt>
                <c:pt idx="2285">
                  <c:v>2136.3818765504161</c:v>
                </c:pt>
                <c:pt idx="2286">
                  <c:v>2407.7046548956664</c:v>
                </c:pt>
                <c:pt idx="2287">
                  <c:v>2442.3681348497012</c:v>
                </c:pt>
                <c:pt idx="2288">
                  <c:v>2492.0655187509124</c:v>
                </c:pt>
                <c:pt idx="2289">
                  <c:v>2374.8580685466222</c:v>
                </c:pt>
                <c:pt idx="2290">
                  <c:v>2143.6850763351817</c:v>
                </c:pt>
                <c:pt idx="2291">
                  <c:v>1917.962764938713</c:v>
                </c:pt>
                <c:pt idx="2292">
                  <c:v>1789.8183277396763</c:v>
                </c:pt>
                <c:pt idx="2293">
                  <c:v>1689.034170709908</c:v>
                </c:pt>
                <c:pt idx="2294">
                  <c:v>1600.113260159784</c:v>
                </c:pt>
                <c:pt idx="2295">
                  <c:v>1564.559146085656</c:v>
                </c:pt>
                <c:pt idx="2296">
                  <c:v>1454.6548956661316</c:v>
                </c:pt>
                <c:pt idx="2297">
                  <c:v>1463.774989055888</c:v>
                </c:pt>
                <c:pt idx="2298">
                  <c:v>1450.5579787137021</c:v>
                </c:pt>
                <c:pt idx="2299">
                  <c:v>1479.2720227455131</c:v>
                </c:pt>
                <c:pt idx="2300">
                  <c:v>1559.5359696483292</c:v>
                </c:pt>
                <c:pt idx="2301">
                  <c:v>1621.5597297716329</c:v>
                </c:pt>
                <c:pt idx="2302">
                  <c:v>1611.976506639428</c:v>
                </c:pt>
                <c:pt idx="2303">
                  <c:v>1592.8100603750183</c:v>
                </c:pt>
                <c:pt idx="2304">
                  <c:v>1585.5424859550562</c:v>
                </c:pt>
                <c:pt idx="2305">
                  <c:v>1632.4967167663797</c:v>
                </c:pt>
                <c:pt idx="2306">
                  <c:v>1671.2571136728441</c:v>
                </c:pt>
                <c:pt idx="2307">
                  <c:v>1743.7547310484463</c:v>
                </c:pt>
                <c:pt idx="2308">
                  <c:v>1946.6768089705242</c:v>
                </c:pt>
                <c:pt idx="2309">
                  <c:v>2230.7890932803152</c:v>
                </c:pt>
                <c:pt idx="2310">
                  <c:v>2491.139259266015</c:v>
                </c:pt>
                <c:pt idx="2311">
                  <c:v>2544.5060557420111</c:v>
                </c:pt>
                <c:pt idx="2312">
                  <c:v>2503.4656354881076</c:v>
                </c:pt>
                <c:pt idx="2313">
                  <c:v>2280.4864771815264</c:v>
                </c:pt>
                <c:pt idx="2314">
                  <c:v>2088.5013862541955</c:v>
                </c:pt>
                <c:pt idx="2315">
                  <c:v>1953.9800087552899</c:v>
                </c:pt>
                <c:pt idx="2316">
                  <c:v>1703.1774405369913</c:v>
                </c:pt>
                <c:pt idx="2317">
                  <c:v>1593.7363198599155</c:v>
                </c:pt>
                <c:pt idx="2318">
                  <c:v>1475.1751057930833</c:v>
                </c:pt>
                <c:pt idx="2319">
                  <c:v>1484.7583289252882</c:v>
                </c:pt>
                <c:pt idx="2320">
                  <c:v>1447.8148256238146</c:v>
                </c:pt>
                <c:pt idx="2321">
                  <c:v>1427.2946154968629</c:v>
                </c:pt>
                <c:pt idx="2322">
                  <c:v>1479.7351524879616</c:v>
                </c:pt>
                <c:pt idx="2323">
                  <c:v>1561.8159929957683</c:v>
                </c:pt>
                <c:pt idx="2324">
                  <c:v>1691.3141940573471</c:v>
                </c:pt>
                <c:pt idx="2325">
                  <c:v>1756.0811072705385</c:v>
                </c:pt>
                <c:pt idx="2326">
                  <c:v>1777.9550812600321</c:v>
                </c:pt>
                <c:pt idx="2327">
                  <c:v>1870.0822746424924</c:v>
                </c:pt>
                <c:pt idx="2328">
                  <c:v>1919.7796585437034</c:v>
                </c:pt>
                <c:pt idx="2329">
                  <c:v>1971.7570657923541</c:v>
                </c:pt>
                <c:pt idx="2330">
                  <c:v>2008.7005690938274</c:v>
                </c:pt>
                <c:pt idx="2331">
                  <c:v>2090.7814096016346</c:v>
                </c:pt>
                <c:pt idx="2332">
                  <c:v>2228.0459401904277</c:v>
                </c:pt>
                <c:pt idx="2333">
                  <c:v>2399.9383253684518</c:v>
                </c:pt>
                <c:pt idx="2334">
                  <c:v>2613.3698859076317</c:v>
                </c:pt>
                <c:pt idx="2335">
                  <c:v>2718.2509598898296</c:v>
                </c:pt>
                <c:pt idx="2336">
                  <c:v>2832.0027497081569</c:v>
                </c:pt>
                <c:pt idx="2337">
                  <c:v>2845.932267346418</c:v>
                </c:pt>
                <c:pt idx="2338">
                  <c:v>2801.4718120713555</c:v>
                </c:pt>
                <c:pt idx="2339">
                  <c:v>2694.9875966729901</c:v>
                </c:pt>
                <c:pt idx="2340">
                  <c:v>2588.9665110170731</c:v>
                </c:pt>
                <c:pt idx="2341">
                  <c:v>2524.5558514519189</c:v>
                </c:pt>
                <c:pt idx="2342">
                  <c:v>2569.693188658252</c:v>
                </c:pt>
                <c:pt idx="2343">
                  <c:v>2652.8071647453671</c:v>
                </c:pt>
                <c:pt idx="2344">
                  <c:v>2689.8575441412522</c:v>
                </c:pt>
                <c:pt idx="2345">
                  <c:v>2621.3499676236684</c:v>
                </c:pt>
                <c:pt idx="2346">
                  <c:v>2736.1348930213044</c:v>
                </c:pt>
                <c:pt idx="2347">
                  <c:v>2765.2051907011528</c:v>
                </c:pt>
                <c:pt idx="2348">
                  <c:v>2799.1917887239165</c:v>
                </c:pt>
                <c:pt idx="2349">
                  <c:v>2828.8320922406247</c:v>
                </c:pt>
                <c:pt idx="2350">
                  <c:v>2672.2942392930108</c:v>
                </c:pt>
                <c:pt idx="2351">
                  <c:v>2586.7933637640449</c:v>
                </c:pt>
                <c:pt idx="2352">
                  <c:v>2519.2120467313589</c:v>
                </c:pt>
                <c:pt idx="2353">
                  <c:v>2420.814789143441</c:v>
                </c:pt>
                <c:pt idx="2354">
                  <c:v>2396.3045381584711</c:v>
                </c:pt>
                <c:pt idx="2355">
                  <c:v>2364.9542171311837</c:v>
                </c:pt>
                <c:pt idx="2356">
                  <c:v>2313.6536918138045</c:v>
                </c:pt>
                <c:pt idx="2357">
                  <c:v>2647.1071063767695</c:v>
                </c:pt>
                <c:pt idx="2358">
                  <c:v>2872.9362938676491</c:v>
                </c:pt>
                <c:pt idx="2359">
                  <c:v>2936.2069417590837</c:v>
                </c:pt>
                <c:pt idx="2360">
                  <c:v>2869.1956305632571</c:v>
                </c:pt>
                <c:pt idx="2361">
                  <c:v>2764.0651790274333</c:v>
                </c:pt>
                <c:pt idx="2362">
                  <c:v>2771.2615027177881</c:v>
                </c:pt>
                <c:pt idx="2363">
                  <c:v>2685.9743793776447</c:v>
                </c:pt>
                <c:pt idx="2364">
                  <c:v>2712.5509015212315</c:v>
                </c:pt>
                <c:pt idx="2365">
                  <c:v>2730.3279585582959</c:v>
                </c:pt>
                <c:pt idx="2366">
                  <c:v>2715.7215589887642</c:v>
                </c:pt>
                <c:pt idx="2367">
                  <c:v>2699.4407672734569</c:v>
                </c:pt>
                <c:pt idx="2368">
                  <c:v>2713.1209073580917</c:v>
                </c:pt>
                <c:pt idx="2369">
                  <c:v>2709.2377425944842</c:v>
                </c:pt>
                <c:pt idx="2370">
                  <c:v>2830.1858561031663</c:v>
                </c:pt>
                <c:pt idx="2371">
                  <c:v>2845.0060078615206</c:v>
                </c:pt>
                <c:pt idx="2372">
                  <c:v>2904.5359924485629</c:v>
                </c:pt>
                <c:pt idx="2373">
                  <c:v>2874.5394352838175</c:v>
                </c:pt>
                <c:pt idx="2374">
                  <c:v>2761.6782795855834</c:v>
                </c:pt>
                <c:pt idx="2375">
                  <c:v>2622.1337256493507</c:v>
                </c:pt>
                <c:pt idx="2376">
                  <c:v>2570.8332003319715</c:v>
                </c:pt>
                <c:pt idx="2377">
                  <c:v>2486.1517081934921</c:v>
                </c:pt>
                <c:pt idx="2378">
                  <c:v>2473.9322080658108</c:v>
                </c:pt>
                <c:pt idx="2379">
                  <c:v>2553.6261491317673</c:v>
                </c:pt>
                <c:pt idx="2380">
                  <c:v>2698.8707614365976</c:v>
                </c:pt>
                <c:pt idx="2381">
                  <c:v>3033.7848159565156</c:v>
                </c:pt>
                <c:pt idx="2382">
                  <c:v>3207.3159679155115</c:v>
                </c:pt>
                <c:pt idx="2383">
                  <c:v>3286.5467792390195</c:v>
                </c:pt>
                <c:pt idx="2384">
                  <c:v>3380.7046184152928</c:v>
                </c:pt>
                <c:pt idx="2385">
                  <c:v>3350.4943090617253</c:v>
                </c:pt>
                <c:pt idx="2386">
                  <c:v>3283.2336203122723</c:v>
                </c:pt>
                <c:pt idx="2387">
                  <c:v>3189.3964094192329</c:v>
                </c:pt>
                <c:pt idx="2388">
                  <c:v>3198.088998431344</c:v>
                </c:pt>
                <c:pt idx="2389">
                  <c:v>3176.2862751714579</c:v>
                </c:pt>
                <c:pt idx="2390">
                  <c:v>3109.8449698124914</c:v>
                </c:pt>
                <c:pt idx="2391">
                  <c:v>3130.0089262914053</c:v>
                </c:pt>
                <c:pt idx="2392">
                  <c:v>3235.1393778272291</c:v>
                </c:pt>
                <c:pt idx="2393">
                  <c:v>3165.4561642711224</c:v>
                </c:pt>
                <c:pt idx="2394">
                  <c:v>3165.0286598934777</c:v>
                </c:pt>
                <c:pt idx="2395">
                  <c:v>3100.4754988691088</c:v>
                </c:pt>
                <c:pt idx="2396">
                  <c:v>3124.0951157339855</c:v>
                </c:pt>
                <c:pt idx="2397">
                  <c:v>3107.2086928170147</c:v>
                </c:pt>
                <c:pt idx="2398">
                  <c:v>3021.4940650992266</c:v>
                </c:pt>
                <c:pt idx="2399">
                  <c:v>2985.5836973770615</c:v>
                </c:pt>
                <c:pt idx="2400">
                  <c:v>2743.6518449948931</c:v>
                </c:pt>
                <c:pt idx="2401">
                  <c:v>2790.7485772654313</c:v>
                </c:pt>
                <c:pt idx="2402">
                  <c:v>2789.6085655917118</c:v>
                </c:pt>
                <c:pt idx="2403">
                  <c:v>2852.3092076462867</c:v>
                </c:pt>
                <c:pt idx="2404">
                  <c:v>2882.3057648110321</c:v>
                </c:pt>
                <c:pt idx="2405">
                  <c:v>3201.8296617357364</c:v>
                </c:pt>
                <c:pt idx="2406">
                  <c:v>3272.9735152487965</c:v>
                </c:pt>
                <c:pt idx="2407">
                  <c:v>3367.4876080731074</c:v>
                </c:pt>
                <c:pt idx="2408">
                  <c:v>3372.8314127936669</c:v>
                </c:pt>
                <c:pt idx="2409">
                  <c:v>3290.6436961914492</c:v>
                </c:pt>
                <c:pt idx="2410">
                  <c:v>3233.8391947068735</c:v>
                </c:pt>
                <c:pt idx="2411">
                  <c:v>3128.7574788070888</c:v>
                </c:pt>
                <c:pt idx="2412">
                  <c:v>3060.808222902338</c:v>
                </c:pt>
                <c:pt idx="2413">
                  <c:v>2996.6372512221146</c:v>
                </c:pt>
                <c:pt idx="2414">
                  <c:v>2931.6312203603156</c:v>
                </c:pt>
                <c:pt idx="2415">
                  <c:v>2959.317258765328</c:v>
                </c:pt>
                <c:pt idx="2416">
                  <c:v>2936.558065998212</c:v>
                </c:pt>
                <c:pt idx="2417">
                  <c:v>2898.6170524822332</c:v>
                </c:pt>
                <c:pt idx="2418">
                  <c:v>2861.5478623544809</c:v>
                </c:pt>
                <c:pt idx="2419">
                  <c:v>2910.5566791003944</c:v>
                </c:pt>
                <c:pt idx="2420">
                  <c:v>2993.1006493506493</c:v>
                </c:pt>
                <c:pt idx="2421">
                  <c:v>3014.7608711513208</c:v>
                </c:pt>
                <c:pt idx="2422">
                  <c:v>3012.3739717094704</c:v>
                </c:pt>
                <c:pt idx="2423">
                  <c:v>2932.7869067379252</c:v>
                </c:pt>
                <c:pt idx="2424">
                  <c:v>2877.9594703049761</c:v>
                </c:pt>
                <c:pt idx="2425">
                  <c:v>2910.9129327484316</c:v>
                </c:pt>
                <c:pt idx="2426">
                  <c:v>2944.8639054063915</c:v>
                </c:pt>
                <c:pt idx="2427">
                  <c:v>2987.8637207245006</c:v>
                </c:pt>
                <c:pt idx="2428">
                  <c:v>3049.9943569422153</c:v>
                </c:pt>
                <c:pt idx="2429">
                  <c:v>3275.9304205275066</c:v>
                </c:pt>
                <c:pt idx="2430">
                  <c:v>3379.6714828359845</c:v>
                </c:pt>
                <c:pt idx="2431">
                  <c:v>3385.7277948526194</c:v>
                </c:pt>
                <c:pt idx="2432">
                  <c:v>3173.6856235407849</c:v>
                </c:pt>
                <c:pt idx="2433">
                  <c:v>2959.2032582502757</c:v>
                </c:pt>
                <c:pt idx="2434">
                  <c:v>2796.1111927178595</c:v>
                </c:pt>
                <c:pt idx="2435">
                  <c:v>2781.0695935701187</c:v>
                </c:pt>
                <c:pt idx="2436">
                  <c:v>2819.4951122648677</c:v>
                </c:pt>
                <c:pt idx="2437">
                  <c:v>2841.7187851744811</c:v>
                </c:pt>
                <c:pt idx="2438">
                  <c:v>2825.3958122792533</c:v>
                </c:pt>
                <c:pt idx="2439">
                  <c:v>2793.3842845681847</c:v>
                </c:pt>
                <c:pt idx="2440">
                  <c:v>2746.9285240177514</c:v>
                </c:pt>
                <c:pt idx="2441">
                  <c:v>2661.2757416636373</c:v>
                </c:pt>
                <c:pt idx="2442">
                  <c:v>2650.2900198482521</c:v>
                </c:pt>
                <c:pt idx="2443">
                  <c:v>2642.4578538467013</c:v>
                </c:pt>
                <c:pt idx="2444">
                  <c:v>2745.9760445339843</c:v>
                </c:pt>
                <c:pt idx="2445">
                  <c:v>2840.3182804158323</c:v>
                </c:pt>
                <c:pt idx="2446">
                  <c:v>2816.4287656436923</c:v>
                </c:pt>
                <c:pt idx="2447">
                  <c:v>2773.8054389372965</c:v>
                </c:pt>
                <c:pt idx="2448">
                  <c:v>2728.7025871667206</c:v>
                </c:pt>
                <c:pt idx="2449">
                  <c:v>2688.5964064446398</c:v>
                </c:pt>
                <c:pt idx="2450">
                  <c:v>2607.0151761267703</c:v>
                </c:pt>
                <c:pt idx="2451">
                  <c:v>2608.9395155188954</c:v>
                </c:pt>
                <c:pt idx="2452">
                  <c:v>2522.7546336380178</c:v>
                </c:pt>
                <c:pt idx="2453">
                  <c:v>2488.29692528228</c:v>
                </c:pt>
                <c:pt idx="2454">
                  <c:v>2572.7165001040216</c:v>
                </c:pt>
                <c:pt idx="2455">
                  <c:v>2400.4085806187409</c:v>
                </c:pt>
                <c:pt idx="2456">
                  <c:v>2556.2963424138775</c:v>
                </c:pt>
                <c:pt idx="2457">
                  <c:v>2653.0280424420303</c:v>
                </c:pt>
                <c:pt idx="2458">
                  <c:v>2643.8056326740489</c:v>
                </c:pt>
                <c:pt idx="2459">
                  <c:v>2613.2786856043103</c:v>
                </c:pt>
                <c:pt idx="2460">
                  <c:v>2589.7528348344094</c:v>
                </c:pt>
                <c:pt idx="2461">
                  <c:v>2575.8133421374919</c:v>
                </c:pt>
                <c:pt idx="2462">
                  <c:v>2548.4570519916856</c:v>
                </c:pt>
                <c:pt idx="2463">
                  <c:v>2552.0828591547415</c:v>
                </c:pt>
                <c:pt idx="2464">
                  <c:v>2540.7140929125248</c:v>
                </c:pt>
                <c:pt idx="2465">
                  <c:v>2502.0044255326561</c:v>
                </c:pt>
                <c:pt idx="2466">
                  <c:v>2534.410112420434</c:v>
                </c:pt>
                <c:pt idx="2467">
                  <c:v>2472.9446739971631</c:v>
                </c:pt>
                <c:pt idx="2468">
                  <c:v>2464.5846827950736</c:v>
                </c:pt>
                <c:pt idx="2469">
                  <c:v>2507.8777664684994</c:v>
                </c:pt>
                <c:pt idx="2470">
                  <c:v>2509.3663365896928</c:v>
                </c:pt>
                <c:pt idx="2471">
                  <c:v>2444.112068103314</c:v>
                </c:pt>
                <c:pt idx="2472">
                  <c:v>2357.6302126900187</c:v>
                </c:pt>
                <c:pt idx="2473">
                  <c:v>2363.3972463747996</c:v>
                </c:pt>
                <c:pt idx="2474">
                  <c:v>2338.7385088954202</c:v>
                </c:pt>
                <c:pt idx="2475">
                  <c:v>2335.5191160636491</c:v>
                </c:pt>
                <c:pt idx="2476">
                  <c:v>2349.8103026924182</c:v>
                </c:pt>
                <c:pt idx="2477">
                  <c:v>2440.4275505173632</c:v>
                </c:pt>
                <c:pt idx="2478">
                  <c:v>2444.6481581971402</c:v>
                </c:pt>
                <c:pt idx="2479">
                  <c:v>2464.2421088391948</c:v>
                </c:pt>
                <c:pt idx="2480">
                  <c:v>2424.1279480701883</c:v>
                </c:pt>
                <c:pt idx="2481">
                  <c:v>2390.8182319786956</c:v>
                </c:pt>
                <c:pt idx="2482">
                  <c:v>2383.0875278162848</c:v>
                </c:pt>
                <c:pt idx="2483">
                  <c:v>2364.8473410367724</c:v>
                </c:pt>
                <c:pt idx="2484">
                  <c:v>2386.721315026266</c:v>
                </c:pt>
                <c:pt idx="2485">
                  <c:v>2318.7837443455423</c:v>
                </c:pt>
                <c:pt idx="2486">
                  <c:v>2191.1024368889539</c:v>
                </c:pt>
                <c:pt idx="2487">
                  <c:v>2212.0857767583539</c:v>
                </c:pt>
                <c:pt idx="2488">
                  <c:v>2197.9425069312711</c:v>
                </c:pt>
                <c:pt idx="2489">
                  <c:v>2147.7819932876114</c:v>
                </c:pt>
                <c:pt idx="2490">
                  <c:v>2202.5025536261492</c:v>
                </c:pt>
                <c:pt idx="2491">
                  <c:v>2256.7599842222385</c:v>
                </c:pt>
                <c:pt idx="2492">
                  <c:v>2355.7272476470162</c:v>
                </c:pt>
                <c:pt idx="2493">
                  <c:v>2464.7052385816432</c:v>
                </c:pt>
                <c:pt idx="2494">
                  <c:v>2480.2022722712682</c:v>
                </c:pt>
                <c:pt idx="2495">
                  <c:v>2612.9067561651832</c:v>
                </c:pt>
                <c:pt idx="2496">
                  <c:v>2640.2670363344519</c:v>
                </c:pt>
                <c:pt idx="2497">
                  <c:v>2640.2670363344519</c:v>
                </c:pt>
                <c:pt idx="2498">
                  <c:v>2574.6094890011677</c:v>
                </c:pt>
                <c:pt idx="2499">
                  <c:v>2555.4430427367579</c:v>
                </c:pt>
                <c:pt idx="2500">
                  <c:v>2657.3672114402452</c:v>
                </c:pt>
                <c:pt idx="2501">
                  <c:v>2983.4105501240333</c:v>
                </c:pt>
                <c:pt idx="2502">
                  <c:v>3052.2743802896543</c:v>
                </c:pt>
                <c:pt idx="2503">
                  <c:v>3165.251532601872</c:v>
                </c:pt>
                <c:pt idx="2504">
                  <c:v>2972.9153179790133</c:v>
                </c:pt>
                <c:pt idx="2505">
                  <c:v>2649.5857774454644</c:v>
                </c:pt>
                <c:pt idx="2506">
                  <c:v>2451.8296622662901</c:v>
                </c:pt>
                <c:pt idx="2507">
                  <c:v>2358.0072709944552</c:v>
                </c:pt>
                <c:pt idx="2508">
                  <c:v>2270.5515604572201</c:v>
                </c:pt>
                <c:pt idx="2509">
                  <c:v>2293.4754854064086</c:v>
                </c:pt>
                <c:pt idx="2510">
                  <c:v>2249.6220863802182</c:v>
                </c:pt>
                <c:pt idx="2511">
                  <c:v>2225.4304689385503</c:v>
                </c:pt>
                <c:pt idx="2512">
                  <c:v>2175.9194767546451</c:v>
                </c:pt>
                <c:pt idx="2513">
                  <c:v>2159.1821100248067</c:v>
                </c:pt>
                <c:pt idx="2514">
                  <c:v>2127.2617831606599</c:v>
                </c:pt>
                <c:pt idx="2515">
                  <c:v>2134.5649829454255</c:v>
                </c:pt>
                <c:pt idx="2516">
                  <c:v>2229.3997040529698</c:v>
                </c:pt>
                <c:pt idx="2517">
                  <c:v>2366.201104899314</c:v>
                </c:pt>
                <c:pt idx="2518">
                  <c:v>2403.6077379432368</c:v>
                </c:pt>
                <c:pt idx="2519">
                  <c:v>2437.8080881548226</c:v>
                </c:pt>
                <c:pt idx="2520">
                  <c:v>2420.9216652378523</c:v>
                </c:pt>
                <c:pt idx="2521">
                  <c:v>2425.9448416751788</c:v>
                </c:pt>
                <c:pt idx="2522">
                  <c:v>2387.6475745111629</c:v>
                </c:pt>
                <c:pt idx="2523">
                  <c:v>2395.3782786735737</c:v>
                </c:pt>
                <c:pt idx="2524">
                  <c:v>2454.2313813293449</c:v>
                </c:pt>
                <c:pt idx="2525">
                  <c:v>2689.9644202356635</c:v>
                </c:pt>
                <c:pt idx="2526">
                  <c:v>2847.2860312089597</c:v>
                </c:pt>
                <c:pt idx="2527">
                  <c:v>2850.9554437837446</c:v>
                </c:pt>
                <c:pt idx="2528">
                  <c:v>2715.0446770574931</c:v>
                </c:pt>
                <c:pt idx="2529">
                  <c:v>2327.9038377352986</c:v>
                </c:pt>
                <c:pt idx="2530">
                  <c:v>2135.9187468079676</c:v>
                </c:pt>
                <c:pt idx="2531">
                  <c:v>2038.3408726105358</c:v>
                </c:pt>
                <c:pt idx="2532">
                  <c:v>1918.4258946811615</c:v>
                </c:pt>
                <c:pt idx="2533">
                  <c:v>1832.2125118561214</c:v>
                </c:pt>
                <c:pt idx="2534">
                  <c:v>1736.0240268860352</c:v>
                </c:pt>
                <c:pt idx="2535">
                  <c:v>1693.5942174047861</c:v>
                </c:pt>
                <c:pt idx="2536">
                  <c:v>1694.5204768896833</c:v>
                </c:pt>
                <c:pt idx="2537">
                  <c:v>1638.8736570662486</c:v>
                </c:pt>
                <c:pt idx="2538">
                  <c:v>1659.3938671932003</c:v>
                </c:pt>
                <c:pt idx="2539">
                  <c:v>1680.840336805049</c:v>
                </c:pt>
                <c:pt idx="2540">
                  <c:v>1797.1215275244419</c:v>
                </c:pt>
                <c:pt idx="2541">
                  <c:v>1916.5733757113674</c:v>
                </c:pt>
                <c:pt idx="2542">
                  <c:v>1968.1232785823729</c:v>
                </c:pt>
                <c:pt idx="2543">
                  <c:v>1961.2832085400555</c:v>
                </c:pt>
                <c:pt idx="2544">
                  <c:v>2008.237439351379</c:v>
                </c:pt>
                <c:pt idx="2545">
                  <c:v>2024.6607325259013</c:v>
                </c:pt>
                <c:pt idx="2546">
                  <c:v>2115.8616664234642</c:v>
                </c:pt>
                <c:pt idx="2547">
                  <c:v>2287.3265472238436</c:v>
                </c:pt>
                <c:pt idx="2548">
                  <c:v>2422.7385588428428</c:v>
                </c:pt>
                <c:pt idx="2549">
                  <c:v>2631.6100726871446</c:v>
                </c:pt>
                <c:pt idx="2550">
                  <c:v>2863.7093243834815</c:v>
                </c:pt>
                <c:pt idx="2551">
                  <c:v>2916.6129911170292</c:v>
                </c:pt>
                <c:pt idx="2552">
                  <c:v>2565.0262658689626</c:v>
                </c:pt>
                <c:pt idx="2553">
                  <c:v>2288.2171813439372</c:v>
                </c:pt>
                <c:pt idx="2554">
                  <c:v>2059.7873422223847</c:v>
                </c:pt>
                <c:pt idx="2555">
                  <c:v>1930.2535157960019</c:v>
                </c:pt>
                <c:pt idx="2556">
                  <c:v>1753.337954180651</c:v>
                </c:pt>
                <c:pt idx="2557">
                  <c:v>1651.6631630307895</c:v>
                </c:pt>
                <c:pt idx="2558">
                  <c:v>1609.2333535495404</c:v>
                </c:pt>
                <c:pt idx="2559">
                  <c:v>1530.3587958740698</c:v>
                </c:pt>
                <c:pt idx="2560">
                  <c:v>1522.5924663468554</c:v>
                </c:pt>
                <c:pt idx="2561">
                  <c:v>1511.1923496096601</c:v>
                </c:pt>
                <c:pt idx="2562">
                  <c:v>1558.1822057857873</c:v>
                </c:pt>
                <c:pt idx="2563">
                  <c:v>1577.3130266853934</c:v>
                </c:pt>
                <c:pt idx="2564">
                  <c:v>1680.840336805049</c:v>
                </c:pt>
                <c:pt idx="2565">
                  <c:v>1910.1964354114987</c:v>
                </c:pt>
                <c:pt idx="2566">
                  <c:v>1986.3634653618853</c:v>
                </c:pt>
                <c:pt idx="2567">
                  <c:v>2005.9574160039399</c:v>
                </c:pt>
                <c:pt idx="2568">
                  <c:v>2010.9805924412665</c:v>
                </c:pt>
                <c:pt idx="2569">
                  <c:v>2022.3807091784622</c:v>
                </c:pt>
                <c:pt idx="2570">
                  <c:v>2005.9574160039399</c:v>
                </c:pt>
                <c:pt idx="2571">
                  <c:v>2103.1077858237272</c:v>
                </c:pt>
                <c:pt idx="2572">
                  <c:v>2147.7819932876114</c:v>
                </c:pt>
                <c:pt idx="2573">
                  <c:v>2297.8004044761419</c:v>
                </c:pt>
                <c:pt idx="2574">
                  <c:v>2433.2480414599445</c:v>
                </c:pt>
                <c:pt idx="2575">
                  <c:v>2475.64222557639</c:v>
                </c:pt>
                <c:pt idx="2576">
                  <c:v>2248.1030205749307</c:v>
                </c:pt>
                <c:pt idx="2577">
                  <c:v>2129.5418065080989</c:v>
                </c:pt>
                <c:pt idx="2578">
                  <c:v>1867.3391215526049</c:v>
                </c:pt>
                <c:pt idx="2579">
                  <c:v>1776.6013173974902</c:v>
                </c:pt>
                <c:pt idx="2580">
                  <c:v>1613.7934002444185</c:v>
                </c:pt>
                <c:pt idx="2581">
                  <c:v>1618.8165766817453</c:v>
                </c:pt>
                <c:pt idx="2582">
                  <c:v>1606.9533302021014</c:v>
                </c:pt>
                <c:pt idx="2583">
                  <c:v>1534.9188425689481</c:v>
                </c:pt>
                <c:pt idx="2584">
                  <c:v>1477.4551291405223</c:v>
                </c:pt>
                <c:pt idx="2585">
                  <c:v>1455.1180254085803</c:v>
                </c:pt>
                <c:pt idx="2586">
                  <c:v>1495.695315920035</c:v>
                </c:pt>
                <c:pt idx="2587">
                  <c:v>1566.3760396906464</c:v>
                </c:pt>
                <c:pt idx="2588">
                  <c:v>1664.4170436305269</c:v>
                </c:pt>
                <c:pt idx="2589">
                  <c:v>1727.7945676163727</c:v>
                </c:pt>
                <c:pt idx="2590">
                  <c:v>1743.7547310484463</c:v>
                </c:pt>
                <c:pt idx="2591">
                  <c:v>1683.5834898949365</c:v>
                </c:pt>
                <c:pt idx="2592">
                  <c:v>1643.4337037611265</c:v>
                </c:pt>
                <c:pt idx="2593">
                  <c:v>1650.2737738034439</c:v>
                </c:pt>
                <c:pt idx="2594">
                  <c:v>1669.4402200678535</c:v>
                </c:pt>
                <c:pt idx="2595">
                  <c:v>1749.2410372282213</c:v>
                </c:pt>
                <c:pt idx="2596">
                  <c:v>1773.8581643076027</c:v>
                </c:pt>
                <c:pt idx="2597">
                  <c:v>2051.0947532102728</c:v>
                </c:pt>
                <c:pt idx="2598">
                  <c:v>2301.4698170509264</c:v>
                </c:pt>
                <c:pt idx="2599">
                  <c:v>2311.4805445607767</c:v>
                </c:pt>
                <c:pt idx="2600">
                  <c:v>2173.3253798518899</c:v>
                </c:pt>
                <c:pt idx="2601">
                  <c:v>1882.83615524223</c:v>
                </c:pt>
                <c:pt idx="2602">
                  <c:v>1737.3777907485774</c:v>
                </c:pt>
                <c:pt idx="2603">
                  <c:v>1626.1197764665112</c:v>
                </c:pt>
                <c:pt idx="2604">
                  <c:v>1479.7351524879616</c:v>
                </c:pt>
                <c:pt idx="2605">
                  <c:v>1438.2316024916097</c:v>
                </c:pt>
                <c:pt idx="2606">
                  <c:v>1395.8374183751641</c:v>
                </c:pt>
                <c:pt idx="2607">
                  <c:v>1397.6543119801547</c:v>
                </c:pt>
                <c:pt idx="2608">
                  <c:v>1417.711392364658</c:v>
                </c:pt>
                <c:pt idx="2609">
                  <c:v>1409.5175584597987</c:v>
                </c:pt>
                <c:pt idx="2610">
                  <c:v>1468.3350357507663</c:v>
                </c:pt>
                <c:pt idx="2611">
                  <c:v>1540.8326531263681</c:v>
                </c:pt>
                <c:pt idx="2612">
                  <c:v>1582.7993328651687</c:v>
                </c:pt>
                <c:pt idx="2613">
                  <c:v>1602.393283507223</c:v>
                </c:pt>
                <c:pt idx="2614">
                  <c:v>1569.1191927805341</c:v>
                </c:pt>
                <c:pt idx="2615">
                  <c:v>1523.0555960893039</c:v>
                </c:pt>
                <c:pt idx="2616">
                  <c:v>1518.0324196519773</c:v>
                </c:pt>
                <c:pt idx="2617">
                  <c:v>1479.2720227455131</c:v>
                </c:pt>
                <c:pt idx="2618">
                  <c:v>1450.5579787137021</c:v>
                </c:pt>
                <c:pt idx="2619">
                  <c:v>1518.9586791368745</c:v>
                </c:pt>
                <c:pt idx="2620">
                  <c:v>1565.9129099481979</c:v>
                </c:pt>
                <c:pt idx="2621">
                  <c:v>1632.4967167663797</c:v>
                </c:pt>
                <c:pt idx="2622">
                  <c:v>1808.0585145191885</c:v>
                </c:pt>
                <c:pt idx="2623">
                  <c:v>1805.315361429301</c:v>
                </c:pt>
                <c:pt idx="2624">
                  <c:v>1690.4235599372537</c:v>
                </c:pt>
                <c:pt idx="2625">
                  <c:v>1627.4735403290531</c:v>
                </c:pt>
                <c:pt idx="2626">
                  <c:v>1689.4973004523567</c:v>
                </c:pt>
                <c:pt idx="2627">
                  <c:v>1678.5603134576099</c:v>
                </c:pt>
                <c:pt idx="2628">
                  <c:v>1593.273190117467</c:v>
                </c:pt>
                <c:pt idx="2629">
                  <c:v>1546.3189593061434</c:v>
                </c:pt>
                <c:pt idx="2630">
                  <c:v>1479.2720227455131</c:v>
                </c:pt>
                <c:pt idx="2631">
                  <c:v>1491.5983989676056</c:v>
                </c:pt>
                <c:pt idx="2632">
                  <c:v>1513.9355026995479</c:v>
                </c:pt>
                <c:pt idx="2633">
                  <c:v>1534.4557128264996</c:v>
                </c:pt>
                <c:pt idx="2634">
                  <c:v>1641.6168101561361</c:v>
                </c:pt>
                <c:pt idx="2635">
                  <c:v>1696.3373704946739</c:v>
                </c:pt>
                <c:pt idx="2636">
                  <c:v>1746.4978841383338</c:v>
                </c:pt>
                <c:pt idx="2637">
                  <c:v>1757.8980008755291</c:v>
                </c:pt>
                <c:pt idx="2638">
                  <c:v>1730.5377207062602</c:v>
                </c:pt>
                <c:pt idx="2639">
                  <c:v>1681.7309709251424</c:v>
                </c:pt>
                <c:pt idx="2640">
                  <c:v>1699.0805235845617</c:v>
                </c:pt>
                <c:pt idx="2641">
                  <c:v>1704.9943341419819</c:v>
                </c:pt>
                <c:pt idx="2642">
                  <c:v>1707.7374872318694</c:v>
                </c:pt>
                <c:pt idx="2643">
                  <c:v>1747.424143623231</c:v>
                </c:pt>
                <c:pt idx="2644">
                  <c:v>1910.1964354114987</c:v>
                </c:pt>
                <c:pt idx="2645">
                  <c:v>2143.2219465927333</c:v>
                </c:pt>
                <c:pt idx="2646">
                  <c:v>2015.0775093936966</c:v>
                </c:pt>
                <c:pt idx="2647">
                  <c:v>2421.8479247227492</c:v>
                </c:pt>
                <c:pt idx="2648">
                  <c:v>2249.9199141799213</c:v>
                </c:pt>
                <c:pt idx="2649">
                  <c:v>2116.3247961659126</c:v>
                </c:pt>
                <c:pt idx="2650">
                  <c:v>1958.540055450168</c:v>
                </c:pt>
                <c:pt idx="2651">
                  <c:v>1830.3956182511308</c:v>
                </c:pt>
                <c:pt idx="2652">
                  <c:v>1583.2624626076172</c:v>
                </c:pt>
                <c:pt idx="2653">
                  <c:v>1527.1525130417338</c:v>
                </c:pt>
                <c:pt idx="2654">
                  <c:v>1523.5187258317526</c:v>
                </c:pt>
                <c:pt idx="2655">
                  <c:v>1531.2494299941632</c:v>
                </c:pt>
                <c:pt idx="2656">
                  <c:v>1521.2387024843135</c:v>
                </c:pt>
                <c:pt idx="2657">
                  <c:v>1427.2946154968629</c:v>
                </c:pt>
                <c:pt idx="2658">
                  <c:v>1410.8713223223406</c:v>
                </c:pt>
                <c:pt idx="2659">
                  <c:v>1415.8944987596674</c:v>
                </c:pt>
                <c:pt idx="2660">
                  <c:v>1476.1013652779807</c:v>
                </c:pt>
                <c:pt idx="2661">
                  <c:v>1705.4574638844304</c:v>
                </c:pt>
                <c:pt idx="2662">
                  <c:v>1716.3944508791769</c:v>
                </c:pt>
                <c:pt idx="2663">
                  <c:v>1714.1144275317379</c:v>
                </c:pt>
                <c:pt idx="2664">
                  <c:v>1717.783840106523</c:v>
                </c:pt>
                <c:pt idx="2665">
                  <c:v>1899.4477688265983</c:v>
                </c:pt>
                <c:pt idx="2666">
                  <c:v>1902.6540516589343</c:v>
                </c:pt>
                <c:pt idx="2667">
                  <c:v>1935.9281423856237</c:v>
                </c:pt>
                <c:pt idx="2668">
                  <c:v>1910.8478855637934</c:v>
                </c:pt>
                <c:pt idx="2669">
                  <c:v>1957.8377417399211</c:v>
                </c:pt>
                <c:pt idx="2670">
                  <c:v>2036.2491696729428</c:v>
                </c:pt>
                <c:pt idx="2671">
                  <c:v>2079.5696132742855</c:v>
                </c:pt>
                <c:pt idx="2672">
                  <c:v>1966.9578351296771</c:v>
                </c:pt>
                <c:pt idx="2673">
                  <c:v>1657.5769735882095</c:v>
                </c:pt>
                <c:pt idx="2674">
                  <c:v>1341.0812326718226</c:v>
                </c:pt>
                <c:pt idx="2675">
                  <c:v>1331.5336349044214</c:v>
                </c:pt>
                <c:pt idx="2676">
                  <c:v>1238.0526776594193</c:v>
                </c:pt>
                <c:pt idx="2677">
                  <c:v>1101.2512768130746</c:v>
                </c:pt>
                <c:pt idx="2678">
                  <c:v>1051.0907631694149</c:v>
                </c:pt>
                <c:pt idx="2679">
                  <c:v>1083.0110900335619</c:v>
                </c:pt>
                <c:pt idx="2680">
                  <c:v>1078.4510433386838</c:v>
                </c:pt>
                <c:pt idx="2681">
                  <c:v>1083.0110900335619</c:v>
                </c:pt>
                <c:pt idx="2682">
                  <c:v>1094.4112067707574</c:v>
                </c:pt>
                <c:pt idx="2683">
                  <c:v>1096.6912301181965</c:v>
                </c:pt>
                <c:pt idx="2684">
                  <c:v>1279.0930979133227</c:v>
                </c:pt>
                <c:pt idx="2685">
                  <c:v>1306.4533780825916</c:v>
                </c:pt>
                <c:pt idx="2686">
                  <c:v>1322.4135415146652</c:v>
                </c:pt>
                <c:pt idx="2687">
                  <c:v>1299.6133080402744</c:v>
                </c:pt>
                <c:pt idx="2688">
                  <c:v>1324.6935648621043</c:v>
                </c:pt>
                <c:pt idx="2689">
                  <c:v>1308.7334014300307</c:v>
                </c:pt>
                <c:pt idx="2690">
                  <c:v>1333.8136582518607</c:v>
                </c:pt>
                <c:pt idx="2691">
                  <c:v>1379.4141252006423</c:v>
                </c:pt>
                <c:pt idx="2692">
                  <c:v>1488.4277415000731</c:v>
                </c:pt>
                <c:pt idx="2693">
                  <c:v>1634.7767401138187</c:v>
                </c:pt>
                <c:pt idx="2694">
                  <c:v>1798.4752913869838</c:v>
                </c:pt>
                <c:pt idx="2695">
                  <c:v>1801.2184444768716</c:v>
                </c:pt>
                <c:pt idx="2696">
                  <c:v>1662.1370202830878</c:v>
                </c:pt>
                <c:pt idx="2697">
                  <c:v>1377.1341018532032</c:v>
                </c:pt>
                <c:pt idx="2698">
                  <c:v>1224.3725375747849</c:v>
                </c:pt>
                <c:pt idx="2699">
                  <c:v>1133.1716036772218</c:v>
                </c:pt>
                <c:pt idx="2700">
                  <c:v>1117.2114402451482</c:v>
                </c:pt>
                <c:pt idx="2701">
                  <c:v>1087.5711367284403</c:v>
                </c:pt>
                <c:pt idx="2702">
                  <c:v>1048.8107398219759</c:v>
                </c:pt>
                <c:pt idx="2703">
                  <c:v>1037.4106230847804</c:v>
                </c:pt>
                <c:pt idx="2704">
                  <c:v>1023.730483000146</c:v>
                </c:pt>
                <c:pt idx="2705">
                  <c:v>1016.8904129578286</c:v>
                </c:pt>
                <c:pt idx="2706">
                  <c:v>1085.2911133810012</c:v>
                </c:pt>
                <c:pt idx="2707">
                  <c:v>1181.0520939734424</c:v>
                </c:pt>
                <c:pt idx="2708">
                  <c:v>1201.5723041003941</c:v>
                </c:pt>
                <c:pt idx="2709">
                  <c:v>1242.6127243542976</c:v>
                </c:pt>
                <c:pt idx="2710">
                  <c:v>1249.4527943966148</c:v>
                </c:pt>
                <c:pt idx="2711">
                  <c:v>1228.932584269663</c:v>
                </c:pt>
                <c:pt idx="2712">
                  <c:v>1228.932584269663</c:v>
                </c:pt>
                <c:pt idx="2713">
                  <c:v>1187.8921640157596</c:v>
                </c:pt>
                <c:pt idx="2714">
                  <c:v>1169.6519772362469</c:v>
                </c:pt>
                <c:pt idx="2715">
                  <c:v>1222.0925142273459</c:v>
                </c:pt>
                <c:pt idx="2716">
                  <c:v>1299.6133080402744</c:v>
                </c:pt>
                <c:pt idx="2717">
                  <c:v>1472.8950824456442</c:v>
                </c:pt>
                <c:pt idx="2718">
                  <c:v>1632.9598465088284</c:v>
                </c:pt>
                <c:pt idx="2719">
                  <c:v>1601.9301537647746</c:v>
                </c:pt>
                <c:pt idx="2720">
                  <c:v>1418.1745221071064</c:v>
                </c:pt>
                <c:pt idx="2721">
                  <c:v>1274.5330512184444</c:v>
                </c:pt>
                <c:pt idx="2722">
                  <c:v>1185.6121406683205</c:v>
                </c:pt>
                <c:pt idx="2723">
                  <c:v>1055.650809864293</c:v>
                </c:pt>
                <c:pt idx="2724">
                  <c:v>957.60980592441274</c:v>
                </c:pt>
                <c:pt idx="2725">
                  <c:v>909.72931562819213</c:v>
                </c:pt>
                <c:pt idx="2726">
                  <c:v>839.04859185758073</c:v>
                </c:pt>
                <c:pt idx="2727">
                  <c:v>827.64847512038523</c:v>
                </c:pt>
                <c:pt idx="2728">
                  <c:v>820.80840507806806</c:v>
                </c:pt>
                <c:pt idx="2729">
                  <c:v>818.52838173062901</c:v>
                </c:pt>
                <c:pt idx="2730">
                  <c:v>852.72873194221518</c:v>
                </c:pt>
                <c:pt idx="2731">
                  <c:v>914.28936232307024</c:v>
                </c:pt>
                <c:pt idx="2732">
                  <c:v>1023.730483000146</c:v>
                </c:pt>
                <c:pt idx="2733">
                  <c:v>1039.6906464322194</c:v>
                </c:pt>
                <c:pt idx="2734">
                  <c:v>1032.8505763899022</c:v>
                </c:pt>
                <c:pt idx="2735">
                  <c:v>1026.0105063475851</c:v>
                </c:pt>
                <c:pt idx="2736">
                  <c:v>1046.5307164745368</c:v>
                </c:pt>
                <c:pt idx="2737">
                  <c:v>1012.3303662629506</c:v>
                </c:pt>
                <c:pt idx="2738">
                  <c:v>991.8101561359988</c:v>
                </c:pt>
                <c:pt idx="2739">
                  <c:v>1016.8904129578286</c:v>
                </c:pt>
                <c:pt idx="2740">
                  <c:v>1037.4106230847804</c:v>
                </c:pt>
                <c:pt idx="2741">
                  <c:v>1026.0105063475851</c:v>
                </c:pt>
                <c:pt idx="2742">
                  <c:v>1181.0520939734424</c:v>
                </c:pt>
                <c:pt idx="2743">
                  <c:v>1249.4527943966148</c:v>
                </c:pt>
                <c:pt idx="2744">
                  <c:v>1251.7328177440538</c:v>
                </c:pt>
                <c:pt idx="2745">
                  <c:v>1165.0919305413688</c:v>
                </c:pt>
                <c:pt idx="2746">
                  <c:v>1078.4510433386838</c:v>
                </c:pt>
                <c:pt idx="2747">
                  <c:v>1078.4510433386838</c:v>
                </c:pt>
                <c:pt idx="2748">
                  <c:v>1078.4510433386838</c:v>
                </c:pt>
                <c:pt idx="2749">
                  <c:v>1069.7940796913761</c:v>
                </c:pt>
                <c:pt idx="2750">
                  <c:v>1005.4902962206332</c:v>
                </c:pt>
                <c:pt idx="2751">
                  <c:v>934.80957245002196</c:v>
                </c:pt>
                <c:pt idx="2752">
                  <c:v>918.84940901794846</c:v>
                </c:pt>
                <c:pt idx="2753">
                  <c:v>948.48971253465629</c:v>
                </c:pt>
                <c:pt idx="2754">
                  <c:v>1073.8909966438057</c:v>
                </c:pt>
                <c:pt idx="2755">
                  <c:v>1121.7714869400263</c:v>
                </c:pt>
                <c:pt idx="2756">
                  <c:v>1133.1716036772218</c:v>
                </c:pt>
                <c:pt idx="2757">
                  <c:v>1140.011673719539</c:v>
                </c:pt>
                <c:pt idx="2758">
                  <c:v>1010.0503429155116</c:v>
                </c:pt>
                <c:pt idx="2759">
                  <c:v>1012.3303662629506</c:v>
                </c:pt>
                <c:pt idx="2760">
                  <c:v>1019.1704363052679</c:v>
                </c:pt>
                <c:pt idx="2761">
                  <c:v>1026.0105063475851</c:v>
                </c:pt>
                <c:pt idx="2762">
                  <c:v>1035.1305997373413</c:v>
                </c:pt>
                <c:pt idx="2763">
                  <c:v>1055.650809864293</c:v>
                </c:pt>
                <c:pt idx="2764">
                  <c:v>1039.6906464322194</c:v>
                </c:pt>
                <c:pt idx="2765">
                  <c:v>1057.9308332117321</c:v>
                </c:pt>
                <c:pt idx="2766">
                  <c:v>1126.3315336349044</c:v>
                </c:pt>
                <c:pt idx="2767">
                  <c:v>1208.4123741427113</c:v>
                </c:pt>
                <c:pt idx="2768">
                  <c:v>1069.3309499489276</c:v>
                </c:pt>
                <c:pt idx="2769">
                  <c:v>1005.4902962206332</c:v>
                </c:pt>
                <c:pt idx="2770">
                  <c:v>994.09017948343785</c:v>
                </c:pt>
                <c:pt idx="2771">
                  <c:v>1005.4902962206332</c:v>
                </c:pt>
                <c:pt idx="2772">
                  <c:v>1007.7703195680725</c:v>
                </c:pt>
                <c:pt idx="2773">
                  <c:v>1014.6103896103896</c:v>
                </c:pt>
                <c:pt idx="2774">
                  <c:v>1078.4510433386838</c:v>
                </c:pt>
                <c:pt idx="2775">
                  <c:v>1124.0515102874654</c:v>
                </c:pt>
                <c:pt idx="2776">
                  <c:v>1174.212023931125</c:v>
                </c:pt>
                <c:pt idx="2777">
                  <c:v>1251.7328177440538</c:v>
                </c:pt>
                <c:pt idx="2778">
                  <c:v>1347.493798336495</c:v>
                </c:pt>
                <c:pt idx="2779">
                  <c:v>1313.293448124909</c:v>
                </c:pt>
                <c:pt idx="2780">
                  <c:v>1254.0128410914929</c:v>
                </c:pt>
                <c:pt idx="2781">
                  <c:v>1201.5723041003941</c:v>
                </c:pt>
                <c:pt idx="2782">
                  <c:v>1260.85291113381</c:v>
                </c:pt>
                <c:pt idx="2783">
                  <c:v>1244.8927477017367</c:v>
                </c:pt>
                <c:pt idx="2784">
                  <c:v>1238.0526776594193</c:v>
                </c:pt>
                <c:pt idx="2785">
                  <c:v>1149.1317671092952</c:v>
                </c:pt>
                <c:pt idx="2786">
                  <c:v>1153.6918138041735</c:v>
                </c:pt>
                <c:pt idx="2787">
                  <c:v>1153.6918138041735</c:v>
                </c:pt>
                <c:pt idx="2788">
                  <c:v>1238.0526776594193</c:v>
                </c:pt>
                <c:pt idx="2789">
                  <c:v>1281.3731212607618</c:v>
                </c:pt>
                <c:pt idx="2790">
                  <c:v>1500.2553626149131</c:v>
                </c:pt>
                <c:pt idx="2791">
                  <c:v>1486.5752225302788</c:v>
                </c:pt>
                <c:pt idx="2792">
                  <c:v>1388.5342185903985</c:v>
                </c:pt>
                <c:pt idx="2793">
                  <c:v>1315.573471472348</c:v>
                </c:pt>
                <c:pt idx="2794">
                  <c:v>1244.8927477017367</c:v>
                </c:pt>
                <c:pt idx="2795">
                  <c:v>1114.9314168977091</c:v>
                </c:pt>
                <c:pt idx="2796">
                  <c:v>1060.2108565591711</c:v>
                </c:pt>
                <c:pt idx="2797">
                  <c:v>1000.9302495257552</c:v>
                </c:pt>
                <c:pt idx="2798">
                  <c:v>950.76973588209557</c:v>
                </c:pt>
                <c:pt idx="2799">
                  <c:v>953.04975922953463</c:v>
                </c:pt>
                <c:pt idx="2800">
                  <c:v>987.2501094411208</c:v>
                </c:pt>
                <c:pt idx="2801">
                  <c:v>1005.4902962206332</c:v>
                </c:pt>
                <c:pt idx="2802">
                  <c:v>868.68889537428868</c:v>
                </c:pt>
                <c:pt idx="2803">
                  <c:v>873.2489420691669</c:v>
                </c:pt>
                <c:pt idx="2804">
                  <c:v>1000.9302495257552</c:v>
                </c:pt>
                <c:pt idx="2805">
                  <c:v>1133.1716036772218</c:v>
                </c:pt>
                <c:pt idx="2806">
                  <c:v>1187.8921640157596</c:v>
                </c:pt>
                <c:pt idx="2807">
                  <c:v>1171.932000583686</c:v>
                </c:pt>
                <c:pt idx="2808">
                  <c:v>1101.2512768130746</c:v>
                </c:pt>
                <c:pt idx="2809">
                  <c:v>1076.1710199912447</c:v>
                </c:pt>
                <c:pt idx="2810">
                  <c:v>1076.1710199912447</c:v>
                </c:pt>
                <c:pt idx="2811">
                  <c:v>1155.9718371516126</c:v>
                </c:pt>
                <c:pt idx="2812">
                  <c:v>1247.1727710491757</c:v>
                </c:pt>
                <c:pt idx="2813">
                  <c:v>1443.2547789289363</c:v>
                </c:pt>
                <c:pt idx="2814">
                  <c:v>1707.7374872318694</c:v>
                </c:pt>
                <c:pt idx="2815">
                  <c:v>1760.1780242229681</c:v>
                </c:pt>
                <c:pt idx="2816">
                  <c:v>1751.0579308332119</c:v>
                </c:pt>
                <c:pt idx="2817">
                  <c:v>1755.61797752809</c:v>
                </c:pt>
                <c:pt idx="2818">
                  <c:v>1744.2178607908947</c:v>
                </c:pt>
                <c:pt idx="2819">
                  <c:v>1705.4574638844304</c:v>
                </c:pt>
                <c:pt idx="2820">
                  <c:v>1728.2576973588211</c:v>
                </c:pt>
                <c:pt idx="2821">
                  <c:v>1741.9378374434552</c:v>
                </c:pt>
                <c:pt idx="2822">
                  <c:v>1703.1774405369913</c:v>
                </c:pt>
                <c:pt idx="2823">
                  <c:v>1680.3772070626005</c:v>
                </c:pt>
                <c:pt idx="2824">
                  <c:v>1682.6572304100396</c:v>
                </c:pt>
                <c:pt idx="2825">
                  <c:v>1696.3373704946739</c:v>
                </c:pt>
                <c:pt idx="2826">
                  <c:v>1712.2975339267475</c:v>
                </c:pt>
                <c:pt idx="2827">
                  <c:v>1746.4978841383338</c:v>
                </c:pt>
                <c:pt idx="2828">
                  <c:v>1776.1381876550417</c:v>
                </c:pt>
                <c:pt idx="2829">
                  <c:v>1965.3801254924849</c:v>
                </c:pt>
                <c:pt idx="2830">
                  <c:v>1691.7773237997958</c:v>
                </c:pt>
                <c:pt idx="2831">
                  <c:v>2040.6208959579749</c:v>
                </c:pt>
                <c:pt idx="2832">
                  <c:v>1933.4597986283381</c:v>
                </c:pt>
                <c:pt idx="2833">
                  <c:v>1938.0198453232163</c:v>
                </c:pt>
                <c:pt idx="2834">
                  <c:v>1919.7796585437034</c:v>
                </c:pt>
                <c:pt idx="2835">
                  <c:v>1944.8599153655337</c:v>
                </c:pt>
                <c:pt idx="2836">
                  <c:v>2033.7808259156573</c:v>
                </c:pt>
                <c:pt idx="2837">
                  <c:v>2213.9026703633444</c:v>
                </c:pt>
                <c:pt idx="2838">
                  <c:v>2302.8235809134685</c:v>
                </c:pt>
                <c:pt idx="2839">
                  <c:v>2346.144024514811</c:v>
                </c:pt>
                <c:pt idx="2840">
                  <c:v>2261.7831606595655</c:v>
                </c:pt>
                <c:pt idx="2841">
                  <c:v>2102.1815263388298</c:v>
                </c:pt>
                <c:pt idx="2842">
                  <c:v>1814.8985845615061</c:v>
                </c:pt>
                <c:pt idx="2843">
                  <c:v>1801.2184444768716</c:v>
                </c:pt>
                <c:pt idx="2844">
                  <c:v>1714.5775572741866</c:v>
                </c:pt>
                <c:pt idx="2845">
                  <c:v>1655.2969502407705</c:v>
                </c:pt>
                <c:pt idx="2846">
                  <c:v>1614.2565299868672</c:v>
                </c:pt>
                <c:pt idx="2847">
                  <c:v>1614.2565299868672</c:v>
                </c:pt>
                <c:pt idx="2848">
                  <c:v>1577.7761564278419</c:v>
                </c:pt>
                <c:pt idx="2849">
                  <c:v>1580.0561797752812</c:v>
                </c:pt>
                <c:pt idx="2850">
                  <c:v>1559.5359696483292</c:v>
                </c:pt>
                <c:pt idx="2851">
                  <c:v>1582.33620312272</c:v>
                </c:pt>
                <c:pt idx="2852">
                  <c:v>1589.1762731650372</c:v>
                </c:pt>
                <c:pt idx="2853">
                  <c:v>1634.7767401138187</c:v>
                </c:pt>
                <c:pt idx="2854">
                  <c:v>1657.5769735882095</c:v>
                </c:pt>
                <c:pt idx="2855">
                  <c:v>1593.7363198599155</c:v>
                </c:pt>
                <c:pt idx="2856">
                  <c:v>1625.6566467240625</c:v>
                </c:pt>
                <c:pt idx="2857">
                  <c:v>1596.0163432073546</c:v>
                </c:pt>
                <c:pt idx="2858">
                  <c:v>1596.0163432073546</c:v>
                </c:pt>
                <c:pt idx="2859">
                  <c:v>1605.1364365971108</c:v>
                </c:pt>
                <c:pt idx="2860">
                  <c:v>1648.4568801984533</c:v>
                </c:pt>
                <c:pt idx="2861">
                  <c:v>1908.3795418065083</c:v>
                </c:pt>
                <c:pt idx="2862">
                  <c:v>2273.1832773967608</c:v>
                </c:pt>
                <c:pt idx="2863">
                  <c:v>2334.7439077776157</c:v>
                </c:pt>
                <c:pt idx="2864">
                  <c:v>2227.5828104479792</c:v>
                </c:pt>
                <c:pt idx="2865">
                  <c:v>1972.2201955348025</c:v>
                </c:pt>
                <c:pt idx="2866">
                  <c:v>1753.337954180651</c:v>
                </c:pt>
                <c:pt idx="2867">
                  <c:v>1634.7767401138187</c:v>
                </c:pt>
                <c:pt idx="2868">
                  <c:v>1566.3760396906464</c:v>
                </c:pt>
                <c:pt idx="2869">
                  <c:v>1456.9349190135708</c:v>
                </c:pt>
                <c:pt idx="2870">
                  <c:v>1434.1346855391801</c:v>
                </c:pt>
                <c:pt idx="2871">
                  <c:v>1434.1346855391801</c:v>
                </c:pt>
                <c:pt idx="2872">
                  <c:v>1413.6144754122283</c:v>
                </c:pt>
                <c:pt idx="2873">
                  <c:v>1333.8136582518607</c:v>
                </c:pt>
                <c:pt idx="2874">
                  <c:v>1352.0538450313732</c:v>
                </c:pt>
                <c:pt idx="2875">
                  <c:v>1342.9337516416167</c:v>
                </c:pt>
                <c:pt idx="2876">
                  <c:v>1315.573471472348</c:v>
                </c:pt>
                <c:pt idx="2877">
                  <c:v>1329.2536115569824</c:v>
                </c:pt>
                <c:pt idx="2878">
                  <c:v>1342.9337516416167</c:v>
                </c:pt>
                <c:pt idx="2879">
                  <c:v>1329.2536115569824</c:v>
                </c:pt>
                <c:pt idx="2880">
                  <c:v>1322.4135415146652</c:v>
                </c:pt>
                <c:pt idx="2881">
                  <c:v>1333.8136582518607</c:v>
                </c:pt>
                <c:pt idx="2882">
                  <c:v>1352.0538450313732</c:v>
                </c:pt>
                <c:pt idx="2883">
                  <c:v>1397.6543119801547</c:v>
                </c:pt>
                <c:pt idx="2884">
                  <c:v>1491.1352692251571</c:v>
                </c:pt>
                <c:pt idx="2885">
                  <c:v>1630.2166934189406</c:v>
                </c:pt>
                <c:pt idx="2886">
                  <c:v>1844.5388880782141</c:v>
                </c:pt>
                <c:pt idx="2887">
                  <c:v>1833.1387713410188</c:v>
                </c:pt>
                <c:pt idx="2888">
                  <c:v>1687.2172771049177</c:v>
                </c:pt>
                <c:pt idx="2889">
                  <c:v>1559.5359696483292</c:v>
                </c:pt>
                <c:pt idx="2890">
                  <c:v>1450.0948489712534</c:v>
                </c:pt>
                <c:pt idx="2891">
                  <c:v>1406.7744053699109</c:v>
                </c:pt>
                <c:pt idx="2892">
                  <c:v>1381.6941485480813</c:v>
                </c:pt>
                <c:pt idx="2893">
                  <c:v>1374.8540785057639</c:v>
                </c:pt>
                <c:pt idx="2894">
                  <c:v>1242.6127243542976</c:v>
                </c:pt>
                <c:pt idx="2895">
                  <c:v>1215.2524441850285</c:v>
                </c:pt>
                <c:pt idx="2896">
                  <c:v>1235.7726543119802</c:v>
                </c:pt>
                <c:pt idx="2897">
                  <c:v>1231.2126076171021</c:v>
                </c:pt>
                <c:pt idx="2898">
                  <c:v>1249.4527943966148</c:v>
                </c:pt>
                <c:pt idx="2899">
                  <c:v>1304.1733547351525</c:v>
                </c:pt>
                <c:pt idx="2900">
                  <c:v>1402.2143586750331</c:v>
                </c:pt>
                <c:pt idx="2901">
                  <c:v>1418.1745221071064</c:v>
                </c:pt>
                <c:pt idx="2902">
                  <c:v>1390.8142419378376</c:v>
                </c:pt>
                <c:pt idx="2903">
                  <c:v>1374.8540785057639</c:v>
                </c:pt>
                <c:pt idx="2904">
                  <c:v>1388.5342185903985</c:v>
                </c:pt>
                <c:pt idx="2905">
                  <c:v>1413.6144754122283</c:v>
                </c:pt>
                <c:pt idx="2906">
                  <c:v>1415.8944987596674</c:v>
                </c:pt>
                <c:pt idx="2907">
                  <c:v>1425.0145921494238</c:v>
                </c:pt>
                <c:pt idx="2908">
                  <c:v>1495.695315920035</c:v>
                </c:pt>
                <c:pt idx="2909">
                  <c:v>1675.8171603677224</c:v>
                </c:pt>
                <c:pt idx="2910">
                  <c:v>1874.1791915949218</c:v>
                </c:pt>
                <c:pt idx="2911">
                  <c:v>1981.3402889245588</c:v>
                </c:pt>
                <c:pt idx="2912">
                  <c:v>2191.1024368889539</c:v>
                </c:pt>
                <c:pt idx="2913">
                  <c:v>2200.2225302787101</c:v>
                </c:pt>
                <c:pt idx="2914">
                  <c:v>2111.301619728586</c:v>
                </c:pt>
                <c:pt idx="2915">
                  <c:v>1992.7404056617543</c:v>
                </c:pt>
                <c:pt idx="2916">
                  <c:v>2017.8206624835841</c:v>
                </c:pt>
                <c:pt idx="2917">
                  <c:v>2038.3408726105358</c:v>
                </c:pt>
                <c:pt idx="2918">
                  <c:v>1976.7802422296807</c:v>
                </c:pt>
                <c:pt idx="2919">
                  <c:v>2008.7005690938274</c:v>
                </c:pt>
                <c:pt idx="2920">
                  <c:v>2001.8604990515105</c:v>
                </c:pt>
                <c:pt idx="2921">
                  <c:v>2150.0620166350504</c:v>
                </c:pt>
                <c:pt idx="2922">
                  <c:v>2143.2219465927333</c:v>
                </c:pt>
                <c:pt idx="2923">
                  <c:v>2150.0620166350504</c:v>
                </c:pt>
                <c:pt idx="2924">
                  <c:v>2200.2225302787101</c:v>
                </c:pt>
                <c:pt idx="2925">
                  <c:v>2202.5025536261492</c:v>
                </c:pt>
                <c:pt idx="2926">
                  <c:v>2131.821829855538</c:v>
                </c:pt>
                <c:pt idx="2927">
                  <c:v>2127.2617831606599</c:v>
                </c:pt>
                <c:pt idx="2928">
                  <c:v>2093.0614329490736</c:v>
                </c:pt>
                <c:pt idx="2929">
                  <c:v>2129.5418065080989</c:v>
                </c:pt>
                <c:pt idx="2930">
                  <c:v>2097.6214796439517</c:v>
                </c:pt>
                <c:pt idx="2931">
                  <c:v>2118.1416897709032</c:v>
                </c:pt>
                <c:pt idx="2932">
                  <c:v>2147.7819932876114</c:v>
                </c:pt>
                <c:pt idx="2933">
                  <c:v>2282.303370786517</c:v>
                </c:pt>
                <c:pt idx="2934">
                  <c:v>2307.3836276083471</c:v>
                </c:pt>
                <c:pt idx="2935">
                  <c:v>2396.3045381584711</c:v>
                </c:pt>
                <c:pt idx="2936">
                  <c:v>2729.1879468845759</c:v>
                </c:pt>
                <c:pt idx="2937">
                  <c:v>2927.0868483693275</c:v>
                </c:pt>
                <c:pt idx="2938">
                  <c:v>2905.2128743798339</c:v>
                </c:pt>
                <c:pt idx="2939">
                  <c:v>2890.6064748103022</c:v>
                </c:pt>
                <c:pt idx="2940">
                  <c:v>2757.011356796294</c:v>
                </c:pt>
                <c:pt idx="2941">
                  <c:v>2656.6903295089742</c:v>
                </c:pt>
                <c:pt idx="2942">
                  <c:v>2532.1796795199184</c:v>
                </c:pt>
                <c:pt idx="2943">
                  <c:v>2494.3455420983514</c:v>
                </c:pt>
                <c:pt idx="2944">
                  <c:v>2453.7682515868964</c:v>
                </c:pt>
                <c:pt idx="2945">
                  <c:v>2430.0417586276085</c:v>
                </c:pt>
                <c:pt idx="2946">
                  <c:v>2490.2486251459218</c:v>
                </c:pt>
                <c:pt idx="2947">
                  <c:v>2439.1618520173647</c:v>
                </c:pt>
                <c:pt idx="2948">
                  <c:v>2426.8711011600758</c:v>
                </c:pt>
                <c:pt idx="2949">
                  <c:v>2391.7444914635926</c:v>
                </c:pt>
                <c:pt idx="2950">
                  <c:v>2280.023347439078</c:v>
                </c:pt>
                <c:pt idx="2951">
                  <c:v>2177.4222968043196</c:v>
                </c:pt>
                <c:pt idx="2952">
                  <c:v>2181.9823434991977</c:v>
                </c:pt>
                <c:pt idx="2953">
                  <c:v>2170.5822267620024</c:v>
                </c:pt>
                <c:pt idx="2954">
                  <c:v>2238.9829271851745</c:v>
                </c:pt>
                <c:pt idx="2955">
                  <c:v>2293.7034875237123</c:v>
                </c:pt>
                <c:pt idx="2956">
                  <c:v>2512.5857288778639</c:v>
                </c:pt>
                <c:pt idx="2957">
                  <c:v>2628.866919597257</c:v>
                </c:pt>
                <c:pt idx="2958">
                  <c:v>2622.0268495549399</c:v>
                </c:pt>
                <c:pt idx="2959">
                  <c:v>2731.467970232015</c:v>
                </c:pt>
                <c:pt idx="2960">
                  <c:v>2583.2664526484755</c:v>
                </c:pt>
                <c:pt idx="2961">
                  <c:v>2346.144024514811</c:v>
                </c:pt>
                <c:pt idx="2962">
                  <c:v>2309.6636509557861</c:v>
                </c:pt>
                <c:pt idx="2963">
                  <c:v>2264.0631840070046</c:v>
                </c:pt>
                <c:pt idx="2964">
                  <c:v>2150.0620166350504</c:v>
                </c:pt>
                <c:pt idx="2965">
                  <c:v>2159.1821100248067</c:v>
                </c:pt>
                <c:pt idx="2966">
                  <c:v>2001.8604990515105</c:v>
                </c:pt>
                <c:pt idx="2967">
                  <c:v>1917.4996351962643</c:v>
                </c:pt>
                <c:pt idx="2968">
                  <c:v>1999.5804757040714</c:v>
                </c:pt>
                <c:pt idx="2969">
                  <c:v>2022.3807091784622</c:v>
                </c:pt>
                <c:pt idx="2970">
                  <c:v>2280.5933532759377</c:v>
                </c:pt>
                <c:pt idx="2971">
                  <c:v>2328.4738435721583</c:v>
                </c:pt>
                <c:pt idx="2972">
                  <c:v>2291.4234641762732</c:v>
                </c:pt>
                <c:pt idx="2973">
                  <c:v>2333.6038961038962</c:v>
                </c:pt>
                <c:pt idx="2974">
                  <c:v>2262.3531664964248</c:v>
                </c:pt>
                <c:pt idx="2975">
                  <c:v>2168.8722092514226</c:v>
                </c:pt>
                <c:pt idx="2976">
                  <c:v>2187.6824018677953</c:v>
                </c:pt>
                <c:pt idx="2977">
                  <c:v>2220.7427404056621</c:v>
                </c:pt>
                <c:pt idx="2978">
                  <c:v>2291.993470013133</c:v>
                </c:pt>
                <c:pt idx="2979">
                  <c:v>2332.4638844301767</c:v>
                </c:pt>
                <c:pt idx="2980">
                  <c:v>2380.3443747263973</c:v>
                </c:pt>
                <c:pt idx="2981">
                  <c:v>2675.6073982197581</c:v>
                </c:pt>
                <c:pt idx="2982">
                  <c:v>2705.2477017364658</c:v>
                </c:pt>
                <c:pt idx="2983">
                  <c:v>2432.2149058806363</c:v>
                </c:pt>
                <c:pt idx="2984">
                  <c:v>2323.9137968772802</c:v>
                </c:pt>
                <c:pt idx="2985">
                  <c:v>2234.4228804902964</c:v>
                </c:pt>
                <c:pt idx="2986">
                  <c:v>2155.1920691667883</c:v>
                </c:pt>
                <c:pt idx="2987">
                  <c:v>2074.8212461695607</c:v>
                </c:pt>
                <c:pt idx="2988">
                  <c:v>1965.3801254924849</c:v>
                </c:pt>
                <c:pt idx="2989">
                  <c:v>1928.89975193346</c:v>
                </c:pt>
                <c:pt idx="2990">
                  <c:v>1883.2992849846785</c:v>
                </c:pt>
                <c:pt idx="2991">
                  <c:v>1858.2190281628486</c:v>
                </c:pt>
                <c:pt idx="2992">
                  <c:v>1912.9395885013864</c:v>
                </c:pt>
                <c:pt idx="2993">
                  <c:v>1899.2594484167516</c:v>
                </c:pt>
                <c:pt idx="2994">
                  <c:v>1878.7392382898004</c:v>
                </c:pt>
                <c:pt idx="2995">
                  <c:v>1944.8599153655337</c:v>
                </c:pt>
                <c:pt idx="2996">
                  <c:v>1999.5804757040714</c:v>
                </c:pt>
                <c:pt idx="2997">
                  <c:v>2067.9811761272435</c:v>
                </c:pt>
                <c:pt idx="2998">
                  <c:v>2036.0608492630968</c:v>
                </c:pt>
                <c:pt idx="2999">
                  <c:v>2063.4211294323654</c:v>
                </c:pt>
                <c:pt idx="3000">
                  <c:v>2070.2611994746826</c:v>
                </c:pt>
                <c:pt idx="3001">
                  <c:v>2031.5008025682182</c:v>
                </c:pt>
                <c:pt idx="3002">
                  <c:v>2001.8604990515105</c:v>
                </c:pt>
                <c:pt idx="3003">
                  <c:v>2033.7808259156573</c:v>
                </c:pt>
                <c:pt idx="3004">
                  <c:v>2097.6214796439517</c:v>
                </c:pt>
                <c:pt idx="3005">
                  <c:v>2487.5054720560343</c:v>
                </c:pt>
                <c:pt idx="3006">
                  <c:v>2616.896797023202</c:v>
                </c:pt>
                <c:pt idx="3007">
                  <c:v>2470.9753027871006</c:v>
                </c:pt>
                <c:pt idx="3008">
                  <c:v>2307.9536334452064</c:v>
                </c:pt>
                <c:pt idx="3009">
                  <c:v>2032.640814241938</c:v>
                </c:pt>
                <c:pt idx="3010">
                  <c:v>1852.5189697942508</c:v>
                </c:pt>
                <c:pt idx="3011">
                  <c:v>1809.1985261929083</c:v>
                </c:pt>
                <c:pt idx="3012">
                  <c:v>1720.2776156427842</c:v>
                </c:pt>
                <c:pt idx="3013">
                  <c:v>1653.5869327301914</c:v>
                </c:pt>
                <c:pt idx="3014">
                  <c:v>1584.0462206332993</c:v>
                </c:pt>
                <c:pt idx="3015">
                  <c:v>1451.234860644973</c:v>
                </c:pt>
                <c:pt idx="3016">
                  <c:v>1422.1645629651248</c:v>
                </c:pt>
                <c:pt idx="3017">
                  <c:v>1399.934335327594</c:v>
                </c:pt>
                <c:pt idx="3018">
                  <c:v>1398.7943236538742</c:v>
                </c:pt>
                <c:pt idx="3019">
                  <c:v>1403.3543703487526</c:v>
                </c:pt>
                <c:pt idx="3020">
                  <c:v>1491.7052750620167</c:v>
                </c:pt>
                <c:pt idx="3021">
                  <c:v>1607.4164599445498</c:v>
                </c:pt>
                <c:pt idx="3022">
                  <c:v>1689.4973004523567</c:v>
                </c:pt>
                <c:pt idx="3023">
                  <c:v>1646.1768568510142</c:v>
                </c:pt>
                <c:pt idx="3024">
                  <c:v>1621.0966000291844</c:v>
                </c:pt>
                <c:pt idx="3025">
                  <c:v>1523.0555960893039</c:v>
                </c:pt>
                <c:pt idx="3026">
                  <c:v>1504.8154093097914</c:v>
                </c:pt>
                <c:pt idx="3027">
                  <c:v>1500.2553626149131</c:v>
                </c:pt>
                <c:pt idx="3028">
                  <c:v>1650.7369035458923</c:v>
                </c:pt>
                <c:pt idx="3029">
                  <c:v>1859.9290456734277</c:v>
                </c:pt>
                <c:pt idx="3030">
                  <c:v>2196.8024952575515</c:v>
                </c:pt>
                <c:pt idx="3031">
                  <c:v>2123.2717423026411</c:v>
                </c:pt>
                <c:pt idx="3032">
                  <c:v>2139.2319057347149</c:v>
                </c:pt>
                <c:pt idx="3033">
                  <c:v>2094.7714504596529</c:v>
                </c:pt>
                <c:pt idx="3034">
                  <c:v>1956.2600321027289</c:v>
                </c:pt>
                <c:pt idx="3035">
                  <c:v>1879.3092441266599</c:v>
                </c:pt>
                <c:pt idx="3036">
                  <c:v>1858.7890339997082</c:v>
                </c:pt>
                <c:pt idx="3037">
                  <c:v>1872.4691740843427</c:v>
                </c:pt>
                <c:pt idx="3038">
                  <c:v>1894.1293958850142</c:v>
                </c:pt>
                <c:pt idx="3039">
                  <c:v>1807.4885086823292</c:v>
                </c:pt>
                <c:pt idx="3040">
                  <c:v>1943.7199036918139</c:v>
                </c:pt>
                <c:pt idx="3041">
                  <c:v>1834.8487888515981</c:v>
                </c:pt>
                <c:pt idx="3042">
                  <c:v>1870.7591565737634</c:v>
                </c:pt>
                <c:pt idx="3043">
                  <c:v>1916.929629359405</c:v>
                </c:pt>
                <c:pt idx="3044">
                  <c:v>1915.2196118488255</c:v>
                </c:pt>
                <c:pt idx="3045">
                  <c:v>2070.8312053115424</c:v>
                </c:pt>
                <c:pt idx="3046">
                  <c:v>2020.1006858310232</c:v>
                </c:pt>
                <c:pt idx="3047">
                  <c:v>1963.1001021450459</c:v>
                </c:pt>
                <c:pt idx="3048">
                  <c:v>1984.1903181088576</c:v>
                </c:pt>
                <c:pt idx="3049">
                  <c:v>1914.6496060119655</c:v>
                </c:pt>
                <c:pt idx="3050">
                  <c:v>1914.079600175106</c:v>
                </c:pt>
                <c:pt idx="3051">
                  <c:v>1964.8101196556256</c:v>
                </c:pt>
                <c:pt idx="3052">
                  <c:v>2081.0913103750186</c:v>
                </c:pt>
                <c:pt idx="3053">
                  <c:v>2382.6243980738363</c:v>
                </c:pt>
                <c:pt idx="3054">
                  <c:v>2148.9220049613309</c:v>
                </c:pt>
                <c:pt idx="3055">
                  <c:v>2095.9114621333724</c:v>
                </c:pt>
                <c:pt idx="3056">
                  <c:v>2230.432839632278</c:v>
                </c:pt>
                <c:pt idx="3057">
                  <c:v>2004.7105282358093</c:v>
                </c:pt>
                <c:pt idx="3058">
                  <c:v>1901.5394717641911</c:v>
                </c:pt>
                <c:pt idx="3059">
                  <c:v>1664.9870494673867</c:v>
                </c:pt>
                <c:pt idx="3060">
                  <c:v>1604.566430760251</c:v>
                </c:pt>
                <c:pt idx="3061">
                  <c:v>1627.9366700715016</c:v>
                </c:pt>
                <c:pt idx="3062">
                  <c:v>1614.826535823727</c:v>
                </c:pt>
                <c:pt idx="3063">
                  <c:v>1773.8581643076027</c:v>
                </c:pt>
                <c:pt idx="3064">
                  <c:v>1805.7784911717497</c:v>
                </c:pt>
                <c:pt idx="3065">
                  <c:v>1730.5377207062602</c:v>
                </c:pt>
                <c:pt idx="3066">
                  <c:v>1705.4574638844304</c:v>
                </c:pt>
                <c:pt idx="3067">
                  <c:v>1762.4580475704072</c:v>
                </c:pt>
                <c:pt idx="3068">
                  <c:v>1689.4973004523567</c:v>
                </c:pt>
                <c:pt idx="3069">
                  <c:v>1755.61797752809</c:v>
                </c:pt>
                <c:pt idx="3070">
                  <c:v>1789.8183277396763</c:v>
                </c:pt>
                <c:pt idx="3071">
                  <c:v>1805.7784911717497</c:v>
                </c:pt>
                <c:pt idx="3072">
                  <c:v>1862.7790748577268</c:v>
                </c:pt>
                <c:pt idx="3073">
                  <c:v>1901.5394717641911</c:v>
                </c:pt>
                <c:pt idx="3074">
                  <c:v>1867.3391215526049</c:v>
                </c:pt>
                <c:pt idx="3075">
                  <c:v>1953.9800087552899</c:v>
                </c:pt>
                <c:pt idx="3076">
                  <c:v>2174.0022617831605</c:v>
                </c:pt>
                <c:pt idx="3077">
                  <c:v>2358.1141470888665</c:v>
                </c:pt>
                <c:pt idx="3078">
                  <c:v>2372.9342988472204</c:v>
                </c:pt>
                <c:pt idx="3079">
                  <c:v>2349.5640595359696</c:v>
                </c:pt>
                <c:pt idx="3080">
                  <c:v>2111.8716255654458</c:v>
                </c:pt>
                <c:pt idx="3081">
                  <c:v>1953.9800087552899</c:v>
                </c:pt>
                <c:pt idx="3082">
                  <c:v>1663.2770319568071</c:v>
                </c:pt>
                <c:pt idx="3083">
                  <c:v>1406.7744053699109</c:v>
                </c:pt>
                <c:pt idx="3084">
                  <c:v>1363.4539617685684</c:v>
                </c:pt>
                <c:pt idx="3085">
                  <c:v>1331.5336349044214</c:v>
                </c:pt>
                <c:pt idx="3086">
                  <c:v>1269.9730045235665</c:v>
                </c:pt>
                <c:pt idx="3087">
                  <c:v>1254.0128410914929</c:v>
                </c:pt>
                <c:pt idx="3088">
                  <c:v>1317.8534948197871</c:v>
                </c:pt>
                <c:pt idx="3089">
                  <c:v>1313.293448124909</c:v>
                </c:pt>
                <c:pt idx="3090">
                  <c:v>1315.573471472348</c:v>
                </c:pt>
                <c:pt idx="3091">
                  <c:v>1317.8534948197871</c:v>
                </c:pt>
                <c:pt idx="3092">
                  <c:v>1299.6133080402744</c:v>
                </c:pt>
                <c:pt idx="3093">
                  <c:v>1340.6537282941777</c:v>
                </c:pt>
                <c:pt idx="3094">
                  <c:v>1308.7334014300307</c:v>
                </c:pt>
                <c:pt idx="3095">
                  <c:v>1342.9337516416167</c:v>
                </c:pt>
                <c:pt idx="3096">
                  <c:v>1301.8933313877135</c:v>
                </c:pt>
                <c:pt idx="3097">
                  <c:v>1317.8534948197871</c:v>
                </c:pt>
                <c:pt idx="3098">
                  <c:v>1297.3332846928352</c:v>
                </c:pt>
                <c:pt idx="3099">
                  <c:v>1315.573471472348</c:v>
                </c:pt>
                <c:pt idx="3100">
                  <c:v>1383.9741718955204</c:v>
                </c:pt>
                <c:pt idx="3101">
                  <c:v>1502.5353859623524</c:v>
                </c:pt>
                <c:pt idx="3102">
                  <c:v>1712.2975339267475</c:v>
                </c:pt>
                <c:pt idx="3103">
                  <c:v>1707.7374872318694</c:v>
                </c:pt>
                <c:pt idx="3104">
                  <c:v>1557.2559463008904</c:v>
                </c:pt>
                <c:pt idx="3105">
                  <c:v>1475.1751057930833</c:v>
                </c:pt>
                <c:pt idx="3106">
                  <c:v>1440.9747555814972</c:v>
                </c:pt>
                <c:pt idx="3107">
                  <c:v>1333.8136582518607</c:v>
                </c:pt>
                <c:pt idx="3108">
                  <c:v>1313.293448124909</c:v>
                </c:pt>
                <c:pt idx="3109">
                  <c:v>1333.8136582518607</c:v>
                </c:pt>
                <c:pt idx="3110">
                  <c:v>1402.2143586750331</c:v>
                </c:pt>
                <c:pt idx="3111">
                  <c:v>1320.1335181672259</c:v>
                </c:pt>
                <c:pt idx="3112">
                  <c:v>1370.2940318108858</c:v>
                </c:pt>
                <c:pt idx="3113">
                  <c:v>1386.2541952429592</c:v>
                </c:pt>
                <c:pt idx="3114">
                  <c:v>1429.5746388443017</c:v>
                </c:pt>
                <c:pt idx="3115">
                  <c:v>1409.05442871735</c:v>
                </c:pt>
                <c:pt idx="3116">
                  <c:v>1523.0555960893039</c:v>
                </c:pt>
                <c:pt idx="3117">
                  <c:v>1500.2553626149131</c:v>
                </c:pt>
                <c:pt idx="3118">
                  <c:v>1468.3350357507663</c:v>
                </c:pt>
                <c:pt idx="3119">
                  <c:v>1413.6144754122283</c:v>
                </c:pt>
                <c:pt idx="3120">
                  <c:v>1397.6543119801547</c:v>
                </c:pt>
                <c:pt idx="3121">
                  <c:v>1393.0942652852766</c:v>
                </c:pt>
                <c:pt idx="3122">
                  <c:v>1383.9741718955204</c:v>
                </c:pt>
                <c:pt idx="3123">
                  <c:v>1363.4539617685684</c:v>
                </c:pt>
                <c:pt idx="3124">
                  <c:v>1377.1341018532032</c:v>
                </c:pt>
                <c:pt idx="3125">
                  <c:v>1402.2143586750331</c:v>
                </c:pt>
                <c:pt idx="3126">
                  <c:v>1456.9349190135708</c:v>
                </c:pt>
                <c:pt idx="3127">
                  <c:v>1479.7351524879616</c:v>
                </c:pt>
                <c:pt idx="3128">
                  <c:v>1504.8154093097914</c:v>
                </c:pt>
                <c:pt idx="3129">
                  <c:v>1431.8546621917408</c:v>
                </c:pt>
                <c:pt idx="3130">
                  <c:v>1386.2541952429592</c:v>
                </c:pt>
                <c:pt idx="3131">
                  <c:v>1411.3344520647893</c:v>
                </c:pt>
                <c:pt idx="3132">
                  <c:v>1324.6935648621043</c:v>
                </c:pt>
                <c:pt idx="3133">
                  <c:v>1352.0538450313732</c:v>
                </c:pt>
                <c:pt idx="3134">
                  <c:v>1386.2541952429592</c:v>
                </c:pt>
                <c:pt idx="3135">
                  <c:v>1582.33620312272</c:v>
                </c:pt>
                <c:pt idx="3136">
                  <c:v>1646.1768568510142</c:v>
                </c:pt>
                <c:pt idx="3137">
                  <c:v>1710.0175105793085</c:v>
                </c:pt>
                <c:pt idx="3138">
                  <c:v>1710.0175105793085</c:v>
                </c:pt>
                <c:pt idx="3139">
                  <c:v>1655.2969502407705</c:v>
                </c:pt>
                <c:pt idx="3140">
                  <c:v>1675.8171603677224</c:v>
                </c:pt>
                <c:pt idx="3141">
                  <c:v>1637.056763461258</c:v>
                </c:pt>
                <c:pt idx="3142">
                  <c:v>1566.3760396906464</c:v>
                </c:pt>
                <c:pt idx="3143">
                  <c:v>1550.415876258573</c:v>
                </c:pt>
                <c:pt idx="3144">
                  <c:v>1311.0134247774699</c:v>
                </c:pt>
                <c:pt idx="3145">
                  <c:v>1493.4152925725962</c:v>
                </c:pt>
                <c:pt idx="3146">
                  <c:v>1491.1352692251571</c:v>
                </c:pt>
                <c:pt idx="3147">
                  <c:v>1463.774989055888</c:v>
                </c:pt>
                <c:pt idx="3148">
                  <c:v>1516.2155260469867</c:v>
                </c:pt>
                <c:pt idx="3149">
                  <c:v>1541.2957828688166</c:v>
                </c:pt>
                <c:pt idx="3150">
                  <c:v>1698.6173938421132</c:v>
                </c:pt>
                <c:pt idx="3151">
                  <c:v>1639.3367868086971</c:v>
                </c:pt>
                <c:pt idx="3152">
                  <c:v>1630.2166934189406</c:v>
                </c:pt>
                <c:pt idx="3153">
                  <c:v>1623.3766233766235</c:v>
                </c:pt>
                <c:pt idx="3154">
                  <c:v>1447.8148256238146</c:v>
                </c:pt>
                <c:pt idx="3155">
                  <c:v>1363.4539617685684</c:v>
                </c:pt>
                <c:pt idx="3156">
                  <c:v>1197.0122574055158</c:v>
                </c:pt>
                <c:pt idx="3157">
                  <c:v>1114.9314168977091</c:v>
                </c:pt>
                <c:pt idx="3158">
                  <c:v>1021.450459652707</c:v>
                </c:pt>
                <c:pt idx="3159">
                  <c:v>1044.2506931270977</c:v>
                </c:pt>
                <c:pt idx="3160">
                  <c:v>1069.3309499489276</c:v>
                </c:pt>
                <c:pt idx="3161">
                  <c:v>1137.7316503720999</c:v>
                </c:pt>
                <c:pt idx="3162">
                  <c:v>1187.8921640157596</c:v>
                </c:pt>
                <c:pt idx="3163">
                  <c:v>1244.8927477017367</c:v>
                </c:pt>
                <c:pt idx="3164">
                  <c:v>1511.6554793521086</c:v>
                </c:pt>
                <c:pt idx="3165">
                  <c:v>1830.8587479935793</c:v>
                </c:pt>
                <c:pt idx="3166">
                  <c:v>1835.4187946884579</c:v>
                </c:pt>
                <c:pt idx="3167">
                  <c:v>1707.7374872318694</c:v>
                </c:pt>
                <c:pt idx="3168">
                  <c:v>1584.6162264701591</c:v>
                </c:pt>
                <c:pt idx="3169">
                  <c:v>1591.4562965124765</c:v>
                </c:pt>
                <c:pt idx="3170">
                  <c:v>1525.3356194367432</c:v>
                </c:pt>
                <c:pt idx="3171">
                  <c:v>1513.9355026995479</c:v>
                </c:pt>
                <c:pt idx="3172">
                  <c:v>1525.3356194367432</c:v>
                </c:pt>
                <c:pt idx="3173">
                  <c:v>1767.0180942652855</c:v>
                </c:pt>
                <c:pt idx="3174">
                  <c:v>2017.8206624835841</c:v>
                </c:pt>
                <c:pt idx="3175">
                  <c:v>2070.2611994746826</c:v>
                </c:pt>
                <c:pt idx="3176">
                  <c:v>1976.7802422296807</c:v>
                </c:pt>
                <c:pt idx="3177">
                  <c:v>1940.2998686706551</c:v>
                </c:pt>
                <c:pt idx="3178">
                  <c:v>1842.258864730775</c:v>
                </c:pt>
                <c:pt idx="3179">
                  <c:v>1812.6185612140671</c:v>
                </c:pt>
                <c:pt idx="3180">
                  <c:v>1851.378958120531</c:v>
                </c:pt>
                <c:pt idx="3181">
                  <c:v>1885.5793083321175</c:v>
                </c:pt>
                <c:pt idx="3182">
                  <c:v>1855.9390048154096</c:v>
                </c:pt>
                <c:pt idx="3183">
                  <c:v>1883.2992849846785</c:v>
                </c:pt>
                <c:pt idx="3184">
                  <c:v>1953.9800087552899</c:v>
                </c:pt>
                <c:pt idx="3185">
                  <c:v>1981.3402889245588</c:v>
                </c:pt>
                <c:pt idx="3186">
                  <c:v>1965.3801254924849</c:v>
                </c:pt>
                <c:pt idx="3187">
                  <c:v>1949.4199620604118</c:v>
                </c:pt>
                <c:pt idx="3188">
                  <c:v>1928.89975193346</c:v>
                </c:pt>
                <c:pt idx="3189">
                  <c:v>1931.1797752808991</c:v>
                </c:pt>
                <c:pt idx="3190">
                  <c:v>1735.0977674011383</c:v>
                </c:pt>
                <c:pt idx="3191">
                  <c:v>1550.415876258573</c:v>
                </c:pt>
                <c:pt idx="3192">
                  <c:v>1495.695315920035</c:v>
                </c:pt>
                <c:pt idx="3193">
                  <c:v>1502.5353859623524</c:v>
                </c:pt>
                <c:pt idx="3194">
                  <c:v>1491.1352692251571</c:v>
                </c:pt>
                <c:pt idx="3195">
                  <c:v>1443.2547789289363</c:v>
                </c:pt>
                <c:pt idx="3196">
                  <c:v>1507.0954326572305</c:v>
                </c:pt>
                <c:pt idx="3197">
                  <c:v>1725.9776740113821</c:v>
                </c:pt>
                <c:pt idx="3198">
                  <c:v>1906.0995184590693</c:v>
                </c:pt>
                <c:pt idx="3199">
                  <c:v>1967.6601488399244</c:v>
                </c:pt>
                <c:pt idx="3200">
                  <c:v>1992.7404056617543</c:v>
                </c:pt>
                <c:pt idx="3201">
                  <c:v>2006.4205457463884</c:v>
                </c:pt>
                <c:pt idx="3202">
                  <c:v>1983.6203122719976</c:v>
                </c:pt>
                <c:pt idx="3203">
                  <c:v>1883.2992849846785</c:v>
                </c:pt>
                <c:pt idx="3204">
                  <c:v>1776.1381876550417</c:v>
                </c:pt>
                <c:pt idx="3205">
                  <c:v>1789.8183277396763</c:v>
                </c:pt>
                <c:pt idx="3206">
                  <c:v>1646.1768568510142</c:v>
                </c:pt>
                <c:pt idx="3207">
                  <c:v>1511.6554793521086</c:v>
                </c:pt>
                <c:pt idx="3208">
                  <c:v>1491.1352692251571</c:v>
                </c:pt>
                <c:pt idx="3209">
                  <c:v>1445.5348022763756</c:v>
                </c:pt>
                <c:pt idx="3210">
                  <c:v>1377.1341018532032</c:v>
                </c:pt>
                <c:pt idx="3211">
                  <c:v>1374.8540785057639</c:v>
                </c:pt>
                <c:pt idx="3212">
                  <c:v>1386.2541952429592</c:v>
                </c:pt>
                <c:pt idx="3213">
                  <c:v>1525.3356194367432</c:v>
                </c:pt>
                <c:pt idx="3214">
                  <c:v>1623.3766233766235</c:v>
                </c:pt>
                <c:pt idx="3215">
                  <c:v>1589.1762731650372</c:v>
                </c:pt>
                <c:pt idx="3216">
                  <c:v>1534.4557128264996</c:v>
                </c:pt>
                <c:pt idx="3217">
                  <c:v>1554.9759229534511</c:v>
                </c:pt>
                <c:pt idx="3218">
                  <c:v>1509.3754560046696</c:v>
                </c:pt>
                <c:pt idx="3219">
                  <c:v>1511.6554793521086</c:v>
                </c:pt>
                <c:pt idx="3220">
                  <c:v>1598.2963665547936</c:v>
                </c:pt>
                <c:pt idx="3221">
                  <c:v>1908.3795418065083</c:v>
                </c:pt>
                <c:pt idx="3222">
                  <c:v>2029.2207792207791</c:v>
                </c:pt>
                <c:pt idx="3223">
                  <c:v>1919.7796585437034</c:v>
                </c:pt>
                <c:pt idx="3224">
                  <c:v>1657.5769735882095</c:v>
                </c:pt>
                <c:pt idx="3225">
                  <c:v>1413.6144754122283</c:v>
                </c:pt>
                <c:pt idx="3226">
                  <c:v>1427.2946154968629</c:v>
                </c:pt>
                <c:pt idx="3227">
                  <c:v>1306.4533780825916</c:v>
                </c:pt>
                <c:pt idx="3228">
                  <c:v>1284.9117176003583</c:v>
                </c:pt>
                <c:pt idx="3229">
                  <c:v>1280.7073548607943</c:v>
                </c:pt>
                <c:pt idx="3230">
                  <c:v>1293.5393263080182</c:v>
                </c:pt>
                <c:pt idx="3231">
                  <c:v>1269.4166794660648</c:v>
                </c:pt>
                <c:pt idx="3232">
                  <c:v>1239.5483732884529</c:v>
                </c:pt>
                <c:pt idx="3233">
                  <c:v>1181.9914637295744</c:v>
                </c:pt>
                <c:pt idx="3234">
                  <c:v>1201.6817454428599</c:v>
                </c:pt>
                <c:pt idx="3235">
                  <c:v>1202.0739098456625</c:v>
                </c:pt>
                <c:pt idx="3236">
                  <c:v>1181.6722610371489</c:v>
                </c:pt>
                <c:pt idx="3237">
                  <c:v>1332.4091645569486</c:v>
                </c:pt>
                <c:pt idx="3238">
                  <c:v>1399.2594494952541</c:v>
                </c:pt>
                <c:pt idx="3239">
                  <c:v>1341.9214218059076</c:v>
                </c:pt>
                <c:pt idx="3240">
                  <c:v>1326.4081426324697</c:v>
                </c:pt>
                <c:pt idx="3241">
                  <c:v>1318.2547791985619</c:v>
                </c:pt>
                <c:pt idx="3242">
                  <c:v>1337.4160955104624</c:v>
                </c:pt>
                <c:pt idx="3243">
                  <c:v>1371.6255656980206</c:v>
                </c:pt>
                <c:pt idx="3244">
                  <c:v>1472.238436565249</c:v>
                </c:pt>
                <c:pt idx="3245">
                  <c:v>1668.5302060667693</c:v>
                </c:pt>
                <c:pt idx="3246">
                  <c:v>1729.1697067113864</c:v>
                </c:pt>
                <c:pt idx="3247">
                  <c:v>1595.6059391244075</c:v>
                </c:pt>
                <c:pt idx="3248">
                  <c:v>1417.9647604853467</c:v>
                </c:pt>
                <c:pt idx="3249">
                  <c:v>1256.940391090805</c:v>
                </c:pt>
                <c:pt idx="3250">
                  <c:v>1189.2236979028944</c:v>
                </c:pt>
                <c:pt idx="3251">
                  <c:v>1050.3520358744702</c:v>
                </c:pt>
                <c:pt idx="3252">
                  <c:v>1044.6428580735003</c:v>
                </c:pt>
                <c:pt idx="3253">
                  <c:v>1047.999052175654</c:v>
                </c:pt>
                <c:pt idx="3254">
                  <c:v>1037.675106193173</c:v>
                </c:pt>
                <c:pt idx="3255">
                  <c:v>1062.7188831111141</c:v>
                </c:pt>
                <c:pt idx="3256">
                  <c:v>1080.0653002861554</c:v>
                </c:pt>
                <c:pt idx="3257">
                  <c:v>1062.9195247569014</c:v>
                </c:pt>
                <c:pt idx="3258">
                  <c:v>1063.2387277211271</c:v>
                </c:pt>
                <c:pt idx="3259">
                  <c:v>1038.386473560201</c:v>
                </c:pt>
                <c:pt idx="3260">
                  <c:v>1059.9463745379785</c:v>
                </c:pt>
                <c:pt idx="3261">
                  <c:v>1090.1794835596768</c:v>
                </c:pt>
                <c:pt idx="3262">
                  <c:v>1095.5876994355654</c:v>
                </c:pt>
                <c:pt idx="3263">
                  <c:v>1151.4938718712838</c:v>
                </c:pt>
                <c:pt idx="3264">
                  <c:v>1164.1434410810646</c:v>
                </c:pt>
                <c:pt idx="3265">
                  <c:v>1185.9951850951511</c:v>
                </c:pt>
                <c:pt idx="3266">
                  <c:v>1174.2485043786137</c:v>
                </c:pt>
                <c:pt idx="3267">
                  <c:v>1219.0372831374734</c:v>
                </c:pt>
                <c:pt idx="3268">
                  <c:v>1241.7280763565982</c:v>
                </c:pt>
                <c:pt idx="3269">
                  <c:v>1332.8742886316284</c:v>
                </c:pt>
                <c:pt idx="3270">
                  <c:v>1423.5553775114788</c:v>
                </c:pt>
                <c:pt idx="3271">
                  <c:v>1359.9336064681163</c:v>
                </c:pt>
                <c:pt idx="3272">
                  <c:v>1239.1926893331388</c:v>
                </c:pt>
                <c:pt idx="3273">
                  <c:v>1050.0145924147005</c:v>
                </c:pt>
                <c:pt idx="3274">
                  <c:v>1018.9241942360196</c:v>
                </c:pt>
                <c:pt idx="3275">
                  <c:v>943.01765682696271</c:v>
                </c:pt>
                <c:pt idx="3276">
                  <c:v>922.7163288413426</c:v>
                </c:pt>
                <c:pt idx="3277">
                  <c:v>893.85123361066792</c:v>
                </c:pt>
                <c:pt idx="3278">
                  <c:v>848.65205049706117</c:v>
                </c:pt>
                <c:pt idx="3279">
                  <c:v>864.8766964939274</c:v>
                </c:pt>
                <c:pt idx="3280">
                  <c:v>864.41157173974727</c:v>
                </c:pt>
                <c:pt idx="3281">
                  <c:v>882.15927383716337</c:v>
                </c:pt>
                <c:pt idx="3282">
                  <c:v>874.59871618004593</c:v>
                </c:pt>
                <c:pt idx="3283">
                  <c:v>893.76915219611863</c:v>
                </c:pt>
                <c:pt idx="3284">
                  <c:v>918.84940901794846</c:v>
                </c:pt>
                <c:pt idx="3285">
                  <c:v>909.72931562819213</c:v>
                </c:pt>
                <c:pt idx="3286">
                  <c:v>932.52954910258291</c:v>
                </c:pt>
                <c:pt idx="3287">
                  <c:v>959.88982927185168</c:v>
                </c:pt>
                <c:pt idx="3288">
                  <c:v>943.92966583977829</c:v>
                </c:pt>
                <c:pt idx="3289">
                  <c:v>889.2091055012404</c:v>
                </c:pt>
                <c:pt idx="3290">
                  <c:v>891.48912884867946</c:v>
                </c:pt>
                <c:pt idx="3291">
                  <c:v>907.44929228075307</c:v>
                </c:pt>
                <c:pt idx="3292">
                  <c:v>875.52896541660596</c:v>
                </c:pt>
                <c:pt idx="3293">
                  <c:v>882.36903545892301</c:v>
                </c:pt>
                <c:pt idx="3294">
                  <c:v>932.52954910258291</c:v>
                </c:pt>
                <c:pt idx="3295">
                  <c:v>955.32978257697368</c:v>
                </c:pt>
                <c:pt idx="3296">
                  <c:v>957.60980592441274</c:v>
                </c:pt>
                <c:pt idx="3297">
                  <c:v>999.93615964199</c:v>
                </c:pt>
                <c:pt idx="3298">
                  <c:v>961.27608355841949</c:v>
                </c:pt>
                <c:pt idx="3299">
                  <c:v>929.13687455294064</c:v>
                </c:pt>
                <c:pt idx="3300">
                  <c:v>906.61936413888679</c:v>
                </c:pt>
                <c:pt idx="3301">
                  <c:v>870.00218930947904</c:v>
                </c:pt>
                <c:pt idx="3302">
                  <c:v>856.87837482594625</c:v>
                </c:pt>
                <c:pt idx="3303">
                  <c:v>803.80855133876855</c:v>
                </c:pt>
                <c:pt idx="3304">
                  <c:v>835.26375344873577</c:v>
                </c:pt>
                <c:pt idx="3305">
                  <c:v>799.55858817574381</c:v>
                </c:pt>
                <c:pt idx="3306">
                  <c:v>808.31387709061391</c:v>
                </c:pt>
                <c:pt idx="3307">
                  <c:v>791.49642504515759</c:v>
                </c:pt>
                <c:pt idx="3308">
                  <c:v>771.69670226120627</c:v>
                </c:pt>
                <c:pt idx="3309">
                  <c:v>762.45804864021181</c:v>
                </c:pt>
                <c:pt idx="3310">
                  <c:v>792.45403502503405</c:v>
                </c:pt>
                <c:pt idx="3311">
                  <c:v>732.18845862742512</c:v>
                </c:pt>
                <c:pt idx="3312">
                  <c:v>775.46330180530674</c:v>
                </c:pt>
                <c:pt idx="3313">
                  <c:v>695.62600365385049</c:v>
                </c:pt>
                <c:pt idx="3314">
                  <c:v>732.27053895477457</c:v>
                </c:pt>
                <c:pt idx="3315">
                  <c:v>724.56405977950249</c:v>
                </c:pt>
                <c:pt idx="3316">
                  <c:v>708.95045978317091</c:v>
                </c:pt>
                <c:pt idx="3317">
                  <c:v>701.34430197439247</c:v>
                </c:pt>
                <c:pt idx="3318">
                  <c:v>791.93419041502102</c:v>
                </c:pt>
                <c:pt idx="3319">
                  <c:v>812.96512517601354</c:v>
                </c:pt>
                <c:pt idx="3320">
                  <c:v>795.29950449314674</c:v>
                </c:pt>
                <c:pt idx="3321">
                  <c:v>791.66970730662854</c:v>
                </c:pt>
                <c:pt idx="3322">
                  <c:v>809.39916890850043</c:v>
                </c:pt>
                <c:pt idx="3323">
                  <c:v>795.68254783277735</c:v>
                </c:pt>
                <c:pt idx="3324">
                  <c:v>802.89654178235298</c:v>
                </c:pt>
                <c:pt idx="3325">
                  <c:v>794.77965879593398</c:v>
                </c:pt>
                <c:pt idx="3326">
                  <c:v>797.24208383721611</c:v>
                </c:pt>
                <c:pt idx="3327">
                  <c:v>796.91376089701851</c:v>
                </c:pt>
                <c:pt idx="3328">
                  <c:v>803.44374795108229</c:v>
                </c:pt>
                <c:pt idx="3329">
                  <c:v>814.50642068490799</c:v>
                </c:pt>
                <c:pt idx="3330">
                  <c:v>896.98854557148968</c:v>
                </c:pt>
                <c:pt idx="3331">
                  <c:v>886.18123461108451</c:v>
                </c:pt>
                <c:pt idx="3332">
                  <c:v>897.11622740949974</c:v>
                </c:pt>
                <c:pt idx="3333">
                  <c:v>888.98110338393656</c:v>
                </c:pt>
                <c:pt idx="3334">
                  <c:v>879.61476792493181</c:v>
                </c:pt>
                <c:pt idx="3335">
                  <c:v>866.04406863916324</c:v>
                </c:pt>
                <c:pt idx="3336">
                  <c:v>792.15307201275289</c:v>
                </c:pt>
                <c:pt idx="3337">
                  <c:v>775.2079381292865</c:v>
                </c:pt>
                <c:pt idx="3338">
                  <c:v>754.79716934480064</c:v>
                </c:pt>
                <c:pt idx="3339">
                  <c:v>760.07770338267915</c:v>
                </c:pt>
                <c:pt idx="3340">
                  <c:v>743.79833671458016</c:v>
                </c:pt>
                <c:pt idx="3341">
                  <c:v>763.64365978609226</c:v>
                </c:pt>
                <c:pt idx="3342">
                  <c:v>753.52947637667091</c:v>
                </c:pt>
                <c:pt idx="3343">
                  <c:v>800.17875415225046</c:v>
                </c:pt>
                <c:pt idx="3344">
                  <c:v>819.66839449154838</c:v>
                </c:pt>
                <c:pt idx="3345">
                  <c:v>776.2202690521957</c:v>
                </c:pt>
                <c:pt idx="3346">
                  <c:v>669.07741167450342</c:v>
                </c:pt>
                <c:pt idx="3347">
                  <c:v>569.01174697600436</c:v>
                </c:pt>
                <c:pt idx="3348">
                  <c:v>579.84641867972607</c:v>
                </c:pt>
                <c:pt idx="3349">
                  <c:v>864.12884867941057</c:v>
                </c:pt>
                <c:pt idx="3350">
                  <c:v>662.30118255119123</c:v>
                </c:pt>
                <c:pt idx="3351">
                  <c:v>711.47672628705811</c:v>
                </c:pt>
                <c:pt idx="3352">
                  <c:v>725.53078973535105</c:v>
                </c:pt>
                <c:pt idx="3353">
                  <c:v>679.71144037343765</c:v>
                </c:pt>
                <c:pt idx="3354">
                  <c:v>712.89034050154237</c:v>
                </c:pt>
                <c:pt idx="3355">
                  <c:v>673.58273742634879</c:v>
                </c:pt>
                <c:pt idx="3356">
                  <c:v>738.2168393926205</c:v>
                </c:pt>
                <c:pt idx="3357">
                  <c:v>851.47015949365755</c:v>
                </c:pt>
                <c:pt idx="3358">
                  <c:v>826.99182869639003</c:v>
                </c:pt>
                <c:pt idx="3359">
                  <c:v>782.7320153389154</c:v>
                </c:pt>
                <c:pt idx="3360">
                  <c:v>699.74828552246515</c:v>
                </c:pt>
                <c:pt idx="3361">
                  <c:v>664.66328622597973</c:v>
                </c:pt>
                <c:pt idx="3362">
                  <c:v>674.88691084196705</c:v>
                </c:pt>
                <c:pt idx="3363">
                  <c:v>654.14781857368359</c:v>
                </c:pt>
                <c:pt idx="3364">
                  <c:v>644.05187511620659</c:v>
                </c:pt>
                <c:pt idx="3365">
                  <c:v>708.64037652311754</c:v>
                </c:pt>
                <c:pt idx="3366">
                  <c:v>742.53064361055044</c:v>
                </c:pt>
                <c:pt idx="3367">
                  <c:v>845.02225331054308</c:v>
                </c:pt>
                <c:pt idx="3368">
                  <c:v>822.40442152999537</c:v>
                </c:pt>
                <c:pt idx="3369">
                  <c:v>774.423610410881</c:v>
                </c:pt>
                <c:pt idx="3370">
                  <c:v>712.60761716940556</c:v>
                </c:pt>
                <c:pt idx="3371">
                  <c:v>699.04603826730909</c:v>
                </c:pt>
                <c:pt idx="3372">
                  <c:v>681.188895506927</c:v>
                </c:pt>
                <c:pt idx="3373">
                  <c:v>682.84875260605952</c:v>
                </c:pt>
                <c:pt idx="3374">
                  <c:v>668.43900493065246</c:v>
                </c:pt>
                <c:pt idx="3375">
                  <c:v>709.10550209269741</c:v>
                </c:pt>
                <c:pt idx="3376">
                  <c:v>700.5782142079313</c:v>
                </c:pt>
                <c:pt idx="3377">
                  <c:v>690.79235387460767</c:v>
                </c:pt>
                <c:pt idx="3378">
                  <c:v>723.91653333147929</c:v>
                </c:pt>
                <c:pt idx="3379">
                  <c:v>745.1663513210035</c:v>
                </c:pt>
                <c:pt idx="3380">
                  <c:v>794.43309536019194</c:v>
                </c:pt>
                <c:pt idx="3381">
                  <c:v>844.53888806081886</c:v>
                </c:pt>
                <c:pt idx="3382">
                  <c:v>857.22493826168807</c:v>
                </c:pt>
                <c:pt idx="3383">
                  <c:v>688.56705092660161</c:v>
                </c:pt>
                <c:pt idx="3384">
                  <c:v>642.96658397781994</c:v>
                </c:pt>
                <c:pt idx="3385">
                  <c:v>573.10666864490258</c:v>
                </c:pt>
                <c:pt idx="3386">
                  <c:v>579.41777325185978</c:v>
                </c:pt>
                <c:pt idx="3387">
                  <c:v>582.38180380058566</c:v>
                </c:pt>
                <c:pt idx="3388">
                  <c:v>608.19166794138789</c:v>
                </c:pt>
                <c:pt idx="3389">
                  <c:v>661.20677075733261</c:v>
                </c:pt>
                <c:pt idx="3390">
                  <c:v>743.28761126513939</c:v>
                </c:pt>
                <c:pt idx="3391">
                  <c:v>831.1323510605489</c:v>
                </c:pt>
                <c:pt idx="3392">
                  <c:v>848.78885163154359</c:v>
                </c:pt>
                <c:pt idx="3393">
                  <c:v>744.76506802942845</c:v>
                </c:pt>
                <c:pt idx="3394">
                  <c:v>684.00700423172339</c:v>
                </c:pt>
                <c:pt idx="3395">
                  <c:v>700.29549114759448</c:v>
                </c:pt>
                <c:pt idx="3396">
                  <c:v>738.23507961636483</c:v>
                </c:pt>
                <c:pt idx="3397">
                  <c:v>731.04844600240563</c:v>
                </c:pt>
                <c:pt idx="3398">
                  <c:v>693.80198454101924</c:v>
                </c:pt>
                <c:pt idx="3399">
                  <c:v>714.56843728081913</c:v>
                </c:pt>
                <c:pt idx="3400">
                  <c:v>737.39603177032632</c:v>
                </c:pt>
                <c:pt idx="3401">
                  <c:v>732.35261931609898</c:v>
                </c:pt>
                <c:pt idx="3402">
                  <c:v>731.7598133694338</c:v>
                </c:pt>
                <c:pt idx="3403">
                  <c:v>751.06705133538867</c:v>
                </c:pt>
                <c:pt idx="3404">
                  <c:v>791.25930295188152</c:v>
                </c:pt>
                <c:pt idx="3405">
                  <c:v>854.83547384358315</c:v>
                </c:pt>
                <c:pt idx="3406">
                  <c:v>859.12191772589654</c:v>
                </c:pt>
                <c:pt idx="3407">
                  <c:v>800.6073982211168</c:v>
                </c:pt>
                <c:pt idx="3408">
                  <c:v>716.95790197072404</c:v>
                </c:pt>
                <c:pt idx="3409">
                  <c:v>720.75186050842865</c:v>
                </c:pt>
                <c:pt idx="3410">
                  <c:v>704.45425373549779</c:v>
                </c:pt>
                <c:pt idx="3411">
                  <c:v>707.51860507314234</c:v>
                </c:pt>
                <c:pt idx="3412">
                  <c:v>737.70611421497972</c:v>
                </c:pt>
                <c:pt idx="3413">
                  <c:v>735.56289227382297</c:v>
                </c:pt>
                <c:pt idx="3414">
                  <c:v>821.09112798551735</c:v>
                </c:pt>
                <c:pt idx="3415">
                  <c:v>861.84882533197151</c:v>
                </c:pt>
                <c:pt idx="3416">
                  <c:v>768.86947325466281</c:v>
                </c:pt>
                <c:pt idx="3417">
                  <c:v>750.34656372058839</c:v>
                </c:pt>
                <c:pt idx="3418">
                  <c:v>774.04968650362252</c:v>
                </c:pt>
                <c:pt idx="3419">
                  <c:v>759.79498032234233</c:v>
                </c:pt>
                <c:pt idx="3420">
                  <c:v>768.24018733615901</c:v>
                </c:pt>
                <c:pt idx="3421">
                  <c:v>738.26243981608127</c:v>
                </c:pt>
                <c:pt idx="3422">
                  <c:v>746.35196267073388</c:v>
                </c:pt>
                <c:pt idx="3423">
                  <c:v>734.49584135918064</c:v>
                </c:pt>
                <c:pt idx="3424">
                  <c:v>742.7677661115265</c:v>
                </c:pt>
                <c:pt idx="3425">
                  <c:v>745.15723080143141</c:v>
                </c:pt>
                <c:pt idx="3426">
                  <c:v>786.18853080756264</c:v>
                </c:pt>
                <c:pt idx="3427">
                  <c:v>750.30096329712751</c:v>
                </c:pt>
                <c:pt idx="3428">
                  <c:v>825.29549142156895</c:v>
                </c:pt>
                <c:pt idx="3429">
                  <c:v>856.87837482594625</c:v>
                </c:pt>
                <c:pt idx="3430">
                  <c:v>862.06770801690311</c:v>
                </c:pt>
                <c:pt idx="3431">
                  <c:v>819.9875969121739</c:v>
                </c:pt>
                <c:pt idx="3432">
                  <c:v>722.74004093847122</c:v>
                </c:pt>
                <c:pt idx="3433">
                  <c:v>734.76032446757324</c:v>
                </c:pt>
                <c:pt idx="3434">
                  <c:v>731.38588959807532</c:v>
                </c:pt>
                <c:pt idx="3435">
                  <c:v>684.07084487892848</c:v>
                </c:pt>
                <c:pt idx="3436">
                  <c:v>700.09484950180706</c:v>
                </c:pt>
                <c:pt idx="3437">
                  <c:v>741.44535274396378</c:v>
                </c:pt>
                <c:pt idx="3438">
                  <c:v>849.28133672134004</c:v>
                </c:pt>
                <c:pt idx="3439">
                  <c:v>921.10207298107093</c:v>
                </c:pt>
                <c:pt idx="3440">
                  <c:v>910.55012433768616</c:v>
                </c:pt>
                <c:pt idx="3441">
                  <c:v>921.21151377993669</c:v>
                </c:pt>
                <c:pt idx="3442">
                  <c:v>899.00408581053637</c:v>
                </c:pt>
                <c:pt idx="3443">
                  <c:v>852.57369044808843</c:v>
                </c:pt>
                <c:pt idx="3444">
                  <c:v>841.69341913630603</c:v>
                </c:pt>
                <c:pt idx="3445">
                  <c:v>893.76915219611863</c:v>
                </c:pt>
                <c:pt idx="3446">
                  <c:v>930.77849119050381</c:v>
                </c:pt>
                <c:pt idx="3447">
                  <c:v>960.27287322303232</c:v>
                </c:pt>
                <c:pt idx="3448">
                  <c:v>951.34430197874133</c:v>
                </c:pt>
                <c:pt idx="3449">
                  <c:v>956.27827230907792</c:v>
                </c:pt>
                <c:pt idx="3450">
                  <c:v>940.9656355968275</c:v>
                </c:pt>
                <c:pt idx="3451">
                  <c:v>909.11826949175759</c:v>
                </c:pt>
                <c:pt idx="3452">
                  <c:v>933.99788426009991</c:v>
                </c:pt>
                <c:pt idx="3453">
                  <c:v>927.5226181490691</c:v>
                </c:pt>
                <c:pt idx="3454">
                  <c:v>948.20698974611958</c:v>
                </c:pt>
                <c:pt idx="3455">
                  <c:v>955.72194697977625</c:v>
                </c:pt>
                <c:pt idx="3456">
                  <c:v>937.75536274102842</c:v>
                </c:pt>
                <c:pt idx="3457">
                  <c:v>939.01393559728592</c:v>
                </c:pt>
                <c:pt idx="3458">
                  <c:v>876.02145047242732</c:v>
                </c:pt>
                <c:pt idx="3459">
                  <c:v>838.03626161417128</c:v>
                </c:pt>
                <c:pt idx="3460">
                  <c:v>849.37253784006168</c:v>
                </c:pt>
                <c:pt idx="3461">
                  <c:v>864.62133390510701</c:v>
                </c:pt>
                <c:pt idx="3462">
                  <c:v>857.7630236390454</c:v>
                </c:pt>
                <c:pt idx="3463">
                  <c:v>857.93630535691648</c:v>
                </c:pt>
                <c:pt idx="3464">
                  <c:v>876.78753840876345</c:v>
                </c:pt>
                <c:pt idx="3465">
                  <c:v>963.56522688183088</c:v>
                </c:pt>
                <c:pt idx="3466">
                  <c:v>933.74252167127963</c:v>
                </c:pt>
                <c:pt idx="3467">
                  <c:v>917.12571140751083</c:v>
                </c:pt>
                <c:pt idx="3468">
                  <c:v>946.7112943888859</c:v>
                </c:pt>
                <c:pt idx="3469">
                  <c:v>939.93506526557383</c:v>
                </c:pt>
                <c:pt idx="3470">
                  <c:v>945.24295936726867</c:v>
                </c:pt>
                <c:pt idx="3471">
                  <c:v>944.91463629117118</c:v>
                </c:pt>
                <c:pt idx="3472">
                  <c:v>926.1363638625013</c:v>
                </c:pt>
                <c:pt idx="3473">
                  <c:v>954.31745233356423</c:v>
                </c:pt>
                <c:pt idx="3474">
                  <c:v>932.97643390481846</c:v>
                </c:pt>
                <c:pt idx="3475">
                  <c:v>920.22654332854404</c:v>
                </c:pt>
                <c:pt idx="3476">
                  <c:v>938.25696794269697</c:v>
                </c:pt>
                <c:pt idx="3477">
                  <c:v>941.22099818564777</c:v>
                </c:pt>
                <c:pt idx="3478">
                  <c:v>955.15650140270247</c:v>
                </c:pt>
                <c:pt idx="3479">
                  <c:v>828.040639149463</c:v>
                </c:pt>
                <c:pt idx="3480">
                  <c:v>776.50299156893266</c:v>
                </c:pt>
                <c:pt idx="3481">
                  <c:v>817.29717138438752</c:v>
                </c:pt>
                <c:pt idx="3482">
                  <c:v>769.87268355607512</c:v>
                </c:pt>
                <c:pt idx="3483">
                  <c:v>783.30658116376128</c:v>
                </c:pt>
                <c:pt idx="3484">
                  <c:v>846.99219366972875</c:v>
                </c:pt>
                <c:pt idx="3485">
                  <c:v>870.67707582131868</c:v>
                </c:pt>
                <c:pt idx="3486">
                  <c:v>865.74310535508221</c:v>
                </c:pt>
                <c:pt idx="3487">
                  <c:v>864.95877736487671</c:v>
                </c:pt>
                <c:pt idx="3488">
                  <c:v>902.5244419263887</c:v>
                </c:pt>
                <c:pt idx="3489">
                  <c:v>946.3738509291162</c:v>
                </c:pt>
                <c:pt idx="3490">
                  <c:v>871.17868088708735</c:v>
                </c:pt>
                <c:pt idx="3491">
                  <c:v>930.74201098084029</c:v>
                </c:pt>
                <c:pt idx="3492">
                  <c:v>954.57281505828462</c:v>
                </c:pt>
                <c:pt idx="3493">
                  <c:v>963.0545017041901</c:v>
                </c:pt>
                <c:pt idx="3494">
                  <c:v>882.6426390868877</c:v>
                </c:pt>
                <c:pt idx="3495">
                  <c:v>975.45782993192245</c:v>
                </c:pt>
                <c:pt idx="3496">
                  <c:v>960.83831900395592</c:v>
                </c:pt>
                <c:pt idx="3497">
                  <c:v>1042.7093976182034</c:v>
                </c:pt>
                <c:pt idx="3498">
                  <c:v>1062.7827229429192</c:v>
                </c:pt>
                <c:pt idx="3499">
                  <c:v>1056.6357800438859</c:v>
                </c:pt>
                <c:pt idx="3500">
                  <c:v>1096.3629069061988</c:v>
                </c:pt>
                <c:pt idx="3501">
                  <c:v>1106.4588502277759</c:v>
                </c:pt>
                <c:pt idx="3502">
                  <c:v>1114.2200500742808</c:v>
                </c:pt>
                <c:pt idx="3503">
                  <c:v>1070.0058379556669</c:v>
                </c:pt>
                <c:pt idx="3504">
                  <c:v>999.25215247467838</c:v>
                </c:pt>
                <c:pt idx="3505">
                  <c:v>1010.8711516250055</c:v>
                </c:pt>
                <c:pt idx="3506">
                  <c:v>893.81475261957928</c:v>
                </c:pt>
                <c:pt idx="3507">
                  <c:v>868.46089312108472</c:v>
                </c:pt>
                <c:pt idx="3508">
                  <c:v>894.05187525645533</c:v>
                </c:pt>
                <c:pt idx="3509">
                  <c:v>923.75601969216848</c:v>
                </c:pt>
                <c:pt idx="3510">
                  <c:v>1011.5004378492844</c:v>
                </c:pt>
                <c:pt idx="3511">
                  <c:v>1131.4752664024006</c:v>
                </c:pt>
                <c:pt idx="3512">
                  <c:v>1215.5625277168817</c:v>
                </c:pt>
                <c:pt idx="3513">
                  <c:v>1143.1033858005001</c:v>
                </c:pt>
                <c:pt idx="3514">
                  <c:v>1132.7885600657912</c:v>
                </c:pt>
                <c:pt idx="3515">
                  <c:v>1047.4974464303853</c:v>
                </c:pt>
                <c:pt idx="3516">
                  <c:v>921.48511632070154</c:v>
                </c:pt>
                <c:pt idx="3517">
                  <c:v>961.73208833662738</c:v>
                </c:pt>
                <c:pt idx="3518">
                  <c:v>933.87932321346182</c:v>
                </c:pt>
                <c:pt idx="3519">
                  <c:v>929.23719564763439</c:v>
                </c:pt>
                <c:pt idx="3520">
                  <c:v>933.83372306180115</c:v>
                </c:pt>
                <c:pt idx="3521">
                  <c:v>925.80804037870359</c:v>
                </c:pt>
                <c:pt idx="3522">
                  <c:v>976.78936273185741</c:v>
                </c:pt>
                <c:pt idx="3523">
                  <c:v>1027.5974028235403</c:v>
                </c:pt>
                <c:pt idx="3524">
                  <c:v>1021.751423208588</c:v>
                </c:pt>
                <c:pt idx="3525">
                  <c:v>1053.0789440241449</c:v>
                </c:pt>
                <c:pt idx="3526">
                  <c:v>1036.6536558378914</c:v>
                </c:pt>
                <c:pt idx="3527">
                  <c:v>1017.9483443041987</c:v>
                </c:pt>
                <c:pt idx="3528">
                  <c:v>921.73135893354981</c:v>
                </c:pt>
                <c:pt idx="3529">
                  <c:v>925.39763629575668</c:v>
                </c:pt>
                <c:pt idx="3530">
                  <c:v>814.35137919078136</c:v>
                </c:pt>
                <c:pt idx="3531">
                  <c:v>807.75755203311223</c:v>
                </c:pt>
                <c:pt idx="3532">
                  <c:v>829.17153081323545</c:v>
                </c:pt>
                <c:pt idx="3533">
                  <c:v>938.00160515002676</c:v>
                </c:pt>
                <c:pt idx="3534">
                  <c:v>995.99627919541865</c:v>
                </c:pt>
                <c:pt idx="3535">
                  <c:v>1022.0341457253248</c:v>
                </c:pt>
                <c:pt idx="3536">
                  <c:v>1031.2089600581141</c:v>
                </c:pt>
                <c:pt idx="3537">
                  <c:v>990.26886062710446</c:v>
                </c:pt>
                <c:pt idx="3538">
                  <c:v>882.71559943826503</c:v>
                </c:pt>
                <c:pt idx="3539">
                  <c:v>833.88661913814019</c:v>
                </c:pt>
                <c:pt idx="3540">
                  <c:v>848.93477328559811</c:v>
                </c:pt>
                <c:pt idx="3541">
                  <c:v>886.08091405999073</c:v>
                </c:pt>
                <c:pt idx="3542">
                  <c:v>851.26039895909764</c:v>
                </c:pt>
                <c:pt idx="3543">
                  <c:v>825.08572898440934</c:v>
                </c:pt>
                <c:pt idx="3544">
                  <c:v>848.12308536747616</c:v>
                </c:pt>
                <c:pt idx="3545">
                  <c:v>847.65796006969617</c:v>
                </c:pt>
                <c:pt idx="3546">
                  <c:v>850.20246652552783</c:v>
                </c:pt>
                <c:pt idx="3547">
                  <c:v>841.08237313577149</c:v>
                </c:pt>
                <c:pt idx="3548">
                  <c:v>923.31825486590503</c:v>
                </c:pt>
                <c:pt idx="3549">
                  <c:v>952.97679942175716</c:v>
                </c:pt>
                <c:pt idx="3550">
                  <c:v>915.7941779280759</c:v>
                </c:pt>
                <c:pt idx="3551">
                  <c:v>864.35685188391437</c:v>
                </c:pt>
                <c:pt idx="3552">
                  <c:v>810.44797919169844</c:v>
                </c:pt>
                <c:pt idx="3553">
                  <c:v>784.13650984922754</c:v>
                </c:pt>
                <c:pt idx="3554">
                  <c:v>771.50518031959098</c:v>
                </c:pt>
                <c:pt idx="3555">
                  <c:v>745.81387714048924</c:v>
                </c:pt>
                <c:pt idx="3556">
                  <c:v>790.40201379489883</c:v>
                </c:pt>
                <c:pt idx="3557">
                  <c:v>910.12148003099469</c:v>
                </c:pt>
                <c:pt idx="3558">
                  <c:v>1064.6614624551835</c:v>
                </c:pt>
                <c:pt idx="3559">
                  <c:v>1132.8432804652241</c:v>
                </c:pt>
                <c:pt idx="3560">
                  <c:v>1136.7193205363903</c:v>
                </c:pt>
                <c:pt idx="3561">
                  <c:v>1024.5604116856121</c:v>
                </c:pt>
                <c:pt idx="3562">
                  <c:v>893.69619157294119</c:v>
                </c:pt>
                <c:pt idx="3563">
                  <c:v>888.95374345601988</c:v>
                </c:pt>
                <c:pt idx="3564">
                  <c:v>864.69429480008421</c:v>
                </c:pt>
                <c:pt idx="3565">
                  <c:v>872.58317566919936</c:v>
                </c:pt>
                <c:pt idx="3566">
                  <c:v>914.28936232307024</c:v>
                </c:pt>
                <c:pt idx="3567">
                  <c:v>851.41543855062457</c:v>
                </c:pt>
                <c:pt idx="3568">
                  <c:v>843.92784206028421</c:v>
                </c:pt>
                <c:pt idx="3569">
                  <c:v>874.29775289596478</c:v>
                </c:pt>
                <c:pt idx="3570">
                  <c:v>898.58456202341699</c:v>
                </c:pt>
                <c:pt idx="3571">
                  <c:v>901.27498972560306</c:v>
                </c:pt>
                <c:pt idx="3572">
                  <c:v>941.1662776503149</c:v>
                </c:pt>
                <c:pt idx="3573">
                  <c:v>1017.9209838326824</c:v>
                </c:pt>
                <c:pt idx="3574">
                  <c:v>1007.0771926965886</c:v>
                </c:pt>
                <c:pt idx="3575">
                  <c:v>981.02108594293793</c:v>
                </c:pt>
                <c:pt idx="3576">
                  <c:v>985.77265457943133</c:v>
                </c:pt>
                <c:pt idx="3577">
                  <c:v>957.31796343170367</c:v>
                </c:pt>
                <c:pt idx="3578">
                  <c:v>974.8103023966994</c:v>
                </c:pt>
                <c:pt idx="3579">
                  <c:v>1001.6142569648669</c:v>
                </c:pt>
                <c:pt idx="3580">
                  <c:v>1060.9678248932603</c:v>
                </c:pt>
                <c:pt idx="3581">
                  <c:v>1086.2122429133888</c:v>
                </c:pt>
                <c:pt idx="3582">
                  <c:v>1072.3041004396505</c:v>
                </c:pt>
                <c:pt idx="3583">
                  <c:v>1047.6160077488232</c:v>
                </c:pt>
                <c:pt idx="3584">
                  <c:v>965.78140985386472</c:v>
                </c:pt>
                <c:pt idx="3585">
                  <c:v>871.99037016420914</c:v>
                </c:pt>
                <c:pt idx="3586">
                  <c:v>845.62417933510528</c:v>
                </c:pt>
                <c:pt idx="3587">
                  <c:v>795.72814825623823</c:v>
                </c:pt>
                <c:pt idx="3588">
                  <c:v>721.20786567734888</c:v>
                </c:pt>
                <c:pt idx="3589">
                  <c:v>812.08959606708652</c:v>
                </c:pt>
                <c:pt idx="3590">
                  <c:v>788.02166962456602</c:v>
                </c:pt>
                <c:pt idx="3591">
                  <c:v>779.63118355378219</c:v>
                </c:pt>
                <c:pt idx="3592">
                  <c:v>812.42703952685633</c:v>
                </c:pt>
                <c:pt idx="3593">
                  <c:v>800.5344375639645</c:v>
                </c:pt>
                <c:pt idx="3594">
                  <c:v>803.86327173820155</c:v>
                </c:pt>
                <c:pt idx="3595">
                  <c:v>820.9725668199668</c:v>
                </c:pt>
                <c:pt idx="3596">
                  <c:v>827.64847512038523</c:v>
                </c:pt>
                <c:pt idx="3597">
                  <c:v>841.32861574861965</c:v>
                </c:pt>
                <c:pt idx="3598">
                  <c:v>826.29870128130608</c:v>
                </c:pt>
                <c:pt idx="3599">
                  <c:v>827.64847512038523</c:v>
                </c:pt>
                <c:pt idx="3600">
                  <c:v>826.40814262377205</c:v>
                </c:pt>
                <c:pt idx="3601">
                  <c:v>758.39048608383018</c:v>
                </c:pt>
                <c:pt idx="3602">
                  <c:v>712.40697525181815</c:v>
                </c:pt>
                <c:pt idx="3603">
                  <c:v>714.57755780039122</c:v>
                </c:pt>
                <c:pt idx="3604">
                  <c:v>735.5902526094394</c:v>
                </c:pt>
                <c:pt idx="3605">
                  <c:v>769.12483587745828</c:v>
                </c:pt>
                <c:pt idx="3606">
                  <c:v>978.64074129695518</c:v>
                </c:pt>
                <c:pt idx="3607">
                  <c:v>1048.1996938214413</c:v>
                </c:pt>
                <c:pt idx="3608">
                  <c:v>1077.7487962194277</c:v>
                </c:pt>
                <c:pt idx="3609">
                  <c:v>1071.4012116746069</c:v>
                </c:pt>
                <c:pt idx="3610">
                  <c:v>994.27258172088091</c:v>
                </c:pt>
                <c:pt idx="3611">
                  <c:v>946.20056975484499</c:v>
                </c:pt>
                <c:pt idx="3612">
                  <c:v>946.0728884604348</c:v>
                </c:pt>
                <c:pt idx="3613">
                  <c:v>928.17014514069206</c:v>
                </c:pt>
                <c:pt idx="3614">
                  <c:v>861.8579458515436</c:v>
                </c:pt>
                <c:pt idx="3615">
                  <c:v>880.64533825618548</c:v>
                </c:pt>
                <c:pt idx="3616">
                  <c:v>882.4967172969333</c:v>
                </c:pt>
                <c:pt idx="3617">
                  <c:v>907.19393077913242</c:v>
                </c:pt>
                <c:pt idx="3618">
                  <c:v>880.46293601874243</c:v>
                </c:pt>
                <c:pt idx="3619">
                  <c:v>884.67641927787861</c:v>
                </c:pt>
                <c:pt idx="3620">
                  <c:v>879.76068889948635</c:v>
                </c:pt>
                <c:pt idx="3621">
                  <c:v>907.51313374335803</c:v>
                </c:pt>
                <c:pt idx="3622">
                  <c:v>550.66853962587504</c:v>
                </c:pt>
                <c:pt idx="3623">
                  <c:v>541.66853963659048</c:v>
                </c:pt>
                <c:pt idx="3624">
                  <c:v>541.92134838425716</c:v>
                </c:pt>
                <c:pt idx="3625">
                  <c:v>547.651685690612</c:v>
                </c:pt>
                <c:pt idx="3626">
                  <c:v>538.04494390326943</c:v>
                </c:pt>
                <c:pt idx="3627">
                  <c:v>520.25280909591845</c:v>
                </c:pt>
                <c:pt idx="3628">
                  <c:v>522.32022499770267</c:v>
                </c:pt>
                <c:pt idx="3629">
                  <c:v>532.20786539356368</c:v>
                </c:pt>
                <c:pt idx="3630">
                  <c:v>518.60674177662713</c:v>
                </c:pt>
                <c:pt idx="3631">
                  <c:v>523.20224733165139</c:v>
                </c:pt>
                <c:pt idx="3632">
                  <c:v>534.03370802322138</c:v>
                </c:pt>
                <c:pt idx="3633">
                  <c:v>546.93820235434544</c:v>
                </c:pt>
                <c:pt idx="3634">
                  <c:v>550.2078653721328</c:v>
                </c:pt>
                <c:pt idx="3635">
                  <c:v>541.52809033233132</c:v>
                </c:pt>
                <c:pt idx="3636">
                  <c:v>529.52247188332376</c:v>
                </c:pt>
                <c:pt idx="3637">
                  <c:v>505.8764048506705</c:v>
                </c:pt>
                <c:pt idx="3638">
                  <c:v>456.30337147230517</c:v>
                </c:pt>
                <c:pt idx="3639">
                  <c:v>447.52247212977892</c:v>
                </c:pt>
                <c:pt idx="3640">
                  <c:v>463.45505654142147</c:v>
                </c:pt>
                <c:pt idx="3641">
                  <c:v>457.55618006995559</c:v>
                </c:pt>
                <c:pt idx="3642">
                  <c:v>461.55617980474841</c:v>
                </c:pt>
                <c:pt idx="3643">
                  <c:v>468.14606765682782</c:v>
                </c:pt>
                <c:pt idx="3644">
                  <c:v>469.74157349447188</c:v>
                </c:pt>
                <c:pt idx="3645">
                  <c:v>467.5337082884285</c:v>
                </c:pt>
                <c:pt idx="3646">
                  <c:v>469.28651748078596</c:v>
                </c:pt>
                <c:pt idx="3647">
                  <c:v>457.52247196904733</c:v>
                </c:pt>
                <c:pt idx="3648">
                  <c:v>467.35393264320459</c:v>
                </c:pt>
                <c:pt idx="3649">
                  <c:v>459.54494395952548</c:v>
                </c:pt>
                <c:pt idx="3650">
                  <c:v>444.63483152094852</c:v>
                </c:pt>
                <c:pt idx="3651">
                  <c:v>451.05618004048813</c:v>
                </c:pt>
                <c:pt idx="3652">
                  <c:v>446.71348373541673</c:v>
                </c:pt>
                <c:pt idx="3653">
                  <c:v>453.6966293045644</c:v>
                </c:pt>
                <c:pt idx="3654">
                  <c:v>459.65168549773398</c:v>
                </c:pt>
                <c:pt idx="3655">
                  <c:v>466.55056181918371</c:v>
                </c:pt>
                <c:pt idx="3656">
                  <c:v>480.0955057144165</c:v>
                </c:pt>
                <c:pt idx="3657">
                  <c:v>528.08427007010812</c:v>
                </c:pt>
                <c:pt idx="3658">
                  <c:v>592.06179822428851</c:v>
                </c:pt>
                <c:pt idx="3659">
                  <c:v>555.52809024125008</c:v>
                </c:pt>
                <c:pt idx="3660">
                  <c:v>557.41573049781027</c:v>
                </c:pt>
                <c:pt idx="3661">
                  <c:v>575.29213488771677</c:v>
                </c:pt>
                <c:pt idx="3662">
                  <c:v>565.52247217531954</c:v>
                </c:pt>
                <c:pt idx="3663">
                  <c:v>574.84269677922964</c:v>
                </c:pt>
                <c:pt idx="3664">
                  <c:v>566.1685393306982</c:v>
                </c:pt>
                <c:pt idx="3665">
                  <c:v>569.96067420820179</c:v>
                </c:pt>
                <c:pt idx="3666">
                  <c:v>570.51123594969852</c:v>
                </c:pt>
                <c:pt idx="3667">
                  <c:v>553.37078651685397</c:v>
                </c:pt>
                <c:pt idx="3668">
                  <c:v>577.24719101123594</c:v>
                </c:pt>
                <c:pt idx="3669">
                  <c:v>553.37078651685397</c:v>
                </c:pt>
                <c:pt idx="3670">
                  <c:v>567.41573033707868</c:v>
                </c:pt>
                <c:pt idx="3671">
                  <c:v>570.22471910112358</c:v>
                </c:pt>
                <c:pt idx="3672">
                  <c:v>533.70786516853934</c:v>
                </c:pt>
                <c:pt idx="3673">
                  <c:v>516.85393258426973</c:v>
                </c:pt>
                <c:pt idx="3674">
                  <c:v>516.85393258426973</c:v>
                </c:pt>
                <c:pt idx="3675">
                  <c:v>487.35955056179779</c:v>
                </c:pt>
                <c:pt idx="3676">
                  <c:v>519.66292134831463</c:v>
                </c:pt>
                <c:pt idx="3677">
                  <c:v>556.17977528089887</c:v>
                </c:pt>
                <c:pt idx="3678">
                  <c:v>595.50561797752812</c:v>
                </c:pt>
                <c:pt idx="3679">
                  <c:v>633.42696629213481</c:v>
                </c:pt>
                <c:pt idx="3680">
                  <c:v>596.91011235955057</c:v>
                </c:pt>
                <c:pt idx="3681">
                  <c:v>581.4606741573034</c:v>
                </c:pt>
                <c:pt idx="3682">
                  <c:v>544.94382022471916</c:v>
                </c:pt>
                <c:pt idx="3683">
                  <c:v>525.28089887640454</c:v>
                </c:pt>
                <c:pt idx="3684">
                  <c:v>483.14606741573039</c:v>
                </c:pt>
                <c:pt idx="3685">
                  <c:v>488.76404494382024</c:v>
                </c:pt>
                <c:pt idx="3686">
                  <c:v>456.4606741573034</c:v>
                </c:pt>
                <c:pt idx="3687">
                  <c:v>457.86516853932585</c:v>
                </c:pt>
                <c:pt idx="3688">
                  <c:v>460.67415730337081</c:v>
                </c:pt>
                <c:pt idx="3689">
                  <c:v>459.26966292134836</c:v>
                </c:pt>
                <c:pt idx="3690">
                  <c:v>460.67415730337081</c:v>
                </c:pt>
                <c:pt idx="3691">
                  <c:v>448.03370786516854</c:v>
                </c:pt>
                <c:pt idx="3692">
                  <c:v>466.29213483146071</c:v>
                </c:pt>
                <c:pt idx="3693">
                  <c:v>466.29213483146071</c:v>
                </c:pt>
                <c:pt idx="3694">
                  <c:v>455.0561797752809</c:v>
                </c:pt>
                <c:pt idx="3695">
                  <c:v>448.03370786516854</c:v>
                </c:pt>
                <c:pt idx="3696">
                  <c:v>438.20224719101128</c:v>
                </c:pt>
                <c:pt idx="3697">
                  <c:v>419.9438202247191</c:v>
                </c:pt>
                <c:pt idx="3698">
                  <c:v>412.92134831460675</c:v>
                </c:pt>
                <c:pt idx="3699">
                  <c:v>412.92134831460675</c:v>
                </c:pt>
                <c:pt idx="3700">
                  <c:v>411.5168539325843</c:v>
                </c:pt>
                <c:pt idx="3701">
                  <c:v>429.77528089887642</c:v>
                </c:pt>
                <c:pt idx="3702">
                  <c:v>432.58426966292137</c:v>
                </c:pt>
                <c:pt idx="3703">
                  <c:v>466.29213483146071</c:v>
                </c:pt>
                <c:pt idx="3704">
                  <c:v>485.95505617977528</c:v>
                </c:pt>
                <c:pt idx="3705">
                  <c:v>457.86516853932585</c:v>
                </c:pt>
                <c:pt idx="3706">
                  <c:v>429.77528089887642</c:v>
                </c:pt>
                <c:pt idx="3707">
                  <c:v>404.49438202247194</c:v>
                </c:pt>
                <c:pt idx="3708">
                  <c:v>403.08988764044943</c:v>
                </c:pt>
                <c:pt idx="3709">
                  <c:v>411.5168539325843</c:v>
                </c:pt>
                <c:pt idx="3710">
                  <c:v>408.70786516853934</c:v>
                </c:pt>
                <c:pt idx="3711">
                  <c:v>408.70786516853934</c:v>
                </c:pt>
                <c:pt idx="3712">
                  <c:v>407.30337078651689</c:v>
                </c:pt>
                <c:pt idx="3713">
                  <c:v>425.56179775280901</c:v>
                </c:pt>
                <c:pt idx="3714">
                  <c:v>442.41573033707868</c:v>
                </c:pt>
                <c:pt idx="3715">
                  <c:v>455.0561797752809</c:v>
                </c:pt>
                <c:pt idx="3716">
                  <c:v>467.69662921348316</c:v>
                </c:pt>
                <c:pt idx="3717">
                  <c:v>460.67415730337081</c:v>
                </c:pt>
                <c:pt idx="3718">
                  <c:v>460.67415730337081</c:v>
                </c:pt>
                <c:pt idx="3719">
                  <c:v>449.43820224719104</c:v>
                </c:pt>
                <c:pt idx="3720">
                  <c:v>433.98876404494382</c:v>
                </c:pt>
                <c:pt idx="3721">
                  <c:v>404.49438202247194</c:v>
                </c:pt>
                <c:pt idx="3722">
                  <c:v>380.61797752808991</c:v>
                </c:pt>
                <c:pt idx="3723">
                  <c:v>379.21348314606746</c:v>
                </c:pt>
                <c:pt idx="3724">
                  <c:v>377.80898876404495</c:v>
                </c:pt>
                <c:pt idx="3725">
                  <c:v>391.85393258426967</c:v>
                </c:pt>
                <c:pt idx="3726">
                  <c:v>439.60674157303373</c:v>
                </c:pt>
                <c:pt idx="3727">
                  <c:v>473.31460674157307</c:v>
                </c:pt>
                <c:pt idx="3728">
                  <c:v>481.74157303370788</c:v>
                </c:pt>
                <c:pt idx="3729">
                  <c:v>466.29213483146071</c:v>
                </c:pt>
                <c:pt idx="3730">
                  <c:v>422.75280898876406</c:v>
                </c:pt>
                <c:pt idx="3731">
                  <c:v>397.47191011235958</c:v>
                </c:pt>
                <c:pt idx="3732">
                  <c:v>404.49438202247194</c:v>
                </c:pt>
                <c:pt idx="3733">
                  <c:v>397.47191011235958</c:v>
                </c:pt>
                <c:pt idx="3734">
                  <c:v>393.25842696629218</c:v>
                </c:pt>
                <c:pt idx="3735">
                  <c:v>391.85393258426967</c:v>
                </c:pt>
                <c:pt idx="3736">
                  <c:v>414.32584269662925</c:v>
                </c:pt>
                <c:pt idx="3737">
                  <c:v>431.17977528089892</c:v>
                </c:pt>
                <c:pt idx="3738">
                  <c:v>419.9438202247191</c:v>
                </c:pt>
                <c:pt idx="3739">
                  <c:v>438.20224719101128</c:v>
                </c:pt>
                <c:pt idx="3740">
                  <c:v>449.43820224719104</c:v>
                </c:pt>
                <c:pt idx="3741">
                  <c:v>450.84269662921349</c:v>
                </c:pt>
                <c:pt idx="3742">
                  <c:v>456.4606741573034</c:v>
                </c:pt>
                <c:pt idx="3743">
                  <c:v>425.56179775280901</c:v>
                </c:pt>
                <c:pt idx="3744">
                  <c:v>380.61797752808991</c:v>
                </c:pt>
                <c:pt idx="3745">
                  <c:v>373.59550561797755</c:v>
                </c:pt>
                <c:pt idx="3746">
                  <c:v>369.38202247191015</c:v>
                </c:pt>
                <c:pt idx="3747">
                  <c:v>366.57303370786519</c:v>
                </c:pt>
                <c:pt idx="3748">
                  <c:v>373.59550561797755</c:v>
                </c:pt>
                <c:pt idx="3749">
                  <c:v>372.1910112359551</c:v>
                </c:pt>
                <c:pt idx="3750">
                  <c:v>422.75280898876406</c:v>
                </c:pt>
                <c:pt idx="3751">
                  <c:v>445.22471910112364</c:v>
                </c:pt>
                <c:pt idx="3752">
                  <c:v>436.79775280898878</c:v>
                </c:pt>
                <c:pt idx="3753">
                  <c:v>426.96629213483146</c:v>
                </c:pt>
                <c:pt idx="3754">
                  <c:v>418.53932584269666</c:v>
                </c:pt>
                <c:pt idx="3755">
                  <c:v>412.92134831460675</c:v>
                </c:pt>
                <c:pt idx="3756">
                  <c:v>403.08988764044943</c:v>
                </c:pt>
                <c:pt idx="3757">
                  <c:v>396.06741573033707</c:v>
                </c:pt>
                <c:pt idx="3758">
                  <c:v>391.85393258426967</c:v>
                </c:pt>
                <c:pt idx="3759">
                  <c:v>398.87640449438203</c:v>
                </c:pt>
                <c:pt idx="3760">
                  <c:v>407.30337078651689</c:v>
                </c:pt>
                <c:pt idx="3761">
                  <c:v>407.30337078651689</c:v>
                </c:pt>
                <c:pt idx="3762">
                  <c:v>410.11235955056179</c:v>
                </c:pt>
                <c:pt idx="3763">
                  <c:v>389.04494382022472</c:v>
                </c:pt>
                <c:pt idx="3764">
                  <c:v>407.30337078651689</c:v>
                </c:pt>
                <c:pt idx="3765">
                  <c:v>425.56179775280901</c:v>
                </c:pt>
                <c:pt idx="3766">
                  <c:v>419.9438202247191</c:v>
                </c:pt>
                <c:pt idx="3767">
                  <c:v>400.28089887640454</c:v>
                </c:pt>
                <c:pt idx="3768">
                  <c:v>367.97752808988764</c:v>
                </c:pt>
                <c:pt idx="3769">
                  <c:v>338.48314606741576</c:v>
                </c:pt>
                <c:pt idx="3770">
                  <c:v>331.4606741573034</c:v>
                </c:pt>
                <c:pt idx="3771">
                  <c:v>331.4606741573034</c:v>
                </c:pt>
                <c:pt idx="3772">
                  <c:v>337.07865168539325</c:v>
                </c:pt>
                <c:pt idx="3773">
                  <c:v>337.07865168539325</c:v>
                </c:pt>
                <c:pt idx="3774">
                  <c:v>400.28089887640454</c:v>
                </c:pt>
                <c:pt idx="3775">
                  <c:v>419.9438202247191</c:v>
                </c:pt>
                <c:pt idx="3776">
                  <c:v>410.11235955056179</c:v>
                </c:pt>
                <c:pt idx="3777">
                  <c:v>401.68539325842698</c:v>
                </c:pt>
                <c:pt idx="3778">
                  <c:v>401.68539325842698</c:v>
                </c:pt>
                <c:pt idx="3779">
                  <c:v>405.89887640449439</c:v>
                </c:pt>
                <c:pt idx="3780">
                  <c:v>411.5168539325843</c:v>
                </c:pt>
                <c:pt idx="3781">
                  <c:v>410.11235955056179</c:v>
                </c:pt>
                <c:pt idx="3782">
                  <c:v>401.68539325842698</c:v>
                </c:pt>
                <c:pt idx="3783">
                  <c:v>394.66292134831463</c:v>
                </c:pt>
                <c:pt idx="3784">
                  <c:v>401.68539325842698</c:v>
                </c:pt>
                <c:pt idx="3785">
                  <c:v>408.70786516853934</c:v>
                </c:pt>
                <c:pt idx="3786">
                  <c:v>400.28089887640454</c:v>
                </c:pt>
                <c:pt idx="3787">
                  <c:v>401.68539325842698</c:v>
                </c:pt>
                <c:pt idx="3788">
                  <c:v>407.30337078651689</c:v>
                </c:pt>
                <c:pt idx="3789">
                  <c:v>412.92134831460675</c:v>
                </c:pt>
                <c:pt idx="3790">
                  <c:v>400.28089887640454</c:v>
                </c:pt>
                <c:pt idx="3791">
                  <c:v>403.08988764044943</c:v>
                </c:pt>
                <c:pt idx="3792">
                  <c:v>390.44943820224722</c:v>
                </c:pt>
                <c:pt idx="3793">
                  <c:v>390.44943820224722</c:v>
                </c:pt>
                <c:pt idx="3794">
                  <c:v>384.83146067415731</c:v>
                </c:pt>
                <c:pt idx="3795">
                  <c:v>384.83146067415731</c:v>
                </c:pt>
                <c:pt idx="3796">
                  <c:v>377.80898876404495</c:v>
                </c:pt>
                <c:pt idx="3797">
                  <c:v>394.66292134831463</c:v>
                </c:pt>
                <c:pt idx="3798">
                  <c:v>389.04494382022472</c:v>
                </c:pt>
                <c:pt idx="3799">
                  <c:v>394.66292134831463</c:v>
                </c:pt>
                <c:pt idx="3800">
                  <c:v>387.64044943820227</c:v>
                </c:pt>
                <c:pt idx="3801">
                  <c:v>391.85393258426967</c:v>
                </c:pt>
                <c:pt idx="3802">
                  <c:v>393.25842696629218</c:v>
                </c:pt>
                <c:pt idx="3803">
                  <c:v>379.21348314606746</c:v>
                </c:pt>
                <c:pt idx="3804">
                  <c:v>387.64044943820227</c:v>
                </c:pt>
                <c:pt idx="3805">
                  <c:v>376.40449438202251</c:v>
                </c:pt>
                <c:pt idx="3806">
                  <c:v>379.21348314606746</c:v>
                </c:pt>
                <c:pt idx="3807">
                  <c:v>376.40449438202251</c:v>
                </c:pt>
                <c:pt idx="3808">
                  <c:v>376.40449438202251</c:v>
                </c:pt>
                <c:pt idx="3809">
                  <c:v>369.38202247191015</c:v>
                </c:pt>
                <c:pt idx="3810">
                  <c:v>370.7865168539326</c:v>
                </c:pt>
                <c:pt idx="3811">
                  <c:v>377.80898876404495</c:v>
                </c:pt>
                <c:pt idx="3812">
                  <c:v>377.80898876404495</c:v>
                </c:pt>
                <c:pt idx="3813">
                  <c:v>383.42696629213486</c:v>
                </c:pt>
                <c:pt idx="3814">
                  <c:v>363.76404494382024</c:v>
                </c:pt>
                <c:pt idx="3815">
                  <c:v>376.40449438202251</c:v>
                </c:pt>
                <c:pt idx="3816">
                  <c:v>365.16853932584269</c:v>
                </c:pt>
                <c:pt idx="3817">
                  <c:v>370.7865168539326</c:v>
                </c:pt>
                <c:pt idx="3818">
                  <c:v>355.33707865168543</c:v>
                </c:pt>
                <c:pt idx="3819">
                  <c:v>359.55056179775283</c:v>
                </c:pt>
                <c:pt idx="3820">
                  <c:v>365.16853932584269</c:v>
                </c:pt>
                <c:pt idx="3821">
                  <c:v>359.55056179775283</c:v>
                </c:pt>
                <c:pt idx="3822">
                  <c:v>359.55056179775283</c:v>
                </c:pt>
                <c:pt idx="3823">
                  <c:v>344.10112359550561</c:v>
                </c:pt>
                <c:pt idx="3824">
                  <c:v>358.14606741573033</c:v>
                </c:pt>
                <c:pt idx="3825">
                  <c:v>369.38202247191015</c:v>
                </c:pt>
                <c:pt idx="3826">
                  <c:v>383.42696629213486</c:v>
                </c:pt>
                <c:pt idx="3827">
                  <c:v>376.40449438202251</c:v>
                </c:pt>
                <c:pt idx="3828">
                  <c:v>376.40449438202251</c:v>
                </c:pt>
                <c:pt idx="3829">
                  <c:v>376.40449438202251</c:v>
                </c:pt>
                <c:pt idx="3830">
                  <c:v>372.1910112359551</c:v>
                </c:pt>
                <c:pt idx="3831">
                  <c:v>390.44943820224722</c:v>
                </c:pt>
                <c:pt idx="3832">
                  <c:v>383.42696629213486</c:v>
                </c:pt>
                <c:pt idx="3833">
                  <c:v>377.80898876404495</c:v>
                </c:pt>
                <c:pt idx="3834">
                  <c:v>377.80898876404495</c:v>
                </c:pt>
                <c:pt idx="3835">
                  <c:v>383.42696629213486</c:v>
                </c:pt>
                <c:pt idx="3836">
                  <c:v>383.42696629213486</c:v>
                </c:pt>
                <c:pt idx="3837">
                  <c:v>384.83146067415731</c:v>
                </c:pt>
                <c:pt idx="3838">
                  <c:v>383.42696629213486</c:v>
                </c:pt>
                <c:pt idx="3839">
                  <c:v>379.21348314606746</c:v>
                </c:pt>
                <c:pt idx="3840">
                  <c:v>372.1910112359551</c:v>
                </c:pt>
                <c:pt idx="3841">
                  <c:v>379.21348314606746</c:v>
                </c:pt>
                <c:pt idx="3842">
                  <c:v>355.33707865168543</c:v>
                </c:pt>
                <c:pt idx="3843">
                  <c:v>366.57303370786519</c:v>
                </c:pt>
                <c:pt idx="3844">
                  <c:v>366.57303370786519</c:v>
                </c:pt>
                <c:pt idx="3845">
                  <c:v>377.80898876404495</c:v>
                </c:pt>
                <c:pt idx="3846">
                  <c:v>398.87640449438203</c:v>
                </c:pt>
                <c:pt idx="3847">
                  <c:v>408.70786516853934</c:v>
                </c:pt>
                <c:pt idx="3848">
                  <c:v>429.77528089887642</c:v>
                </c:pt>
                <c:pt idx="3849">
                  <c:v>424.15730337078656</c:v>
                </c:pt>
                <c:pt idx="3850">
                  <c:v>414.32584269662925</c:v>
                </c:pt>
                <c:pt idx="3851">
                  <c:v>386.23595505617982</c:v>
                </c:pt>
                <c:pt idx="3852">
                  <c:v>379.21348314606746</c:v>
                </c:pt>
                <c:pt idx="3853">
                  <c:v>383.42696629213486</c:v>
                </c:pt>
                <c:pt idx="3854">
                  <c:v>366.57303370786519</c:v>
                </c:pt>
                <c:pt idx="3855">
                  <c:v>366.57303370786519</c:v>
                </c:pt>
                <c:pt idx="3856">
                  <c:v>379.21348314606746</c:v>
                </c:pt>
                <c:pt idx="3857">
                  <c:v>377.80898876404495</c:v>
                </c:pt>
                <c:pt idx="3858">
                  <c:v>383.42696629213486</c:v>
                </c:pt>
                <c:pt idx="3859">
                  <c:v>398.87640449438203</c:v>
                </c:pt>
                <c:pt idx="3860">
                  <c:v>412.92134831460675</c:v>
                </c:pt>
                <c:pt idx="3861">
                  <c:v>412.92134831460675</c:v>
                </c:pt>
                <c:pt idx="3862">
                  <c:v>414.32584269662925</c:v>
                </c:pt>
                <c:pt idx="3863">
                  <c:v>400.28089887640454</c:v>
                </c:pt>
                <c:pt idx="3864">
                  <c:v>386.23595505617982</c:v>
                </c:pt>
                <c:pt idx="3865">
                  <c:v>384.83146067415731</c:v>
                </c:pt>
                <c:pt idx="3866">
                  <c:v>380.61797752808991</c:v>
                </c:pt>
                <c:pt idx="3867">
                  <c:v>380.61797752808991</c:v>
                </c:pt>
                <c:pt idx="3868">
                  <c:v>379.21348314606746</c:v>
                </c:pt>
                <c:pt idx="3869">
                  <c:v>391.85393258426967</c:v>
                </c:pt>
                <c:pt idx="3870">
                  <c:v>390.44943820224722</c:v>
                </c:pt>
                <c:pt idx="3871">
                  <c:v>397.47191011235958</c:v>
                </c:pt>
                <c:pt idx="3872">
                  <c:v>396.06741573033707</c:v>
                </c:pt>
                <c:pt idx="3873">
                  <c:v>387.64044943820227</c:v>
                </c:pt>
                <c:pt idx="3874">
                  <c:v>383.42696629213486</c:v>
                </c:pt>
                <c:pt idx="3875">
                  <c:v>411.5168539325843</c:v>
                </c:pt>
                <c:pt idx="3876">
                  <c:v>405.89887640449439</c:v>
                </c:pt>
                <c:pt idx="3877">
                  <c:v>408.70786516853934</c:v>
                </c:pt>
                <c:pt idx="3878">
                  <c:v>425.56179775280901</c:v>
                </c:pt>
                <c:pt idx="3879">
                  <c:v>433.98876404494382</c:v>
                </c:pt>
                <c:pt idx="3880">
                  <c:v>441.01123595505618</c:v>
                </c:pt>
                <c:pt idx="3881">
                  <c:v>439.60674157303373</c:v>
                </c:pt>
                <c:pt idx="3882">
                  <c:v>441.01123595505618</c:v>
                </c:pt>
                <c:pt idx="3883">
                  <c:v>446.62921348314609</c:v>
                </c:pt>
                <c:pt idx="3884">
                  <c:v>442.41573033707868</c:v>
                </c:pt>
                <c:pt idx="3885">
                  <c:v>460.67415730337081</c:v>
                </c:pt>
                <c:pt idx="3886">
                  <c:v>456.4606741573034</c:v>
                </c:pt>
                <c:pt idx="3887">
                  <c:v>426.96629213483146</c:v>
                </c:pt>
                <c:pt idx="3888">
                  <c:v>379.21348314606746</c:v>
                </c:pt>
                <c:pt idx="3889">
                  <c:v>382.02247191011236</c:v>
                </c:pt>
                <c:pt idx="3890">
                  <c:v>321.62921348314609</c:v>
                </c:pt>
                <c:pt idx="3891">
                  <c:v>328.65168539325845</c:v>
                </c:pt>
                <c:pt idx="3892">
                  <c:v>327.247191011236</c:v>
                </c:pt>
                <c:pt idx="3893">
                  <c:v>362.35955056179779</c:v>
                </c:pt>
                <c:pt idx="3894">
                  <c:v>390.44943820224722</c:v>
                </c:pt>
                <c:pt idx="3895">
                  <c:v>414.32584269662925</c:v>
                </c:pt>
                <c:pt idx="3896">
                  <c:v>408.70786516853934</c:v>
                </c:pt>
                <c:pt idx="3897">
                  <c:v>382.02247191011236</c:v>
                </c:pt>
                <c:pt idx="3898">
                  <c:v>367.97752808988764</c:v>
                </c:pt>
                <c:pt idx="3899">
                  <c:v>352.52808988764048</c:v>
                </c:pt>
                <c:pt idx="3900">
                  <c:v>356.74157303370788</c:v>
                </c:pt>
                <c:pt idx="3901">
                  <c:v>373.59550561797755</c:v>
                </c:pt>
                <c:pt idx="3902">
                  <c:v>366.57303370786519</c:v>
                </c:pt>
                <c:pt idx="3903">
                  <c:v>365.16853932584269</c:v>
                </c:pt>
                <c:pt idx="3904">
                  <c:v>370.7865168539326</c:v>
                </c:pt>
                <c:pt idx="3905">
                  <c:v>387.64044943820227</c:v>
                </c:pt>
                <c:pt idx="3906">
                  <c:v>401.68539325842698</c:v>
                </c:pt>
                <c:pt idx="3907">
                  <c:v>436.79775280898878</c:v>
                </c:pt>
                <c:pt idx="3908">
                  <c:v>431.17977528089892</c:v>
                </c:pt>
                <c:pt idx="3909">
                  <c:v>438.20224719101128</c:v>
                </c:pt>
                <c:pt idx="3910">
                  <c:v>436.79775280898878</c:v>
                </c:pt>
                <c:pt idx="3911">
                  <c:v>431.17977528089892</c:v>
                </c:pt>
                <c:pt idx="3912">
                  <c:v>408.70786516853934</c:v>
                </c:pt>
                <c:pt idx="3913">
                  <c:v>382.02247191011236</c:v>
                </c:pt>
                <c:pt idx="3914">
                  <c:v>367.97752808988764</c:v>
                </c:pt>
                <c:pt idx="3915">
                  <c:v>370.7865168539326</c:v>
                </c:pt>
                <c:pt idx="3916">
                  <c:v>375</c:v>
                </c:pt>
                <c:pt idx="3917">
                  <c:v>376.40449438202251</c:v>
                </c:pt>
                <c:pt idx="3918">
                  <c:v>431.17977528089892</c:v>
                </c:pt>
                <c:pt idx="3919">
                  <c:v>488.76404494382024</c:v>
                </c:pt>
                <c:pt idx="3920">
                  <c:v>471.91011235955057</c:v>
                </c:pt>
                <c:pt idx="3921">
                  <c:v>431.17977528089892</c:v>
                </c:pt>
                <c:pt idx="3922">
                  <c:v>417.13483146067415</c:v>
                </c:pt>
                <c:pt idx="3923">
                  <c:v>394.66292134831463</c:v>
                </c:pt>
                <c:pt idx="3924">
                  <c:v>377.80898876404495</c:v>
                </c:pt>
                <c:pt idx="3925">
                  <c:v>376.40449438202251</c:v>
                </c:pt>
                <c:pt idx="3926">
                  <c:v>372.1910112359551</c:v>
                </c:pt>
                <c:pt idx="3927">
                  <c:v>377.80898876404495</c:v>
                </c:pt>
                <c:pt idx="3928">
                  <c:v>366.57303370786519</c:v>
                </c:pt>
                <c:pt idx="3929">
                  <c:v>367.97752808988764</c:v>
                </c:pt>
                <c:pt idx="3930">
                  <c:v>358.14606741573033</c:v>
                </c:pt>
                <c:pt idx="3931">
                  <c:v>363.76404494382024</c:v>
                </c:pt>
                <c:pt idx="3932">
                  <c:v>367.97752808988764</c:v>
                </c:pt>
                <c:pt idx="3933">
                  <c:v>391.85393258426967</c:v>
                </c:pt>
                <c:pt idx="3934">
                  <c:v>393.25842696629218</c:v>
                </c:pt>
                <c:pt idx="3935">
                  <c:v>372.1910112359551</c:v>
                </c:pt>
                <c:pt idx="3936">
                  <c:v>337.07865168539325</c:v>
                </c:pt>
                <c:pt idx="3937">
                  <c:v>330.0561797752809</c:v>
                </c:pt>
                <c:pt idx="3938">
                  <c:v>308.98876404494382</c:v>
                </c:pt>
                <c:pt idx="3939">
                  <c:v>308.98876404494382</c:v>
                </c:pt>
                <c:pt idx="3940">
                  <c:v>344.10112359550561</c:v>
                </c:pt>
                <c:pt idx="3941">
                  <c:v>384.83146067415731</c:v>
                </c:pt>
                <c:pt idx="3942">
                  <c:v>380.61797752808991</c:v>
                </c:pt>
                <c:pt idx="3943">
                  <c:v>367.97752808988764</c:v>
                </c:pt>
                <c:pt idx="3944">
                  <c:v>380.61797752808991</c:v>
                </c:pt>
                <c:pt idx="3945">
                  <c:v>387.64044943820227</c:v>
                </c:pt>
                <c:pt idx="3946">
                  <c:v>380.61797752808991</c:v>
                </c:pt>
                <c:pt idx="3947">
                  <c:v>367.97752808988764</c:v>
                </c:pt>
                <c:pt idx="3948">
                  <c:v>334.26966292134836</c:v>
                </c:pt>
                <c:pt idx="3949">
                  <c:v>345.50561797752812</c:v>
                </c:pt>
                <c:pt idx="3950">
                  <c:v>359.55056179775283</c:v>
                </c:pt>
                <c:pt idx="3951">
                  <c:v>363.76404494382024</c:v>
                </c:pt>
                <c:pt idx="3952">
                  <c:v>398.87640449438203</c:v>
                </c:pt>
                <c:pt idx="3953">
                  <c:v>398.87640449438203</c:v>
                </c:pt>
                <c:pt idx="3954">
                  <c:v>403.08988764044943</c:v>
                </c:pt>
                <c:pt idx="3955">
                  <c:v>400.28089887640454</c:v>
                </c:pt>
                <c:pt idx="3956">
                  <c:v>396.06741573033707</c:v>
                </c:pt>
                <c:pt idx="3957">
                  <c:v>387.64044943820227</c:v>
                </c:pt>
                <c:pt idx="3958">
                  <c:v>387.64044943820227</c:v>
                </c:pt>
                <c:pt idx="3959">
                  <c:v>353.93258426966293</c:v>
                </c:pt>
                <c:pt idx="3960">
                  <c:v>345.50561797752812</c:v>
                </c:pt>
                <c:pt idx="3961">
                  <c:v>337.07865168539325</c:v>
                </c:pt>
                <c:pt idx="3962">
                  <c:v>320.22471910112358</c:v>
                </c:pt>
                <c:pt idx="3963">
                  <c:v>331.4606741573034</c:v>
                </c:pt>
                <c:pt idx="3964">
                  <c:v>342.69662921348316</c:v>
                </c:pt>
                <c:pt idx="3965">
                  <c:v>337.07865168539325</c:v>
                </c:pt>
                <c:pt idx="3966">
                  <c:v>348.31460674157307</c:v>
                </c:pt>
                <c:pt idx="3967">
                  <c:v>362.35955056179779</c:v>
                </c:pt>
                <c:pt idx="3968">
                  <c:v>370.7865168539326</c:v>
                </c:pt>
                <c:pt idx="3969">
                  <c:v>393.25842696629218</c:v>
                </c:pt>
                <c:pt idx="3970">
                  <c:v>393.25842696629218</c:v>
                </c:pt>
                <c:pt idx="3971">
                  <c:v>393.25842696629218</c:v>
                </c:pt>
                <c:pt idx="3972">
                  <c:v>370.7865168539326</c:v>
                </c:pt>
                <c:pt idx="3973">
                  <c:v>359.55056179775283</c:v>
                </c:pt>
                <c:pt idx="3974">
                  <c:v>359.55056179775283</c:v>
                </c:pt>
                <c:pt idx="3975">
                  <c:v>359.55056179775283</c:v>
                </c:pt>
                <c:pt idx="3976">
                  <c:v>370.7865168539326</c:v>
                </c:pt>
                <c:pt idx="3977">
                  <c:v>365.16853932584269</c:v>
                </c:pt>
                <c:pt idx="3978">
                  <c:v>370.7865168539326</c:v>
                </c:pt>
                <c:pt idx="3979">
                  <c:v>365.16853932584269</c:v>
                </c:pt>
                <c:pt idx="3980">
                  <c:v>370.7865168539326</c:v>
                </c:pt>
                <c:pt idx="3981">
                  <c:v>365.16853932584269</c:v>
                </c:pt>
                <c:pt idx="3982">
                  <c:v>370.7865168539326</c:v>
                </c:pt>
                <c:pt idx="3983">
                  <c:v>365.16853932584269</c:v>
                </c:pt>
                <c:pt idx="3984">
                  <c:v>365.16853932584269</c:v>
                </c:pt>
                <c:pt idx="3985">
                  <c:v>359.55056179775283</c:v>
                </c:pt>
                <c:pt idx="3986">
                  <c:v>359.55056179775283</c:v>
                </c:pt>
                <c:pt idx="3987">
                  <c:v>359.55056179775283</c:v>
                </c:pt>
                <c:pt idx="3988">
                  <c:v>365.16853932584269</c:v>
                </c:pt>
                <c:pt idx="3989">
                  <c:v>370.7865168539326</c:v>
                </c:pt>
                <c:pt idx="3990">
                  <c:v>370.7865168539326</c:v>
                </c:pt>
                <c:pt idx="3991">
                  <c:v>365.16853932584269</c:v>
                </c:pt>
                <c:pt idx="3992">
                  <c:v>370.7865168539326</c:v>
                </c:pt>
                <c:pt idx="3993">
                  <c:v>376.40449438202251</c:v>
                </c:pt>
                <c:pt idx="3994">
                  <c:v>370.7865168539326</c:v>
                </c:pt>
                <c:pt idx="3995">
                  <c:v>370.7865168539326</c:v>
                </c:pt>
                <c:pt idx="3996">
                  <c:v>370.7865168539326</c:v>
                </c:pt>
                <c:pt idx="3997">
                  <c:v>376.40449438202251</c:v>
                </c:pt>
                <c:pt idx="3998">
                  <c:v>365.16853932584269</c:v>
                </c:pt>
                <c:pt idx="3999">
                  <c:v>365.16853932584269</c:v>
                </c:pt>
                <c:pt idx="4000">
                  <c:v>365.16853932584269</c:v>
                </c:pt>
                <c:pt idx="4001">
                  <c:v>393.25842696629218</c:v>
                </c:pt>
                <c:pt idx="4002">
                  <c:v>398.87640449438203</c:v>
                </c:pt>
                <c:pt idx="4003">
                  <c:v>432.58426966292137</c:v>
                </c:pt>
                <c:pt idx="4004">
                  <c:v>432.58426966292137</c:v>
                </c:pt>
                <c:pt idx="4005">
                  <c:v>426.96629213483146</c:v>
                </c:pt>
                <c:pt idx="4006">
                  <c:v>432.58426966292137</c:v>
                </c:pt>
                <c:pt idx="4007">
                  <c:v>415.7303370786517</c:v>
                </c:pt>
                <c:pt idx="4008">
                  <c:v>365.16853932584269</c:v>
                </c:pt>
                <c:pt idx="4009">
                  <c:v>370.7865168539326</c:v>
                </c:pt>
                <c:pt idx="4010">
                  <c:v>365.16853932584269</c:v>
                </c:pt>
                <c:pt idx="4011">
                  <c:v>359.55056179775283</c:v>
                </c:pt>
                <c:pt idx="4012">
                  <c:v>370.7865168539326</c:v>
                </c:pt>
                <c:pt idx="4013">
                  <c:v>393.25842696629218</c:v>
                </c:pt>
                <c:pt idx="4014">
                  <c:v>438.20224719101128</c:v>
                </c:pt>
                <c:pt idx="4015">
                  <c:v>466.29213483146071</c:v>
                </c:pt>
                <c:pt idx="4016">
                  <c:v>460.67415730337081</c:v>
                </c:pt>
                <c:pt idx="4017">
                  <c:v>442.41573033707868</c:v>
                </c:pt>
                <c:pt idx="4018">
                  <c:v>412.92134831460675</c:v>
                </c:pt>
                <c:pt idx="4019">
                  <c:v>412.92134831460675</c:v>
                </c:pt>
                <c:pt idx="4020">
                  <c:v>410.11235955056179</c:v>
                </c:pt>
                <c:pt idx="4021">
                  <c:v>384.83146067415731</c:v>
                </c:pt>
                <c:pt idx="4022">
                  <c:v>426.96629213483146</c:v>
                </c:pt>
                <c:pt idx="4023">
                  <c:v>407.30337078651689</c:v>
                </c:pt>
                <c:pt idx="4024">
                  <c:v>432.58426966292137</c:v>
                </c:pt>
                <c:pt idx="4025">
                  <c:v>429.77528089887642</c:v>
                </c:pt>
                <c:pt idx="4026">
                  <c:v>417.13483146067415</c:v>
                </c:pt>
                <c:pt idx="4027">
                  <c:v>425.56179775280901</c:v>
                </c:pt>
                <c:pt idx="4028">
                  <c:v>424.15730337078656</c:v>
                </c:pt>
                <c:pt idx="4029">
                  <c:v>418.53932584269666</c:v>
                </c:pt>
                <c:pt idx="4030">
                  <c:v>407.30337078651689</c:v>
                </c:pt>
                <c:pt idx="4031">
                  <c:v>393.25842696629218</c:v>
                </c:pt>
                <c:pt idx="4032">
                  <c:v>384.83146067415731</c:v>
                </c:pt>
                <c:pt idx="4033">
                  <c:v>391.85393258426967</c:v>
                </c:pt>
                <c:pt idx="4034">
                  <c:v>373.59550561797755</c:v>
                </c:pt>
                <c:pt idx="4035">
                  <c:v>373.59550561797755</c:v>
                </c:pt>
                <c:pt idx="4036">
                  <c:v>379.21348314606746</c:v>
                </c:pt>
                <c:pt idx="4037">
                  <c:v>384.83146067415731</c:v>
                </c:pt>
                <c:pt idx="4038">
                  <c:v>414.32584269662925</c:v>
                </c:pt>
                <c:pt idx="4039">
                  <c:v>421.34831460674161</c:v>
                </c:pt>
                <c:pt idx="4040">
                  <c:v>401.68539325842698</c:v>
                </c:pt>
                <c:pt idx="4041">
                  <c:v>391.85393258426967</c:v>
                </c:pt>
                <c:pt idx="4042">
                  <c:v>383.42696629213486</c:v>
                </c:pt>
                <c:pt idx="4043">
                  <c:v>383.42696629213486</c:v>
                </c:pt>
                <c:pt idx="4044">
                  <c:v>398.87640449438203</c:v>
                </c:pt>
                <c:pt idx="4045">
                  <c:v>397.47191011235958</c:v>
                </c:pt>
                <c:pt idx="4046">
                  <c:v>386.23595505617982</c:v>
                </c:pt>
                <c:pt idx="4047">
                  <c:v>386.23595505617982</c:v>
                </c:pt>
                <c:pt idx="4048">
                  <c:v>382.02247191011236</c:v>
                </c:pt>
                <c:pt idx="4049">
                  <c:v>403.08988764044943</c:v>
                </c:pt>
                <c:pt idx="4050">
                  <c:v>380.61797752808991</c:v>
                </c:pt>
                <c:pt idx="4051">
                  <c:v>417.13483146067415</c:v>
                </c:pt>
                <c:pt idx="4052">
                  <c:v>397.47191011235958</c:v>
                </c:pt>
                <c:pt idx="4053">
                  <c:v>398.87640449438203</c:v>
                </c:pt>
                <c:pt idx="4054">
                  <c:v>397.47191011235958</c:v>
                </c:pt>
                <c:pt idx="4055">
                  <c:v>389.04494382022472</c:v>
                </c:pt>
                <c:pt idx="4056">
                  <c:v>383.42696629213486</c:v>
                </c:pt>
                <c:pt idx="4057">
                  <c:v>376.40449438202251</c:v>
                </c:pt>
                <c:pt idx="4058">
                  <c:v>358.14606741573033</c:v>
                </c:pt>
                <c:pt idx="4059">
                  <c:v>337.07865168539325</c:v>
                </c:pt>
                <c:pt idx="4060">
                  <c:v>351.12359550561797</c:v>
                </c:pt>
                <c:pt idx="4061">
                  <c:v>376.40449438202251</c:v>
                </c:pt>
                <c:pt idx="4062">
                  <c:v>377.80898876404495</c:v>
                </c:pt>
                <c:pt idx="4063">
                  <c:v>421.34831460674161</c:v>
                </c:pt>
                <c:pt idx="4064">
                  <c:v>401.68539325842698</c:v>
                </c:pt>
                <c:pt idx="4065">
                  <c:v>386.23595505617982</c:v>
                </c:pt>
                <c:pt idx="4066">
                  <c:v>380.61797752808991</c:v>
                </c:pt>
                <c:pt idx="4067">
                  <c:v>386.23595505617982</c:v>
                </c:pt>
                <c:pt idx="4068">
                  <c:v>382.02247191011236</c:v>
                </c:pt>
                <c:pt idx="4069">
                  <c:v>375</c:v>
                </c:pt>
                <c:pt idx="4070">
                  <c:v>358.14606741573033</c:v>
                </c:pt>
                <c:pt idx="4071">
                  <c:v>314.60674157303373</c:v>
                </c:pt>
                <c:pt idx="4072">
                  <c:v>366.57303370786519</c:v>
                </c:pt>
                <c:pt idx="4073">
                  <c:v>373.59550561797755</c:v>
                </c:pt>
                <c:pt idx="4074">
                  <c:v>366.57303370786519</c:v>
                </c:pt>
                <c:pt idx="4075">
                  <c:v>372.1910112359551</c:v>
                </c:pt>
                <c:pt idx="4076">
                  <c:v>353.93258426966293</c:v>
                </c:pt>
                <c:pt idx="4077">
                  <c:v>366.57303370786519</c:v>
                </c:pt>
                <c:pt idx="4078">
                  <c:v>325.84269662921349</c:v>
                </c:pt>
                <c:pt idx="4079">
                  <c:v>414.32584269662925</c:v>
                </c:pt>
                <c:pt idx="4080">
                  <c:v>370.7865168539326</c:v>
                </c:pt>
                <c:pt idx="4081">
                  <c:v>356.27340818389081</c:v>
                </c:pt>
                <c:pt idx="4082">
                  <c:v>345.03745312771105</c:v>
                </c:pt>
                <c:pt idx="4083">
                  <c:v>356.27340818389081</c:v>
                </c:pt>
                <c:pt idx="4084">
                  <c:v>345.03745312771105</c:v>
                </c:pt>
                <c:pt idx="4085">
                  <c:v>353.93258426966293</c:v>
                </c:pt>
                <c:pt idx="4086">
                  <c:v>359.55056179775283</c:v>
                </c:pt>
                <c:pt idx="4087">
                  <c:v>376.40449438202251</c:v>
                </c:pt>
                <c:pt idx="4088">
                  <c:v>351.12359550561797</c:v>
                </c:pt>
                <c:pt idx="4089">
                  <c:v>303.37078651685397</c:v>
                </c:pt>
                <c:pt idx="4090">
                  <c:v>308.98876404494382</c:v>
                </c:pt>
                <c:pt idx="4091">
                  <c:v>337.07865168539325</c:v>
                </c:pt>
                <c:pt idx="4092">
                  <c:v>369.38202247191015</c:v>
                </c:pt>
                <c:pt idx="4093">
                  <c:v>335.67415730337081</c:v>
                </c:pt>
                <c:pt idx="4094">
                  <c:v>297.75280898876406</c:v>
                </c:pt>
                <c:pt idx="4095">
                  <c:v>323.03370786516854</c:v>
                </c:pt>
                <c:pt idx="4096">
                  <c:v>331.4606741573034</c:v>
                </c:pt>
                <c:pt idx="4097">
                  <c:v>325.84269662921349</c:v>
                </c:pt>
                <c:pt idx="4098">
                  <c:v>331.4606741573034</c:v>
                </c:pt>
                <c:pt idx="4099">
                  <c:v>331.4606741573034</c:v>
                </c:pt>
                <c:pt idx="4100">
                  <c:v>346.91011235955057</c:v>
                </c:pt>
                <c:pt idx="4101">
                  <c:v>329.85553781637987</c:v>
                </c:pt>
                <c:pt idx="4102">
                  <c:v>335.47351534446977</c:v>
                </c:pt>
                <c:pt idx="4103">
                  <c:v>329.85553781637987</c:v>
                </c:pt>
                <c:pt idx="4104">
                  <c:v>329.85553781637987</c:v>
                </c:pt>
                <c:pt idx="4105">
                  <c:v>324.23756028828996</c:v>
                </c:pt>
                <c:pt idx="4106">
                  <c:v>324.23756028828996</c:v>
                </c:pt>
                <c:pt idx="4107">
                  <c:v>318.6195827602001</c:v>
                </c:pt>
                <c:pt idx="4108">
                  <c:v>324.23756028828996</c:v>
                </c:pt>
                <c:pt idx="4109">
                  <c:v>366.57303370786519</c:v>
                </c:pt>
                <c:pt idx="4110">
                  <c:v>360.95505617977528</c:v>
                </c:pt>
                <c:pt idx="4111">
                  <c:v>377.80898876404495</c:v>
                </c:pt>
                <c:pt idx="4112">
                  <c:v>377.80898876404495</c:v>
                </c:pt>
                <c:pt idx="4113">
                  <c:v>382.02247191011236</c:v>
                </c:pt>
                <c:pt idx="4114">
                  <c:v>339.88764044943821</c:v>
                </c:pt>
                <c:pt idx="4115">
                  <c:v>339.88764044943821</c:v>
                </c:pt>
                <c:pt idx="4116">
                  <c:v>331.4606741573034</c:v>
                </c:pt>
                <c:pt idx="4117">
                  <c:v>334.26966292134836</c:v>
                </c:pt>
                <c:pt idx="4118">
                  <c:v>328.65168539325845</c:v>
                </c:pt>
                <c:pt idx="4119">
                  <c:v>355.33707865168543</c:v>
                </c:pt>
                <c:pt idx="4120">
                  <c:v>360.95505617977528</c:v>
                </c:pt>
                <c:pt idx="4121">
                  <c:v>353.93258426966293</c:v>
                </c:pt>
                <c:pt idx="4122">
                  <c:v>334.26966292134836</c:v>
                </c:pt>
                <c:pt idx="4123">
                  <c:v>353.93258426966293</c:v>
                </c:pt>
                <c:pt idx="4124">
                  <c:v>369.38202247191015</c:v>
                </c:pt>
                <c:pt idx="4125">
                  <c:v>389.04494382022472</c:v>
                </c:pt>
                <c:pt idx="4126">
                  <c:v>373.59550561797755</c:v>
                </c:pt>
                <c:pt idx="4127">
                  <c:v>334.26966292134836</c:v>
                </c:pt>
                <c:pt idx="4128">
                  <c:v>308.98876404494382</c:v>
                </c:pt>
                <c:pt idx="4129">
                  <c:v>303.37078651685397</c:v>
                </c:pt>
                <c:pt idx="4130">
                  <c:v>297.75280898876406</c:v>
                </c:pt>
                <c:pt idx="4131">
                  <c:v>297.75280898876406</c:v>
                </c:pt>
                <c:pt idx="4132">
                  <c:v>303.37078651685397</c:v>
                </c:pt>
                <c:pt idx="4133">
                  <c:v>314.60674157303373</c:v>
                </c:pt>
                <c:pt idx="4134">
                  <c:v>337.07865168539325</c:v>
                </c:pt>
                <c:pt idx="4135">
                  <c:v>337.07865168539325</c:v>
                </c:pt>
                <c:pt idx="4136">
                  <c:v>328.65168539325845</c:v>
                </c:pt>
                <c:pt idx="4137">
                  <c:v>365.16853932584269</c:v>
                </c:pt>
                <c:pt idx="4138">
                  <c:v>391.85393258426967</c:v>
                </c:pt>
                <c:pt idx="4139">
                  <c:v>379.21348314606746</c:v>
                </c:pt>
                <c:pt idx="4140">
                  <c:v>372.1910112359551</c:v>
                </c:pt>
                <c:pt idx="4141">
                  <c:v>370.7865168539326</c:v>
                </c:pt>
                <c:pt idx="4142">
                  <c:v>339.88764044943821</c:v>
                </c:pt>
                <c:pt idx="4143">
                  <c:v>352.52808988764048</c:v>
                </c:pt>
                <c:pt idx="4144">
                  <c:v>352.52808988764048</c:v>
                </c:pt>
                <c:pt idx="4145">
                  <c:v>351.12359550561797</c:v>
                </c:pt>
                <c:pt idx="4146">
                  <c:v>358.14606741573033</c:v>
                </c:pt>
                <c:pt idx="4147">
                  <c:v>358.14606741573033</c:v>
                </c:pt>
                <c:pt idx="4148">
                  <c:v>370.7865168539326</c:v>
                </c:pt>
                <c:pt idx="4149">
                  <c:v>358.14606741573033</c:v>
                </c:pt>
                <c:pt idx="4150">
                  <c:v>366.57303370786519</c:v>
                </c:pt>
                <c:pt idx="4151">
                  <c:v>351.12359550561797</c:v>
                </c:pt>
                <c:pt idx="4152">
                  <c:v>290.7303370786517</c:v>
                </c:pt>
                <c:pt idx="4153">
                  <c:v>280.89887640449439</c:v>
                </c:pt>
                <c:pt idx="4154">
                  <c:v>275.28089887640454</c:v>
                </c:pt>
                <c:pt idx="4155">
                  <c:v>275.28089887640454</c:v>
                </c:pt>
                <c:pt idx="4156">
                  <c:v>275.28089887640454</c:v>
                </c:pt>
                <c:pt idx="4157">
                  <c:v>294.9438202247191</c:v>
                </c:pt>
                <c:pt idx="4158">
                  <c:v>318.82022471910113</c:v>
                </c:pt>
                <c:pt idx="4159">
                  <c:v>330.0561797752809</c:v>
                </c:pt>
                <c:pt idx="4160">
                  <c:v>349.71910112359552</c:v>
                </c:pt>
                <c:pt idx="4161">
                  <c:v>358.14606741573033</c:v>
                </c:pt>
                <c:pt idx="4162">
                  <c:v>359.55056179775283</c:v>
                </c:pt>
                <c:pt idx="4163">
                  <c:v>360.95505617977528</c:v>
                </c:pt>
                <c:pt idx="4164">
                  <c:v>358.14606741573033</c:v>
                </c:pt>
                <c:pt idx="4165">
                  <c:v>351.12359550561797</c:v>
                </c:pt>
                <c:pt idx="4166">
                  <c:v>341.29213483146071</c:v>
                </c:pt>
                <c:pt idx="4167">
                  <c:v>346.91011235955057</c:v>
                </c:pt>
                <c:pt idx="4168">
                  <c:v>359.55056179775283</c:v>
                </c:pt>
                <c:pt idx="4169">
                  <c:v>359.55056179775283</c:v>
                </c:pt>
                <c:pt idx="4170">
                  <c:v>358.14606741573033</c:v>
                </c:pt>
                <c:pt idx="4171">
                  <c:v>358.14606741573033</c:v>
                </c:pt>
                <c:pt idx="4172">
                  <c:v>358.14606741573033</c:v>
                </c:pt>
                <c:pt idx="4173">
                  <c:v>365.16853932584269</c:v>
                </c:pt>
                <c:pt idx="4174">
                  <c:v>363.76404494382024</c:v>
                </c:pt>
                <c:pt idx="4175">
                  <c:v>365.16853932584269</c:v>
                </c:pt>
                <c:pt idx="4176">
                  <c:v>358.14606741573033</c:v>
                </c:pt>
                <c:pt idx="4177">
                  <c:v>365.16853932584269</c:v>
                </c:pt>
                <c:pt idx="4178">
                  <c:v>346.91011235955057</c:v>
                </c:pt>
                <c:pt idx="4179">
                  <c:v>352.52808988764048</c:v>
                </c:pt>
                <c:pt idx="4180">
                  <c:v>353.93258426966293</c:v>
                </c:pt>
                <c:pt idx="4181">
                  <c:v>359.55056179775283</c:v>
                </c:pt>
                <c:pt idx="4182">
                  <c:v>358.14606741573033</c:v>
                </c:pt>
                <c:pt idx="4183">
                  <c:v>316.01123595505618</c:v>
                </c:pt>
                <c:pt idx="4184">
                  <c:v>342.69662921348316</c:v>
                </c:pt>
                <c:pt idx="4185">
                  <c:v>335.67415730337081</c:v>
                </c:pt>
                <c:pt idx="4186">
                  <c:v>342.69662921348316</c:v>
                </c:pt>
                <c:pt idx="4187">
                  <c:v>344.10112359550561</c:v>
                </c:pt>
                <c:pt idx="4188">
                  <c:v>330.0561797752809</c:v>
                </c:pt>
                <c:pt idx="4189">
                  <c:v>342.69662921348316</c:v>
                </c:pt>
                <c:pt idx="4190">
                  <c:v>331.4606741573034</c:v>
                </c:pt>
                <c:pt idx="4191">
                  <c:v>337.07865168539325</c:v>
                </c:pt>
                <c:pt idx="4192">
                  <c:v>337.07865168539325</c:v>
                </c:pt>
                <c:pt idx="4193">
                  <c:v>342.69662921348316</c:v>
                </c:pt>
                <c:pt idx="4194">
                  <c:v>330.0561797752809</c:v>
                </c:pt>
                <c:pt idx="4195">
                  <c:v>342.69662921348316</c:v>
                </c:pt>
                <c:pt idx="4196">
                  <c:v>330.0561797752809</c:v>
                </c:pt>
                <c:pt idx="4197">
                  <c:v>342.69662921348316</c:v>
                </c:pt>
                <c:pt idx="4198">
                  <c:v>344.10112359550561</c:v>
                </c:pt>
                <c:pt idx="4199">
                  <c:v>349.71910112359552</c:v>
                </c:pt>
                <c:pt idx="4200">
                  <c:v>330.0561797752809</c:v>
                </c:pt>
                <c:pt idx="4201">
                  <c:v>308.98876404494382</c:v>
                </c:pt>
                <c:pt idx="4202">
                  <c:v>311.79775280898878</c:v>
                </c:pt>
                <c:pt idx="4203">
                  <c:v>317.41573033707868</c:v>
                </c:pt>
                <c:pt idx="4204">
                  <c:v>338.48314606741576</c:v>
                </c:pt>
                <c:pt idx="4205">
                  <c:v>331.4606741573034</c:v>
                </c:pt>
                <c:pt idx="4206">
                  <c:v>351.12359550561797</c:v>
                </c:pt>
                <c:pt idx="4207">
                  <c:v>338.48314606741576</c:v>
                </c:pt>
                <c:pt idx="4208">
                  <c:v>344.10112359550561</c:v>
                </c:pt>
                <c:pt idx="4209">
                  <c:v>362.35955056179779</c:v>
                </c:pt>
                <c:pt idx="4210">
                  <c:v>363.76404494382024</c:v>
                </c:pt>
                <c:pt idx="4211">
                  <c:v>370.7865168539326</c:v>
                </c:pt>
                <c:pt idx="4212">
                  <c:v>370.7865168539326</c:v>
                </c:pt>
                <c:pt idx="4213">
                  <c:v>363.76404494382024</c:v>
                </c:pt>
                <c:pt idx="4214">
                  <c:v>360.95505617977528</c:v>
                </c:pt>
                <c:pt idx="4215">
                  <c:v>365.16853932584269</c:v>
                </c:pt>
                <c:pt idx="4216">
                  <c:v>365.16853932584269</c:v>
                </c:pt>
                <c:pt idx="4217">
                  <c:v>370.7865168539326</c:v>
                </c:pt>
                <c:pt idx="4218">
                  <c:v>380.61797752808991</c:v>
                </c:pt>
                <c:pt idx="4219">
                  <c:v>370.7865168539326</c:v>
                </c:pt>
                <c:pt idx="4220">
                  <c:v>358.14606741573033</c:v>
                </c:pt>
                <c:pt idx="4221">
                  <c:v>363.76404494382024</c:v>
                </c:pt>
                <c:pt idx="4222">
                  <c:v>363.76404494382024</c:v>
                </c:pt>
                <c:pt idx="4223">
                  <c:v>365.16853932584269</c:v>
                </c:pt>
                <c:pt idx="4224">
                  <c:v>359.55056179775283</c:v>
                </c:pt>
                <c:pt idx="4225">
                  <c:v>331.4606741573034</c:v>
                </c:pt>
                <c:pt idx="4226">
                  <c:v>314.60674157303373</c:v>
                </c:pt>
                <c:pt idx="4227">
                  <c:v>362.35955056179779</c:v>
                </c:pt>
                <c:pt idx="4228">
                  <c:v>360.95505617977528</c:v>
                </c:pt>
                <c:pt idx="4229">
                  <c:v>358.14606741573033</c:v>
                </c:pt>
                <c:pt idx="4230">
                  <c:v>360.95505617977528</c:v>
                </c:pt>
                <c:pt idx="4231">
                  <c:v>369.38202247191015</c:v>
                </c:pt>
                <c:pt idx="4232">
                  <c:v>325.84269662921349</c:v>
                </c:pt>
                <c:pt idx="4233">
                  <c:v>334.26966292134836</c:v>
                </c:pt>
                <c:pt idx="4234">
                  <c:v>334.26966292134836</c:v>
                </c:pt>
                <c:pt idx="4235">
                  <c:v>230.3370786516854</c:v>
                </c:pt>
                <c:pt idx="4236">
                  <c:v>202.24719101123597</c:v>
                </c:pt>
                <c:pt idx="4237">
                  <c:v>251.11920646067418</c:v>
                </c:pt>
                <c:pt idx="4238">
                  <c:v>328.65168539325845</c:v>
                </c:pt>
                <c:pt idx="4239">
                  <c:v>362.35955056179779</c:v>
                </c:pt>
                <c:pt idx="4240">
                  <c:v>351.12359550561797</c:v>
                </c:pt>
                <c:pt idx="4241">
                  <c:v>366.57303370786519</c:v>
                </c:pt>
                <c:pt idx="4242">
                  <c:v>382.02247191011236</c:v>
                </c:pt>
                <c:pt idx="4243">
                  <c:v>389.04494382022472</c:v>
                </c:pt>
                <c:pt idx="4244">
                  <c:v>382.02247191011236</c:v>
                </c:pt>
                <c:pt idx="4245">
                  <c:v>380.61797752808991</c:v>
                </c:pt>
                <c:pt idx="4246">
                  <c:v>367.97752808988764</c:v>
                </c:pt>
                <c:pt idx="4247">
                  <c:v>352.52808988764048</c:v>
                </c:pt>
                <c:pt idx="4248">
                  <c:v>331.4606741573034</c:v>
                </c:pt>
                <c:pt idx="4249">
                  <c:v>331.4606741573034</c:v>
                </c:pt>
                <c:pt idx="4250">
                  <c:v>314.60674157303373</c:v>
                </c:pt>
                <c:pt idx="4251">
                  <c:v>320.22471910112358</c:v>
                </c:pt>
                <c:pt idx="4252">
                  <c:v>314.60674157303373</c:v>
                </c:pt>
                <c:pt idx="4253">
                  <c:v>325.84269662921349</c:v>
                </c:pt>
                <c:pt idx="4254">
                  <c:v>372.1910112359551</c:v>
                </c:pt>
                <c:pt idx="4255">
                  <c:v>366.57303370786519</c:v>
                </c:pt>
                <c:pt idx="4256">
                  <c:v>360.95505617977528</c:v>
                </c:pt>
                <c:pt idx="4257">
                  <c:v>379.21348314606746</c:v>
                </c:pt>
                <c:pt idx="4258">
                  <c:v>365.16853932584269</c:v>
                </c:pt>
                <c:pt idx="4259">
                  <c:v>369.38202247191015</c:v>
                </c:pt>
                <c:pt idx="4260">
                  <c:v>369.38202247191015</c:v>
                </c:pt>
                <c:pt idx="4261">
                  <c:v>377.80898876404495</c:v>
                </c:pt>
                <c:pt idx="4262">
                  <c:v>363.76404494382024</c:v>
                </c:pt>
                <c:pt idx="4263">
                  <c:v>355.33707865168543</c:v>
                </c:pt>
                <c:pt idx="4264">
                  <c:v>356.74157303370788</c:v>
                </c:pt>
                <c:pt idx="4265">
                  <c:v>373.59550561797755</c:v>
                </c:pt>
                <c:pt idx="4266">
                  <c:v>373.59550561797755</c:v>
                </c:pt>
                <c:pt idx="4267">
                  <c:v>366.57303370786519</c:v>
                </c:pt>
                <c:pt idx="4268">
                  <c:v>366.57303370786519</c:v>
                </c:pt>
                <c:pt idx="4269">
                  <c:v>369.38202247191015</c:v>
                </c:pt>
                <c:pt idx="4270">
                  <c:v>366.57303370786519</c:v>
                </c:pt>
                <c:pt idx="4271">
                  <c:v>348.31460674157307</c:v>
                </c:pt>
                <c:pt idx="4272">
                  <c:v>332.86516853932585</c:v>
                </c:pt>
                <c:pt idx="4273">
                  <c:v>303.37078651685397</c:v>
                </c:pt>
                <c:pt idx="4274">
                  <c:v>286.5168539325843</c:v>
                </c:pt>
                <c:pt idx="4275">
                  <c:v>292.13483146067415</c:v>
                </c:pt>
                <c:pt idx="4276">
                  <c:v>308.98876404494382</c:v>
                </c:pt>
                <c:pt idx="4277">
                  <c:v>338.48314606741576</c:v>
                </c:pt>
                <c:pt idx="4278">
                  <c:v>370.7865168539326</c:v>
                </c:pt>
                <c:pt idx="4279">
                  <c:v>366.57303370786519</c:v>
                </c:pt>
                <c:pt idx="4280">
                  <c:v>379.21348314606746</c:v>
                </c:pt>
                <c:pt idx="4281">
                  <c:v>376.40449438202251</c:v>
                </c:pt>
                <c:pt idx="4282">
                  <c:v>362.35955056179779</c:v>
                </c:pt>
                <c:pt idx="4283">
                  <c:v>380.61797752808991</c:v>
                </c:pt>
                <c:pt idx="4284">
                  <c:v>366.57303370786519</c:v>
                </c:pt>
                <c:pt idx="4285">
                  <c:v>373.59550561797755</c:v>
                </c:pt>
                <c:pt idx="4286">
                  <c:v>359.55056179775283</c:v>
                </c:pt>
                <c:pt idx="4287">
                  <c:v>362.35955056179779</c:v>
                </c:pt>
                <c:pt idx="4288">
                  <c:v>373.59550561797755</c:v>
                </c:pt>
                <c:pt idx="4289">
                  <c:v>367.97752808988764</c:v>
                </c:pt>
                <c:pt idx="4290">
                  <c:v>373.59550561797755</c:v>
                </c:pt>
                <c:pt idx="4291">
                  <c:v>375</c:v>
                </c:pt>
                <c:pt idx="4292">
                  <c:v>367.97752808988764</c:v>
                </c:pt>
                <c:pt idx="4293">
                  <c:v>367.97752808988764</c:v>
                </c:pt>
                <c:pt idx="4294">
                  <c:v>375</c:v>
                </c:pt>
                <c:pt idx="4295">
                  <c:v>366.57303370786519</c:v>
                </c:pt>
                <c:pt idx="4296">
                  <c:v>339.88764044943821</c:v>
                </c:pt>
                <c:pt idx="4297">
                  <c:v>331.4606741573034</c:v>
                </c:pt>
                <c:pt idx="4298">
                  <c:v>292.13483146067415</c:v>
                </c:pt>
                <c:pt idx="4299">
                  <c:v>286.5168539325843</c:v>
                </c:pt>
                <c:pt idx="4300">
                  <c:v>320.22471910112358</c:v>
                </c:pt>
                <c:pt idx="4301">
                  <c:v>325.84269662921349</c:v>
                </c:pt>
                <c:pt idx="4302">
                  <c:v>334.26966292134836</c:v>
                </c:pt>
                <c:pt idx="4303">
                  <c:v>366.57303370786519</c:v>
                </c:pt>
                <c:pt idx="4304">
                  <c:v>405.89887640449439</c:v>
                </c:pt>
                <c:pt idx="4305">
                  <c:v>383.42696629213486</c:v>
                </c:pt>
                <c:pt idx="4306">
                  <c:v>375</c:v>
                </c:pt>
                <c:pt idx="4307">
                  <c:v>359.55056179775283</c:v>
                </c:pt>
                <c:pt idx="4308">
                  <c:v>366.57303370786519</c:v>
                </c:pt>
                <c:pt idx="4309">
                  <c:v>366.57303370786519</c:v>
                </c:pt>
                <c:pt idx="4310">
                  <c:v>348.31460674157307</c:v>
                </c:pt>
                <c:pt idx="4311">
                  <c:v>360.95505617977528</c:v>
                </c:pt>
                <c:pt idx="4312">
                  <c:v>360.95505617977528</c:v>
                </c:pt>
                <c:pt idx="4313">
                  <c:v>367.97752808988764</c:v>
                </c:pt>
                <c:pt idx="4314">
                  <c:v>360.95505617977528</c:v>
                </c:pt>
                <c:pt idx="4315">
                  <c:v>360.95505617977528</c:v>
                </c:pt>
                <c:pt idx="4316">
                  <c:v>366.57303370786519</c:v>
                </c:pt>
                <c:pt idx="4317">
                  <c:v>366.57303370786519</c:v>
                </c:pt>
                <c:pt idx="4318">
                  <c:v>360.95505617977528</c:v>
                </c:pt>
                <c:pt idx="4319">
                  <c:v>360.95505617977528</c:v>
                </c:pt>
                <c:pt idx="4320">
                  <c:v>316.01123595505618</c:v>
                </c:pt>
                <c:pt idx="4321">
                  <c:v>297.75280898876406</c:v>
                </c:pt>
                <c:pt idx="4322">
                  <c:v>292.13483146067415</c:v>
                </c:pt>
                <c:pt idx="4323">
                  <c:v>286.5168539325843</c:v>
                </c:pt>
                <c:pt idx="4324">
                  <c:v>292.13483146067415</c:v>
                </c:pt>
                <c:pt idx="4325">
                  <c:v>331.4606741573034</c:v>
                </c:pt>
                <c:pt idx="4326">
                  <c:v>331.4606741573034</c:v>
                </c:pt>
                <c:pt idx="4327">
                  <c:v>331.4606741573034</c:v>
                </c:pt>
                <c:pt idx="4328">
                  <c:v>331.4606741573034</c:v>
                </c:pt>
                <c:pt idx="4329">
                  <c:v>348.31460674157307</c:v>
                </c:pt>
                <c:pt idx="4330">
                  <c:v>370.7865168539326</c:v>
                </c:pt>
                <c:pt idx="4331">
                  <c:v>382.02247191011236</c:v>
                </c:pt>
                <c:pt idx="4332">
                  <c:v>387.64044943820227</c:v>
                </c:pt>
                <c:pt idx="4333">
                  <c:v>376.40449438202251</c:v>
                </c:pt>
                <c:pt idx="4334">
                  <c:v>365.16853932584269</c:v>
                </c:pt>
                <c:pt idx="4335">
                  <c:v>370.7865168539326</c:v>
                </c:pt>
                <c:pt idx="4336">
                  <c:v>382.02247191011236</c:v>
                </c:pt>
                <c:pt idx="4337">
                  <c:v>382.02247191011236</c:v>
                </c:pt>
                <c:pt idx="4338">
                  <c:v>382.02247191011236</c:v>
                </c:pt>
                <c:pt idx="4339">
                  <c:v>376.40449438202251</c:v>
                </c:pt>
                <c:pt idx="4340">
                  <c:v>398.87640449438203</c:v>
                </c:pt>
                <c:pt idx="4341">
                  <c:v>404.49438202247194</c:v>
                </c:pt>
                <c:pt idx="4342">
                  <c:v>398.87640449438203</c:v>
                </c:pt>
                <c:pt idx="4343">
                  <c:v>359.55056179775283</c:v>
                </c:pt>
                <c:pt idx="4344">
                  <c:v>320.22471910112358</c:v>
                </c:pt>
                <c:pt idx="4345">
                  <c:v>320.22471910112358</c:v>
                </c:pt>
                <c:pt idx="4346">
                  <c:v>308.98876404494382</c:v>
                </c:pt>
                <c:pt idx="4347">
                  <c:v>308.98876404494382</c:v>
                </c:pt>
                <c:pt idx="4348">
                  <c:v>308.98876404494382</c:v>
                </c:pt>
                <c:pt idx="4349">
                  <c:v>342.69662921348316</c:v>
                </c:pt>
                <c:pt idx="4350">
                  <c:v>353.93258426966293</c:v>
                </c:pt>
                <c:pt idx="4351">
                  <c:v>376.40449438202251</c:v>
                </c:pt>
                <c:pt idx="4352">
                  <c:v>382.02247191011236</c:v>
                </c:pt>
                <c:pt idx="4353">
                  <c:v>387.64044943820227</c:v>
                </c:pt>
                <c:pt idx="4354">
                  <c:v>382.02247191011236</c:v>
                </c:pt>
                <c:pt idx="4355">
                  <c:v>376.40449438202251</c:v>
                </c:pt>
                <c:pt idx="4356">
                  <c:v>359.55056179775283</c:v>
                </c:pt>
                <c:pt idx="4357">
                  <c:v>353.93258426966293</c:v>
                </c:pt>
                <c:pt idx="4358">
                  <c:v>337.07865168539325</c:v>
                </c:pt>
                <c:pt idx="4359">
                  <c:v>337.07865168539325</c:v>
                </c:pt>
                <c:pt idx="4360">
                  <c:v>353.93258426966293</c:v>
                </c:pt>
                <c:pt idx="4361">
                  <c:v>348.31460674157307</c:v>
                </c:pt>
                <c:pt idx="4362">
                  <c:v>348.31460674157307</c:v>
                </c:pt>
                <c:pt idx="4363">
                  <c:v>348.31460674157307</c:v>
                </c:pt>
                <c:pt idx="4364">
                  <c:v>353.93258426966293</c:v>
                </c:pt>
                <c:pt idx="4365">
                  <c:v>348.31460674157307</c:v>
                </c:pt>
                <c:pt idx="4366">
                  <c:v>348.31460674157307</c:v>
                </c:pt>
                <c:pt idx="4367">
                  <c:v>348.31460674157307</c:v>
                </c:pt>
                <c:pt idx="4368">
                  <c:v>348.31460674157307</c:v>
                </c:pt>
                <c:pt idx="4369">
                  <c:v>348.31460674157307</c:v>
                </c:pt>
                <c:pt idx="4370">
                  <c:v>314.60674157303373</c:v>
                </c:pt>
                <c:pt idx="4371">
                  <c:v>308.98876404494382</c:v>
                </c:pt>
                <c:pt idx="4372">
                  <c:v>308.98876404494382</c:v>
                </c:pt>
                <c:pt idx="4373">
                  <c:v>320.22471910112358</c:v>
                </c:pt>
                <c:pt idx="4374">
                  <c:v>331.4606741573034</c:v>
                </c:pt>
                <c:pt idx="4375">
                  <c:v>348.31460674157307</c:v>
                </c:pt>
                <c:pt idx="4376">
                  <c:v>348.31460674157307</c:v>
                </c:pt>
                <c:pt idx="4377">
                  <c:v>348.31460674157307</c:v>
                </c:pt>
                <c:pt idx="4378">
                  <c:v>342.69662921348316</c:v>
                </c:pt>
                <c:pt idx="4379">
                  <c:v>325.84269662921349</c:v>
                </c:pt>
                <c:pt idx="4380">
                  <c:v>331.4606741573034</c:v>
                </c:pt>
                <c:pt idx="4381">
                  <c:v>331.4606741573034</c:v>
                </c:pt>
                <c:pt idx="4382">
                  <c:v>314.60674157303373</c:v>
                </c:pt>
                <c:pt idx="4383">
                  <c:v>325.84269662921349</c:v>
                </c:pt>
                <c:pt idx="4384">
                  <c:v>331.4606741573034</c:v>
                </c:pt>
                <c:pt idx="4385">
                  <c:v>331.4606741573034</c:v>
                </c:pt>
                <c:pt idx="4386">
                  <c:v>342.69662921348316</c:v>
                </c:pt>
                <c:pt idx="4387">
                  <c:v>359.55056179775283</c:v>
                </c:pt>
                <c:pt idx="4388">
                  <c:v>359.55056179775283</c:v>
                </c:pt>
                <c:pt idx="4389">
                  <c:v>353.93258426966293</c:v>
                </c:pt>
                <c:pt idx="4390">
                  <c:v>359.55056179775283</c:v>
                </c:pt>
                <c:pt idx="4391">
                  <c:v>359.55056179775283</c:v>
                </c:pt>
                <c:pt idx="4392">
                  <c:v>353.93258426966293</c:v>
                </c:pt>
                <c:pt idx="4393">
                  <c:v>348.31460674157307</c:v>
                </c:pt>
                <c:pt idx="4394">
                  <c:v>342.69662921348316</c:v>
                </c:pt>
                <c:pt idx="4395">
                  <c:v>337.07865168539325</c:v>
                </c:pt>
                <c:pt idx="4396">
                  <c:v>353.93258426966293</c:v>
                </c:pt>
                <c:pt idx="4397">
                  <c:v>353.93258426966293</c:v>
                </c:pt>
                <c:pt idx="4398">
                  <c:v>353.93258426966293</c:v>
                </c:pt>
                <c:pt idx="4399">
                  <c:v>359.55056179775283</c:v>
                </c:pt>
                <c:pt idx="4400">
                  <c:v>359.55056179775283</c:v>
                </c:pt>
                <c:pt idx="4401">
                  <c:v>353.93258426966293</c:v>
                </c:pt>
                <c:pt idx="4402">
                  <c:v>348.31460674157307</c:v>
                </c:pt>
                <c:pt idx="4403">
                  <c:v>348.31460674157307</c:v>
                </c:pt>
                <c:pt idx="4404">
                  <c:v>348.31460674157307</c:v>
                </c:pt>
                <c:pt idx="4405">
                  <c:v>353.93258426966293</c:v>
                </c:pt>
                <c:pt idx="4406">
                  <c:v>348.31460674157307</c:v>
                </c:pt>
                <c:pt idx="4407">
                  <c:v>342.69662921348316</c:v>
                </c:pt>
                <c:pt idx="4408">
                  <c:v>382.02247191011236</c:v>
                </c:pt>
                <c:pt idx="4409">
                  <c:v>391.01123809814453</c:v>
                </c:pt>
                <c:pt idx="4410">
                  <c:v>405.0561765606484</c:v>
                </c:pt>
                <c:pt idx="4411">
                  <c:v>435.39325842696633</c:v>
                </c:pt>
                <c:pt idx="4412">
                  <c:v>410.11235955056179</c:v>
                </c:pt>
                <c:pt idx="4413">
                  <c:v>444.3820246149985</c:v>
                </c:pt>
                <c:pt idx="4414">
                  <c:v>466.29212947373981</c:v>
                </c:pt>
                <c:pt idx="4415">
                  <c:v>441.57303585095354</c:v>
                </c:pt>
                <c:pt idx="4416">
                  <c:v>405.05618191836925</c:v>
                </c:pt>
                <c:pt idx="4417">
                  <c:v>374.71910540977223</c:v>
                </c:pt>
                <c:pt idx="4418">
                  <c:v>351.68539540151534</c:v>
                </c:pt>
                <c:pt idx="4419">
                  <c:v>352.2471952974127</c:v>
                </c:pt>
                <c:pt idx="4420">
                  <c:v>355.61797324191321</c:v>
                </c:pt>
                <c:pt idx="4421">
                  <c:v>369.66291706213792</c:v>
                </c:pt>
                <c:pt idx="4422">
                  <c:v>412.3595591341512</c:v>
                </c:pt>
                <c:pt idx="4423">
                  <c:v>456.17977420935472</c:v>
                </c:pt>
                <c:pt idx="4424">
                  <c:v>466.85393472735802</c:v>
                </c:pt>
                <c:pt idx="4425">
                  <c:v>427.07865157823886</c:v>
                </c:pt>
                <c:pt idx="4426">
                  <c:v>427.58426773414186</c:v>
                </c:pt>
                <c:pt idx="4427">
                  <c:v>432.80898854973611</c:v>
                </c:pt>
                <c:pt idx="4428">
                  <c:v>413.42696714937017</c:v>
                </c:pt>
                <c:pt idx="4429">
                  <c:v>427.19101102164626</c:v>
                </c:pt>
                <c:pt idx="4430">
                  <c:v>399.94382054618239</c:v>
                </c:pt>
                <c:pt idx="4431">
                  <c:v>406.51685468266521</c:v>
                </c:pt>
                <c:pt idx="4432">
                  <c:v>398.53932616415989</c:v>
                </c:pt>
                <c:pt idx="4433">
                  <c:v>417.07865039954027</c:v>
                </c:pt>
                <c:pt idx="4434">
                  <c:v>422.13483071059323</c:v>
                </c:pt>
                <c:pt idx="4435">
                  <c:v>438.25842825214517</c:v>
                </c:pt>
                <c:pt idx="4436">
                  <c:v>451.06741551602829</c:v>
                </c:pt>
                <c:pt idx="4437">
                  <c:v>454.38202311483661</c:v>
                </c:pt>
                <c:pt idx="4438">
                  <c:v>458.20224954840842</c:v>
                </c:pt>
                <c:pt idx="4439">
                  <c:v>444.94381915317496</c:v>
                </c:pt>
                <c:pt idx="4440">
                  <c:v>406.29213311698999</c:v>
                </c:pt>
                <c:pt idx="4441">
                  <c:v>387.07865222116538</c:v>
                </c:pt>
                <c:pt idx="4442">
                  <c:v>362.69662889201993</c:v>
                </c:pt>
                <c:pt idx="4443">
                  <c:v>366.23595537764305</c:v>
                </c:pt>
                <c:pt idx="4444">
                  <c:v>362.97752750053837</c:v>
                </c:pt>
                <c:pt idx="4445">
                  <c:v>391.57303263632099</c:v>
                </c:pt>
                <c:pt idx="4446">
                  <c:v>407.07865189970209</c:v>
                </c:pt>
                <c:pt idx="4447">
                  <c:v>461.01123295473252</c:v>
                </c:pt>
                <c:pt idx="4448">
                  <c:v>474.04493910543039</c:v>
                </c:pt>
                <c:pt idx="4449">
                  <c:v>468.25842910938053</c:v>
                </c:pt>
                <c:pt idx="4450">
                  <c:v>448.03370786516854</c:v>
                </c:pt>
                <c:pt idx="4451">
                  <c:v>425.78651663962376</c:v>
                </c:pt>
                <c:pt idx="4452">
                  <c:v>442.97753023297599</c:v>
                </c:pt>
                <c:pt idx="4453">
                  <c:v>429.43819988979385</c:v>
                </c:pt>
                <c:pt idx="4454">
                  <c:v>446.51685136087826</c:v>
                </c:pt>
                <c:pt idx="4455">
                  <c:v>441.23596019959183</c:v>
                </c:pt>
                <c:pt idx="4456">
                  <c:v>476.34831975015362</c:v>
                </c:pt>
                <c:pt idx="4457">
                  <c:v>449.66292649172669</c:v>
                </c:pt>
                <c:pt idx="4458">
                  <c:v>451.29213440284303</c:v>
                </c:pt>
                <c:pt idx="4459">
                  <c:v>464.94382151057215</c:v>
                </c:pt>
                <c:pt idx="4460">
                  <c:v>458.76404408658493</c:v>
                </c:pt>
                <c:pt idx="4461">
                  <c:v>489.49437730767755</c:v>
                </c:pt>
                <c:pt idx="4462">
                  <c:v>488.42696929245852</c:v>
                </c:pt>
                <c:pt idx="4463">
                  <c:v>474.10112016656427</c:v>
                </c:pt>
                <c:pt idx="4464">
                  <c:v>447.64045115267294</c:v>
                </c:pt>
                <c:pt idx="4465">
                  <c:v>418.70786366837751</c:v>
                </c:pt>
                <c:pt idx="4466">
                  <c:v>386.06741455163848</c:v>
                </c:pt>
                <c:pt idx="4467">
                  <c:v>381.46067201421505</c:v>
                </c:pt>
                <c:pt idx="4468">
                  <c:v>385.56179839573554</c:v>
                </c:pt>
                <c:pt idx="4469">
                  <c:v>395.95505360806925</c:v>
                </c:pt>
                <c:pt idx="4470">
                  <c:v>411.01123509782087</c:v>
                </c:pt>
                <c:pt idx="4471">
                  <c:v>429.49438095092773</c:v>
                </c:pt>
                <c:pt idx="4472">
                  <c:v>464.3258405535409</c:v>
                </c:pt>
                <c:pt idx="4473">
                  <c:v>538.53932927163805</c:v>
                </c:pt>
                <c:pt idx="4474">
                  <c:v>521.40449406055927</c:v>
                </c:pt>
                <c:pt idx="4475">
                  <c:v>476.62921333580874</c:v>
                </c:pt>
                <c:pt idx="4476">
                  <c:v>468.65168515216101</c:v>
                </c:pt>
                <c:pt idx="4477">
                  <c:v>440.22471918148943</c:v>
                </c:pt>
                <c:pt idx="4478">
                  <c:v>403.59550547064021</c:v>
                </c:pt>
                <c:pt idx="4479">
                  <c:v>391.23595497581397</c:v>
                </c:pt>
                <c:pt idx="4480">
                  <c:v>410.16854061169573</c:v>
                </c:pt>
                <c:pt idx="4481">
                  <c:v>399.49438277255285</c:v>
                </c:pt>
                <c:pt idx="4482">
                  <c:v>402.41573098000515</c:v>
                </c:pt>
                <c:pt idx="4483">
                  <c:v>424.32584119646737</c:v>
                </c:pt>
                <c:pt idx="4484">
                  <c:v>417.07865039954027</c:v>
                </c:pt>
                <c:pt idx="4485">
                  <c:v>426.57303542233586</c:v>
                </c:pt>
                <c:pt idx="4486">
                  <c:v>446.5730324220122</c:v>
                </c:pt>
                <c:pt idx="4487">
                  <c:v>439.10112273827031</c:v>
                </c:pt>
                <c:pt idx="4488">
                  <c:v>423.93258448397177</c:v>
                </c:pt>
                <c:pt idx="4489">
                  <c:v>388.42696554205395</c:v>
                </c:pt>
                <c:pt idx="4490">
                  <c:v>374.32584333955572</c:v>
                </c:pt>
                <c:pt idx="4491">
                  <c:v>370.89887629734</c:v>
                </c:pt>
                <c:pt idx="4492">
                  <c:v>369.71910080213229</c:v>
                </c:pt>
                <c:pt idx="4493">
                  <c:v>382.30337185806104</c:v>
                </c:pt>
                <c:pt idx="4494">
                  <c:v>394.83145917399548</c:v>
                </c:pt>
                <c:pt idx="4495">
                  <c:v>406.91011407402124</c:v>
                </c:pt>
                <c:pt idx="4496">
                  <c:v>421.12359571992681</c:v>
                </c:pt>
                <c:pt idx="4497">
                  <c:v>450.39325885558401</c:v>
                </c:pt>
                <c:pt idx="4498">
                  <c:v>470.39325585526029</c:v>
                </c:pt>
                <c:pt idx="4499">
                  <c:v>473.70786345406867</c:v>
                </c:pt>
                <c:pt idx="4500">
                  <c:v>455.16854189754872</c:v>
                </c:pt>
                <c:pt idx="4501">
                  <c:v>439.55056051189985</c:v>
                </c:pt>
                <c:pt idx="4502">
                  <c:v>425.89887876189158</c:v>
                </c:pt>
                <c:pt idx="4503">
                  <c:v>420.00000128585305</c:v>
                </c:pt>
                <c:pt idx="4504">
                  <c:v>420.00000128585305</c:v>
                </c:pt>
                <c:pt idx="4505">
                  <c:v>420.1685391115339</c:v>
                </c:pt>
                <c:pt idx="4506">
                  <c:v>420.84269577197819</c:v>
                </c:pt>
                <c:pt idx="4507">
                  <c:v>448.65168346447894</c:v>
                </c:pt>
                <c:pt idx="4508">
                  <c:v>462.24718951107411</c:v>
                </c:pt>
                <c:pt idx="4509">
                  <c:v>459.77528175611178</c:v>
                </c:pt>
                <c:pt idx="4510">
                  <c:v>462.97752723265233</c:v>
                </c:pt>
                <c:pt idx="4511">
                  <c:v>439.71910369530156</c:v>
                </c:pt>
                <c:pt idx="4512">
                  <c:v>417.75280705998455</c:v>
                </c:pt>
                <c:pt idx="4513">
                  <c:v>375.50561883476342</c:v>
                </c:pt>
                <c:pt idx="4514">
                  <c:v>368.98876308055407</c:v>
                </c:pt>
                <c:pt idx="4515">
                  <c:v>368.25842803783632</c:v>
                </c:pt>
                <c:pt idx="4516">
                  <c:v>373.25842728775541</c:v>
                </c:pt>
                <c:pt idx="4517">
                  <c:v>394.10112413127774</c:v>
                </c:pt>
                <c:pt idx="4518">
                  <c:v>401.85393108410784</c:v>
                </c:pt>
                <c:pt idx="4519">
                  <c:v>446.17977570951655</c:v>
                </c:pt>
                <c:pt idx="4520">
                  <c:v>463.70787031195141</c:v>
                </c:pt>
                <c:pt idx="4521">
                  <c:v>431.51685628998149</c:v>
                </c:pt>
                <c:pt idx="4522">
                  <c:v>416.57303156477684</c:v>
                </c:pt>
                <c:pt idx="4523">
                  <c:v>403.42696864953206</c:v>
                </c:pt>
                <c:pt idx="4524">
                  <c:v>403.42696864953206</c:v>
                </c:pt>
                <c:pt idx="4525">
                  <c:v>403.37078758839812</c:v>
                </c:pt>
                <c:pt idx="4526">
                  <c:v>385.84269566482374</c:v>
                </c:pt>
                <c:pt idx="4527">
                  <c:v>406.29213311698999</c:v>
                </c:pt>
                <c:pt idx="4528">
                  <c:v>398.65168560756729</c:v>
                </c:pt>
                <c:pt idx="4529">
                  <c:v>399.60674221596025</c:v>
                </c:pt>
                <c:pt idx="4530">
                  <c:v>417.24719358294197</c:v>
                </c:pt>
                <c:pt idx="4531">
                  <c:v>421.91011450263892</c:v>
                </c:pt>
                <c:pt idx="4532">
                  <c:v>432.58426966292137</c:v>
                </c:pt>
                <c:pt idx="4533">
                  <c:v>450.44943991671789</c:v>
                </c:pt>
                <c:pt idx="4534">
                  <c:v>453.98876104462016</c:v>
                </c:pt>
                <c:pt idx="4535">
                  <c:v>446.01123252611484</c:v>
                </c:pt>
                <c:pt idx="4536">
                  <c:v>390.16853825429854</c:v>
                </c:pt>
                <c:pt idx="4537">
                  <c:v>365.44943927379137</c:v>
                </c:pt>
                <c:pt idx="4538">
                  <c:v>328.87640428007319</c:v>
                </c:pt>
                <c:pt idx="4539">
                  <c:v>352.97752766126996</c:v>
                </c:pt>
                <c:pt idx="4540">
                  <c:v>345.33707747298683</c:v>
                </c:pt>
                <c:pt idx="4541">
                  <c:v>372.64044900958459</c:v>
                </c:pt>
                <c:pt idx="4542">
                  <c:v>403.59550647521291</c:v>
                </c:pt>
                <c:pt idx="4543">
                  <c:v>449.55056436945887</c:v>
                </c:pt>
                <c:pt idx="4544">
                  <c:v>470.78651256775589</c:v>
                </c:pt>
                <c:pt idx="4545">
                  <c:v>467.86517239688487</c:v>
                </c:pt>
                <c:pt idx="4546">
                  <c:v>448.9887644735615</c:v>
                </c:pt>
                <c:pt idx="4547">
                  <c:v>442.7528059884404</c:v>
                </c:pt>
                <c:pt idx="4548">
                  <c:v>431.68539411566235</c:v>
                </c:pt>
                <c:pt idx="4549">
                  <c:v>427.0224731959654</c:v>
                </c:pt>
                <c:pt idx="4550">
                  <c:v>428.48314863912179</c:v>
                </c:pt>
                <c:pt idx="4551">
                  <c:v>450.50562097785178</c:v>
                </c:pt>
                <c:pt idx="4552">
                  <c:v>423.76404665829091</c:v>
                </c:pt>
                <c:pt idx="4553">
                  <c:v>429.10112423843213</c:v>
                </c:pt>
                <c:pt idx="4554">
                  <c:v>454.55056094051747</c:v>
                </c:pt>
                <c:pt idx="4555">
                  <c:v>453.08988549736108</c:v>
                </c:pt>
                <c:pt idx="4556">
                  <c:v>471.40449352478714</c:v>
                </c:pt>
                <c:pt idx="4557">
                  <c:v>487.75280727429339</c:v>
                </c:pt>
                <c:pt idx="4558">
                  <c:v>477.92134660013608</c:v>
                </c:pt>
                <c:pt idx="4559">
                  <c:v>449.04494553469544</c:v>
                </c:pt>
                <c:pt idx="4560">
                  <c:v>407.97752744696118</c:v>
                </c:pt>
                <c:pt idx="4561">
                  <c:v>379.88763980651174</c:v>
                </c:pt>
                <c:pt idx="4562">
                  <c:v>367.19101198603602</c:v>
                </c:pt>
                <c:pt idx="4563">
                  <c:v>364.55056104767192</c:v>
                </c:pt>
                <c:pt idx="4564">
                  <c:v>367.47190925512422</c:v>
                </c:pt>
                <c:pt idx="4565">
                  <c:v>382.4719096837419</c:v>
                </c:pt>
                <c:pt idx="4566">
                  <c:v>409.60674071579837</c:v>
                </c:pt>
                <c:pt idx="4567">
                  <c:v>449.77527789855276</c:v>
                </c:pt>
                <c:pt idx="4568">
                  <c:v>477.86516553900219</c:v>
                </c:pt>
                <c:pt idx="4569">
                  <c:v>490.95505275083394</c:v>
                </c:pt>
                <c:pt idx="4570">
                  <c:v>467.19101037871974</c:v>
                </c:pt>
                <c:pt idx="4571">
                  <c:v>465.955059180099</c:v>
                </c:pt>
                <c:pt idx="4572">
                  <c:v>435.56180161036804</c:v>
                </c:pt>
                <c:pt idx="4573">
                  <c:v>425.6179788139429</c:v>
                </c:pt>
                <c:pt idx="4574">
                  <c:v>402.07864997092258</c:v>
                </c:pt>
                <c:pt idx="4575">
                  <c:v>417.41573140862283</c:v>
                </c:pt>
                <c:pt idx="4576">
                  <c:v>408.37078415945678</c:v>
                </c:pt>
                <c:pt idx="4577">
                  <c:v>411.46067287145036</c:v>
                </c:pt>
                <c:pt idx="4578">
                  <c:v>408.03370850809506</c:v>
                </c:pt>
                <c:pt idx="4579">
                  <c:v>422.9775278755788</c:v>
                </c:pt>
                <c:pt idx="4580">
                  <c:v>433.25842632336565</c:v>
                </c:pt>
                <c:pt idx="4581">
                  <c:v>449.10112659582933</c:v>
                </c:pt>
                <c:pt idx="4582">
                  <c:v>460.78651942563863</c:v>
                </c:pt>
                <c:pt idx="4583">
                  <c:v>438.76404708690859</c:v>
                </c:pt>
                <c:pt idx="4584">
                  <c:v>403.93258212657457</c:v>
                </c:pt>
                <c:pt idx="4585">
                  <c:v>375.11236212226783</c:v>
                </c:pt>
                <c:pt idx="4586">
                  <c:v>357.92134852891559</c:v>
                </c:pt>
                <c:pt idx="4587">
                  <c:v>362.64045050974642</c:v>
                </c:pt>
                <c:pt idx="4588">
                  <c:v>365.84269598628697</c:v>
                </c:pt>
                <c:pt idx="4589">
                  <c:v>371.29213568869602</c:v>
                </c:pt>
                <c:pt idx="4590">
                  <c:v>422.5842711630832</c:v>
                </c:pt>
                <c:pt idx="4591">
                  <c:v>449.10112123810848</c:v>
                </c:pt>
                <c:pt idx="4592">
                  <c:v>453.31460438417588</c:v>
                </c:pt>
                <c:pt idx="4593">
                  <c:v>445.28090016225752</c:v>
                </c:pt>
                <c:pt idx="4594">
                  <c:v>443.70786259683331</c:v>
                </c:pt>
                <c:pt idx="4595">
                  <c:v>423.82022236170394</c:v>
                </c:pt>
                <c:pt idx="4596">
                  <c:v>419.43820138995568</c:v>
                </c:pt>
                <c:pt idx="4597">
                  <c:v>430.4494375593207</c:v>
                </c:pt>
                <c:pt idx="4598">
                  <c:v>410.33707843737659</c:v>
                </c:pt>
                <c:pt idx="4599">
                  <c:v>421.74157131923721</c:v>
                </c:pt>
                <c:pt idx="4600">
                  <c:v>428.42696757798785</c:v>
                </c:pt>
                <c:pt idx="4601">
                  <c:v>432.02246976702401</c:v>
                </c:pt>
                <c:pt idx="4602">
                  <c:v>445.84269470043398</c:v>
                </c:pt>
                <c:pt idx="4603">
                  <c:v>450.67415880353263</c:v>
                </c:pt>
                <c:pt idx="4604">
                  <c:v>462.64045158129062</c:v>
                </c:pt>
                <c:pt idx="4605">
                  <c:v>475.95505232221626</c:v>
                </c:pt>
                <c:pt idx="4606">
                  <c:v>483.42696200595816</c:v>
                </c:pt>
                <c:pt idx="4607">
                  <c:v>474.66292006246164</c:v>
                </c:pt>
                <c:pt idx="4608">
                  <c:v>404.49438202247194</c:v>
                </c:pt>
                <c:pt idx="4609">
                  <c:v>387.64044943820227</c:v>
                </c:pt>
                <c:pt idx="4610">
                  <c:v>359.55056179775283</c:v>
                </c:pt>
                <c:pt idx="4611">
                  <c:v>376.40449438202251</c:v>
                </c:pt>
                <c:pt idx="4612">
                  <c:v>393.25842696629218</c:v>
                </c:pt>
                <c:pt idx="4613">
                  <c:v>426.96629213483146</c:v>
                </c:pt>
                <c:pt idx="4614">
                  <c:v>471.91011235955057</c:v>
                </c:pt>
                <c:pt idx="4615">
                  <c:v>466.29213483146071</c:v>
                </c:pt>
                <c:pt idx="4616">
                  <c:v>455.0561797752809</c:v>
                </c:pt>
                <c:pt idx="4617">
                  <c:v>460.67415730337081</c:v>
                </c:pt>
                <c:pt idx="4618">
                  <c:v>449.43820224719104</c:v>
                </c:pt>
                <c:pt idx="4619">
                  <c:v>421.34831460674161</c:v>
                </c:pt>
                <c:pt idx="4620">
                  <c:v>415.7303370786517</c:v>
                </c:pt>
                <c:pt idx="4621">
                  <c:v>421.34831460674161</c:v>
                </c:pt>
                <c:pt idx="4622">
                  <c:v>382.02247191011236</c:v>
                </c:pt>
                <c:pt idx="4623">
                  <c:v>421.34831460674161</c:v>
                </c:pt>
                <c:pt idx="4624">
                  <c:v>426.96629213483146</c:v>
                </c:pt>
                <c:pt idx="4625">
                  <c:v>426.96629213483146</c:v>
                </c:pt>
                <c:pt idx="4626">
                  <c:v>421.34831460674161</c:v>
                </c:pt>
                <c:pt idx="4627">
                  <c:v>438.20224719101128</c:v>
                </c:pt>
                <c:pt idx="4628">
                  <c:v>460.67415730337081</c:v>
                </c:pt>
                <c:pt idx="4629">
                  <c:v>460.67415730337081</c:v>
                </c:pt>
                <c:pt idx="4630">
                  <c:v>460.67415730337081</c:v>
                </c:pt>
                <c:pt idx="4631">
                  <c:v>443.82022471910113</c:v>
                </c:pt>
                <c:pt idx="4632">
                  <c:v>398.87640449438203</c:v>
                </c:pt>
                <c:pt idx="4633">
                  <c:v>370.7865168539326</c:v>
                </c:pt>
                <c:pt idx="4634">
                  <c:v>359.55056179775283</c:v>
                </c:pt>
                <c:pt idx="4635">
                  <c:v>359.55056179775283</c:v>
                </c:pt>
                <c:pt idx="4636">
                  <c:v>348.31460674157307</c:v>
                </c:pt>
                <c:pt idx="4637">
                  <c:v>366.40449320332391</c:v>
                </c:pt>
                <c:pt idx="4638">
                  <c:v>375.39325939135608</c:v>
                </c:pt>
                <c:pt idx="4639">
                  <c:v>388.53932498546129</c:v>
                </c:pt>
                <c:pt idx="4640">
                  <c:v>413.48314821050411</c:v>
                </c:pt>
                <c:pt idx="4641">
                  <c:v>435.44943948810021</c:v>
                </c:pt>
                <c:pt idx="4642">
                  <c:v>466.3483158925946</c:v>
                </c:pt>
                <c:pt idx="4643">
                  <c:v>458.98876833112053</c:v>
                </c:pt>
                <c:pt idx="4644">
                  <c:v>447.75280791721991</c:v>
                </c:pt>
                <c:pt idx="4645">
                  <c:v>442.41573033707868</c:v>
                </c:pt>
                <c:pt idx="4646">
                  <c:v>394.32584033923206</c:v>
                </c:pt>
                <c:pt idx="4647">
                  <c:v>399.55056115482631</c:v>
                </c:pt>
                <c:pt idx="4648">
                  <c:v>405.05618191836925</c:v>
                </c:pt>
                <c:pt idx="4649">
                  <c:v>401.17977442366356</c:v>
                </c:pt>
                <c:pt idx="4650">
                  <c:v>409.55055965466448</c:v>
                </c:pt>
                <c:pt idx="4651">
                  <c:v>407.41573290878472</c:v>
                </c:pt>
                <c:pt idx="4652">
                  <c:v>411.96629170621384</c:v>
                </c:pt>
                <c:pt idx="4653">
                  <c:v>423.82022236170394</c:v>
                </c:pt>
                <c:pt idx="4654">
                  <c:v>427.86516768209054</c:v>
                </c:pt>
                <c:pt idx="4655">
                  <c:v>415.16853718275439</c:v>
                </c:pt>
                <c:pt idx="4656">
                  <c:v>392.07865147108447</c:v>
                </c:pt>
                <c:pt idx="4657">
                  <c:v>376.79775377337853</c:v>
                </c:pt>
                <c:pt idx="4658">
                  <c:v>350.61797801028479</c:v>
                </c:pt>
                <c:pt idx="4659">
                  <c:v>351.96629267060359</c:v>
                </c:pt>
                <c:pt idx="4660">
                  <c:v>357.75280936380454</c:v>
                </c:pt>
                <c:pt idx="4661">
                  <c:v>359.83146174570152</c:v>
                </c:pt>
                <c:pt idx="4662">
                  <c:v>367.02247148149473</c:v>
                </c:pt>
                <c:pt idx="4663">
                  <c:v>376.68539432997113</c:v>
                </c:pt>
                <c:pt idx="4664">
                  <c:v>386.74157389094324</c:v>
                </c:pt>
                <c:pt idx="4665">
                  <c:v>413.87640492299971</c:v>
                </c:pt>
                <c:pt idx="4666">
                  <c:v>434.94382065333679</c:v>
                </c:pt>
                <c:pt idx="4667">
                  <c:v>445.84270005815489</c:v>
                </c:pt>
                <c:pt idx="4668">
                  <c:v>433.03370743655091</c:v>
                </c:pt>
                <c:pt idx="4669">
                  <c:v>431.91011300247709</c:v>
                </c:pt>
                <c:pt idx="4670">
                  <c:v>403.87640642316154</c:v>
                </c:pt>
                <c:pt idx="4671">
                  <c:v>417.47191246975677</c:v>
                </c:pt>
                <c:pt idx="4672">
                  <c:v>400.67415558890013</c:v>
                </c:pt>
                <c:pt idx="4673">
                  <c:v>399.49438009369243</c:v>
                </c:pt>
                <c:pt idx="4674">
                  <c:v>416.3483126779621</c:v>
                </c:pt>
                <c:pt idx="4675">
                  <c:v>425.56179775280901</c:v>
                </c:pt>
                <c:pt idx="4676">
                  <c:v>430.16853761137202</c:v>
                </c:pt>
                <c:pt idx="4677">
                  <c:v>452.247191011236</c:v>
                </c:pt>
                <c:pt idx="4678">
                  <c:v>462.3033759299289</c:v>
                </c:pt>
                <c:pt idx="4679">
                  <c:v>449.26965906378928</c:v>
                </c:pt>
                <c:pt idx="4680">
                  <c:v>396.62921562623444</c:v>
                </c:pt>
                <c:pt idx="4681">
                  <c:v>387.19101166457273</c:v>
                </c:pt>
                <c:pt idx="4682">
                  <c:v>354.32584098215852</c:v>
                </c:pt>
                <c:pt idx="4683">
                  <c:v>375</c:v>
                </c:pt>
                <c:pt idx="4684">
                  <c:v>370.95505467961345</c:v>
                </c:pt>
                <c:pt idx="4685">
                  <c:v>385.05617956097205</c:v>
                </c:pt>
                <c:pt idx="4686">
                  <c:v>402.24719315432435</c:v>
                </c:pt>
                <c:pt idx="4687">
                  <c:v>458.31460631295539</c:v>
                </c:pt>
                <c:pt idx="4688">
                  <c:v>446.34831889291831</c:v>
                </c:pt>
                <c:pt idx="4689">
                  <c:v>435.73033943604889</c:v>
                </c:pt>
                <c:pt idx="4690">
                  <c:v>404.49438202247194</c:v>
                </c:pt>
                <c:pt idx="4691">
                  <c:v>413.59550497505103</c:v>
                </c:pt>
                <c:pt idx="4692">
                  <c:v>397.75281006030826</c:v>
                </c:pt>
                <c:pt idx="4693">
                  <c:v>393.70786473992166</c:v>
                </c:pt>
                <c:pt idx="4694">
                  <c:v>417.35955034748895</c:v>
                </c:pt>
                <c:pt idx="4695">
                  <c:v>429.71909983774253</c:v>
                </c:pt>
                <c:pt idx="4696">
                  <c:v>376.62921347812323</c:v>
                </c:pt>
                <c:pt idx="4697">
                  <c:v>359.606741571778</c:v>
                </c:pt>
                <c:pt idx="4698">
                  <c:v>365.84269598628697</c:v>
                </c:pt>
                <c:pt idx="4699">
                  <c:v>411.96629170621384</c:v>
                </c:pt>
                <c:pt idx="4700">
                  <c:v>416.62921262591072</c:v>
                </c:pt>
                <c:pt idx="4701">
                  <c:v>425.95505446530461</c:v>
                </c:pt>
                <c:pt idx="4702">
                  <c:v>442.13483574685085</c:v>
                </c:pt>
                <c:pt idx="4703">
                  <c:v>434.6629207053881</c:v>
                </c:pt>
                <c:pt idx="4704">
                  <c:v>375.2247188868148</c:v>
                </c:pt>
                <c:pt idx="4705">
                  <c:v>363.65168550041284</c:v>
                </c:pt>
                <c:pt idx="4706">
                  <c:v>354.10112477420421</c:v>
                </c:pt>
                <c:pt idx="4707">
                  <c:v>310.33707736583239</c:v>
                </c:pt>
                <c:pt idx="4708">
                  <c:v>310.11235847901764</c:v>
                </c:pt>
                <c:pt idx="4709">
                  <c:v>451.01123713375478</c:v>
                </c:pt>
                <c:pt idx="4710">
                  <c:v>457.47190914796982</c:v>
                </c:pt>
                <c:pt idx="4711">
                  <c:v>464.94382151057215</c:v>
                </c:pt>
                <c:pt idx="4712">
                  <c:v>449.04494553469544</c:v>
                </c:pt>
                <c:pt idx="4713">
                  <c:v>448.53932669993202</c:v>
                </c:pt>
                <c:pt idx="4714">
                  <c:v>420.95505789424595</c:v>
                </c:pt>
                <c:pt idx="4715">
                  <c:v>420.44943905948253</c:v>
                </c:pt>
                <c:pt idx="4716">
                  <c:v>402.30336885773738</c:v>
                </c:pt>
                <c:pt idx="4717">
                  <c:v>402.86516875363469</c:v>
                </c:pt>
                <c:pt idx="4718">
                  <c:v>386.4044955607211</c:v>
                </c:pt>
                <c:pt idx="4719">
                  <c:v>408.31460845604374</c:v>
                </c:pt>
                <c:pt idx="4720">
                  <c:v>393.6516863576482</c:v>
                </c:pt>
                <c:pt idx="4721">
                  <c:v>405.89887640449439</c:v>
                </c:pt>
                <c:pt idx="4722">
                  <c:v>455.15168717737953</c:v>
                </c:pt>
                <c:pt idx="4723">
                  <c:v>441.15730215994159</c:v>
                </c:pt>
                <c:pt idx="4724">
                  <c:v>439.07303204027454</c:v>
                </c:pt>
                <c:pt idx="4725">
                  <c:v>450.24157273635439</c:v>
                </c:pt>
                <c:pt idx="4726">
                  <c:v>462.26404624038872</c:v>
                </c:pt>
                <c:pt idx="4727">
                  <c:v>434.28651787591787</c:v>
                </c:pt>
                <c:pt idx="4728">
                  <c:v>379.96629483244396</c:v>
                </c:pt>
                <c:pt idx="4729">
                  <c:v>364.16292039865857</c:v>
                </c:pt>
                <c:pt idx="4730">
                  <c:v>352.9999992820654</c:v>
                </c:pt>
                <c:pt idx="4731">
                  <c:v>361.55617789606032</c:v>
                </c:pt>
                <c:pt idx="4732">
                  <c:v>365.66853807883319</c:v>
                </c:pt>
                <c:pt idx="4733">
                  <c:v>383.02808899557994</c:v>
                </c:pt>
                <c:pt idx="4734">
                  <c:v>405.06179530299113</c:v>
                </c:pt>
                <c:pt idx="4735">
                  <c:v>431.5393242273438</c:v>
                </c:pt>
                <c:pt idx="4736">
                  <c:v>434.00561909997066</c:v>
                </c:pt>
                <c:pt idx="4737">
                  <c:v>432.1741575605414</c:v>
                </c:pt>
                <c:pt idx="4738">
                  <c:v>409.30337036091294</c:v>
                </c:pt>
                <c:pt idx="4739">
                  <c:v>405.6404470727685</c:v>
                </c:pt>
                <c:pt idx="4740">
                  <c:v>400.08988876021311</c:v>
                </c:pt>
                <c:pt idx="4741">
                  <c:v>396.70786495958822</c:v>
                </c:pt>
                <c:pt idx="4742">
                  <c:v>370.64606788453091</c:v>
                </c:pt>
                <c:pt idx="4743">
                  <c:v>379.24719074468936</c:v>
                </c:pt>
                <c:pt idx="4744">
                  <c:v>385.95505510823114</c:v>
                </c:pt>
                <c:pt idx="4745">
                  <c:v>391.46067587177407</c:v>
                </c:pt>
                <c:pt idx="4746">
                  <c:v>406.46067630039175</c:v>
                </c:pt>
                <c:pt idx="4747">
                  <c:v>411.34831610690344</c:v>
                </c:pt>
                <c:pt idx="4748">
                  <c:v>421.23595248447378</c:v>
                </c:pt>
                <c:pt idx="4749">
                  <c:v>431.46067522884755</c:v>
                </c:pt>
                <c:pt idx="4750">
                  <c:v>435.50562054923415</c:v>
                </c:pt>
                <c:pt idx="4751">
                  <c:v>418.59550690383054</c:v>
                </c:pt>
                <c:pt idx="4752">
                  <c:v>377.13483210360067</c:v>
                </c:pt>
                <c:pt idx="4753">
                  <c:v>355.78651642531491</c:v>
                </c:pt>
                <c:pt idx="4754">
                  <c:v>335.7865167467782</c:v>
                </c:pt>
                <c:pt idx="4755">
                  <c:v>342.86516971802445</c:v>
                </c:pt>
                <c:pt idx="4756">
                  <c:v>348.48314724611436</c:v>
                </c:pt>
                <c:pt idx="4757">
                  <c:v>354.83145981692201</c:v>
                </c:pt>
                <c:pt idx="4758">
                  <c:v>382.0786529712463</c:v>
                </c:pt>
                <c:pt idx="4759">
                  <c:v>402.75280663136687</c:v>
                </c:pt>
                <c:pt idx="4760">
                  <c:v>419.9438202247191</c:v>
                </c:pt>
                <c:pt idx="4761">
                  <c:v>429.49438095092773</c:v>
                </c:pt>
                <c:pt idx="4762">
                  <c:v>420.5617958240295</c:v>
                </c:pt>
                <c:pt idx="4763">
                  <c:v>413.20224826255543</c:v>
                </c:pt>
                <c:pt idx="4764">
                  <c:v>400.28089887640454</c:v>
                </c:pt>
                <c:pt idx="4765">
                  <c:v>396.74157239078136</c:v>
                </c:pt>
                <c:pt idx="4766">
                  <c:v>389.26966270703952</c:v>
                </c:pt>
                <c:pt idx="4767">
                  <c:v>389.04494382022472</c:v>
                </c:pt>
                <c:pt idx="4768">
                  <c:v>382.80899069282447</c:v>
                </c:pt>
                <c:pt idx="4769">
                  <c:v>396.01123466920319</c:v>
                </c:pt>
                <c:pt idx="4770">
                  <c:v>396.68539132964747</c:v>
                </c:pt>
                <c:pt idx="4771">
                  <c:v>408.76404622967323</c:v>
                </c:pt>
                <c:pt idx="4772">
                  <c:v>410.56179732419133</c:v>
                </c:pt>
                <c:pt idx="4773">
                  <c:v>425.11235997917947</c:v>
                </c:pt>
                <c:pt idx="4774">
                  <c:v>422.19100909286675</c:v>
                </c:pt>
                <c:pt idx="4775">
                  <c:v>403.25842546613029</c:v>
                </c:pt>
                <c:pt idx="4776">
                  <c:v>367.02247148149473</c:v>
                </c:pt>
                <c:pt idx="4777">
                  <c:v>341.91011310963148</c:v>
                </c:pt>
                <c:pt idx="4778">
                  <c:v>324.55056169059839</c:v>
                </c:pt>
                <c:pt idx="4779">
                  <c:v>333.25842793068193</c:v>
                </c:pt>
                <c:pt idx="4780">
                  <c:v>339.10112434558658</c:v>
                </c:pt>
                <c:pt idx="4781">
                  <c:v>354.32584366101901</c:v>
                </c:pt>
                <c:pt idx="4782">
                  <c:v>370.16853857576177</c:v>
                </c:pt>
                <c:pt idx="4783">
                  <c:v>413.65168603618497</c:v>
                </c:pt>
                <c:pt idx="4784">
                  <c:v>425.56179775280901</c:v>
                </c:pt>
                <c:pt idx="4785">
                  <c:v>417.07865039954027</c:v>
                </c:pt>
                <c:pt idx="4786">
                  <c:v>410.67415944645916</c:v>
                </c:pt>
                <c:pt idx="4787">
                  <c:v>407.02247083856821</c:v>
                </c:pt>
                <c:pt idx="4788">
                  <c:v>390.95505703701065</c:v>
                </c:pt>
                <c:pt idx="4789">
                  <c:v>386.40449288186062</c:v>
                </c:pt>
                <c:pt idx="4790">
                  <c:v>368.70786581146587</c:v>
                </c:pt>
                <c:pt idx="4791">
                  <c:v>374.94381893886612</c:v>
                </c:pt>
                <c:pt idx="4792">
                  <c:v>393.82022686218949</c:v>
                </c:pt>
                <c:pt idx="4793">
                  <c:v>384.83146067415731</c:v>
                </c:pt>
                <c:pt idx="4794">
                  <c:v>387.24719272570667</c:v>
                </c:pt>
                <c:pt idx="4795">
                  <c:v>393.70786473992166</c:v>
                </c:pt>
                <c:pt idx="4796">
                  <c:v>395.73033472125451</c:v>
                </c:pt>
                <c:pt idx="4797">
                  <c:v>402.52808774455212</c:v>
                </c:pt>
                <c:pt idx="4798">
                  <c:v>407.07865189970209</c:v>
                </c:pt>
                <c:pt idx="4799">
                  <c:v>382.4719096837419</c:v>
                </c:pt>
                <c:pt idx="4800">
                  <c:v>363.59550443927895</c:v>
                </c:pt>
                <c:pt idx="4801">
                  <c:v>326.51685328965777</c:v>
                </c:pt>
                <c:pt idx="4802">
                  <c:v>319.8876407709015</c:v>
                </c:pt>
                <c:pt idx="4803">
                  <c:v>316.96629256344914</c:v>
                </c:pt>
                <c:pt idx="4804">
                  <c:v>324.15730229924236</c:v>
                </c:pt>
                <c:pt idx="4805">
                  <c:v>329.04494478461447</c:v>
                </c:pt>
                <c:pt idx="4806">
                  <c:v>342.86516971802445</c:v>
                </c:pt>
                <c:pt idx="4807">
                  <c:v>372.69663007071853</c:v>
                </c:pt>
                <c:pt idx="4808">
                  <c:v>393.20224590515824</c:v>
                </c:pt>
                <c:pt idx="4809">
                  <c:v>411.5168539325843</c:v>
                </c:pt>
                <c:pt idx="4810">
                  <c:v>414.32584269662925</c:v>
                </c:pt>
                <c:pt idx="4811">
                  <c:v>412.696629427792</c:v>
                </c:pt>
                <c:pt idx="4812">
                  <c:v>398.87640449438203</c:v>
                </c:pt>
                <c:pt idx="4813">
                  <c:v>380.16853975446037</c:v>
                </c:pt>
                <c:pt idx="4814">
                  <c:v>361.91011278816825</c:v>
                </c:pt>
                <c:pt idx="4815">
                  <c:v>372.69663007071853</c:v>
                </c:pt>
                <c:pt idx="4816">
                  <c:v>363.14606666564941</c:v>
                </c:pt>
                <c:pt idx="4817">
                  <c:v>372.1910112359551</c:v>
                </c:pt>
                <c:pt idx="4818">
                  <c:v>363.08988828337596</c:v>
                </c:pt>
                <c:pt idx="4819">
                  <c:v>373.59550561797755</c:v>
                </c:pt>
                <c:pt idx="4820">
                  <c:v>375.89887554725908</c:v>
                </c:pt>
                <c:pt idx="4821">
                  <c:v>393.48314585310692</c:v>
                </c:pt>
                <c:pt idx="4822">
                  <c:v>381.62921251875633</c:v>
                </c:pt>
                <c:pt idx="4823">
                  <c:v>376.46067544315639</c:v>
                </c:pt>
                <c:pt idx="4824">
                  <c:v>332.07865243547423</c:v>
                </c:pt>
                <c:pt idx="4825">
                  <c:v>312.64044997397434</c:v>
                </c:pt>
                <c:pt idx="4826">
                  <c:v>303.31460679515027</c:v>
                </c:pt>
                <c:pt idx="4827">
                  <c:v>302.97752846492813</c:v>
                </c:pt>
                <c:pt idx="4828">
                  <c:v>313.20224719101122</c:v>
                </c:pt>
                <c:pt idx="4829">
                  <c:v>324.88764002082053</c:v>
                </c:pt>
                <c:pt idx="4830">
                  <c:v>335.67415730337081</c:v>
                </c:pt>
                <c:pt idx="4831">
                  <c:v>339.21348378899393</c:v>
                </c:pt>
                <c:pt idx="4832">
                  <c:v>371.06741680188128</c:v>
                </c:pt>
                <c:pt idx="4833">
                  <c:v>386.74157389094324</c:v>
                </c:pt>
                <c:pt idx="4834">
                  <c:v>390.89887597587671</c:v>
                </c:pt>
                <c:pt idx="4835">
                  <c:v>389.3258437681734</c:v>
                </c:pt>
                <c:pt idx="4836">
                  <c:v>378.53932648562318</c:v>
                </c:pt>
                <c:pt idx="4837">
                  <c:v>377.47190775496239</c:v>
                </c:pt>
                <c:pt idx="4838">
                  <c:v>370.33707908030306</c:v>
                </c:pt>
                <c:pt idx="4839">
                  <c:v>373.03370840094067</c:v>
                </c:pt>
                <c:pt idx="4840">
                  <c:v>369.55056297645143</c:v>
                </c:pt>
                <c:pt idx="4841">
                  <c:v>372.02247073141376</c:v>
                </c:pt>
                <c:pt idx="4842">
                  <c:v>377.92134820745235</c:v>
                </c:pt>
                <c:pt idx="4843">
                  <c:v>384.10112295257915</c:v>
                </c:pt>
                <c:pt idx="4844">
                  <c:v>393.42696479197298</c:v>
                </c:pt>
                <c:pt idx="4845">
                  <c:v>408.65168410740546</c:v>
                </c:pt>
                <c:pt idx="4846">
                  <c:v>404.55056308360582</c:v>
                </c:pt>
                <c:pt idx="4847">
                  <c:v>386.12359293391199</c:v>
                </c:pt>
                <c:pt idx="4848">
                  <c:v>344.99999914276469</c:v>
                </c:pt>
                <c:pt idx="4849">
                  <c:v>327.92134767168022</c:v>
                </c:pt>
                <c:pt idx="4850">
                  <c:v>309.71910176652204</c:v>
                </c:pt>
                <c:pt idx="4851">
                  <c:v>315.67415762483404</c:v>
                </c:pt>
                <c:pt idx="4852">
                  <c:v>327.52808961975444</c:v>
                </c:pt>
                <c:pt idx="4853">
                  <c:v>334.94381958179264</c:v>
                </c:pt>
                <c:pt idx="4854">
                  <c:v>353.82022482625558</c:v>
                </c:pt>
                <c:pt idx="4855">
                  <c:v>373.82022450479229</c:v>
                </c:pt>
                <c:pt idx="4856">
                  <c:v>388.37078715978043</c:v>
                </c:pt>
                <c:pt idx="4857">
                  <c:v>380.61797752808991</c:v>
                </c:pt>
                <c:pt idx="4858">
                  <c:v>377.80898876404495</c:v>
                </c:pt>
                <c:pt idx="4859">
                  <c:v>373.08988678321413</c:v>
                </c:pt>
                <c:pt idx="4860">
                  <c:v>378.70786431130398</c:v>
                </c:pt>
                <c:pt idx="4861">
                  <c:v>377.8651698251789</c:v>
                </c:pt>
                <c:pt idx="4862">
                  <c:v>355.78651642531491</c:v>
                </c:pt>
                <c:pt idx="4863">
                  <c:v>376.17977549520771</c:v>
                </c:pt>
                <c:pt idx="4864">
                  <c:v>364.15730433517632</c:v>
                </c:pt>
                <c:pt idx="4865">
                  <c:v>370.89887629734</c:v>
                </c:pt>
                <c:pt idx="4866">
                  <c:v>376.68539432997113</c:v>
                </c:pt>
                <c:pt idx="4867">
                  <c:v>380.16853975446037</c:v>
                </c:pt>
                <c:pt idx="4868">
                  <c:v>391.79775152313579</c:v>
                </c:pt>
                <c:pt idx="4869">
                  <c:v>398.14606677280386</c:v>
                </c:pt>
                <c:pt idx="4870">
                  <c:v>397.13482910327701</c:v>
                </c:pt>
                <c:pt idx="4871">
                  <c:v>372.58427062731113</c:v>
                </c:pt>
                <c:pt idx="4872">
                  <c:v>342.97752916143185</c:v>
                </c:pt>
                <c:pt idx="4873">
                  <c:v>333.42696575636273</c:v>
                </c:pt>
                <c:pt idx="4874">
                  <c:v>316.40449400698202</c:v>
                </c:pt>
                <c:pt idx="4875">
                  <c:v>321.12359598781285</c:v>
                </c:pt>
                <c:pt idx="4876">
                  <c:v>326.40449384625038</c:v>
                </c:pt>
                <c:pt idx="4877">
                  <c:v>336.46067474665267</c:v>
                </c:pt>
                <c:pt idx="4878">
                  <c:v>349.99999973211396</c:v>
                </c:pt>
                <c:pt idx="4879">
                  <c:v>377.02247266019327</c:v>
                </c:pt>
                <c:pt idx="4880">
                  <c:v>390.89887597587671</c:v>
                </c:pt>
                <c:pt idx="4881">
                  <c:v>394.38202140036594</c:v>
                </c:pt>
                <c:pt idx="4882">
                  <c:v>379.99999924991909</c:v>
                </c:pt>
                <c:pt idx="4883">
                  <c:v>376.57303488656379</c:v>
                </c:pt>
                <c:pt idx="4884">
                  <c:v>360.6741562318266</c:v>
                </c:pt>
                <c:pt idx="4885">
                  <c:v>353.65168432171424</c:v>
                </c:pt>
                <c:pt idx="4886">
                  <c:v>349.2134822888321</c:v>
                </c:pt>
                <c:pt idx="4887">
                  <c:v>363.37078555246421</c:v>
                </c:pt>
                <c:pt idx="4888">
                  <c:v>360.11235901478972</c:v>
                </c:pt>
                <c:pt idx="4889">
                  <c:v>360.16854007592366</c:v>
                </c:pt>
                <c:pt idx="4890">
                  <c:v>335.56179785996341</c:v>
                </c:pt>
                <c:pt idx="4891">
                  <c:v>371.91011128800642</c:v>
                </c:pt>
                <c:pt idx="4892">
                  <c:v>385.112360622106</c:v>
                </c:pt>
                <c:pt idx="4893">
                  <c:v>396.7977534519153</c:v>
                </c:pt>
                <c:pt idx="4894">
                  <c:v>415.50561819183696</c:v>
                </c:pt>
                <c:pt idx="4895">
                  <c:v>382.52809074487578</c:v>
                </c:pt>
                <c:pt idx="4896">
                  <c:v>336.40449502494897</c:v>
                </c:pt>
                <c:pt idx="4897">
                  <c:v>311.91011225239617</c:v>
                </c:pt>
                <c:pt idx="4898">
                  <c:v>297.07865165860466</c:v>
                </c:pt>
                <c:pt idx="4899">
                  <c:v>298.14606771040502</c:v>
                </c:pt>
                <c:pt idx="4900">
                  <c:v>306.85393194134315</c:v>
                </c:pt>
                <c:pt idx="4901">
                  <c:v>334.6067412515705</c:v>
                </c:pt>
                <c:pt idx="4902">
                  <c:v>353.14606682638106</c:v>
                </c:pt>
                <c:pt idx="4903">
                  <c:v>380.84269641490465</c:v>
                </c:pt>
                <c:pt idx="4904">
                  <c:v>395.56179689557365</c:v>
                </c:pt>
                <c:pt idx="4905">
                  <c:v>383.59550411781572</c:v>
                </c:pt>
                <c:pt idx="4906">
                  <c:v>394.99999967853677</c:v>
                </c:pt>
                <c:pt idx="4907">
                  <c:v>370.16853924547689</c:v>
                </c:pt>
                <c:pt idx="4908">
                  <c:v>359.49438207604913</c:v>
                </c:pt>
                <c:pt idx="4909">
                  <c:v>357.02247197708391</c:v>
                </c:pt>
                <c:pt idx="4910">
                  <c:v>353.20224721779988</c:v>
                </c:pt>
                <c:pt idx="4911">
                  <c:v>351.96629200088847</c:v>
                </c:pt>
                <c:pt idx="4912">
                  <c:v>357.92134819405806</c:v>
                </c:pt>
                <c:pt idx="4913">
                  <c:v>364.04494388719627</c:v>
                </c:pt>
                <c:pt idx="4914">
                  <c:v>346.23595502939116</c:v>
                </c:pt>
                <c:pt idx="4915">
                  <c:v>376.51685382542985</c:v>
                </c:pt>
                <c:pt idx="4916">
                  <c:v>386.51685500412844</c:v>
                </c:pt>
                <c:pt idx="4917">
                  <c:v>390.05618148975162</c:v>
                </c:pt>
                <c:pt idx="4918">
                  <c:v>398.59550454643335</c:v>
                </c:pt>
                <c:pt idx="4919">
                  <c:v>369.77528186326617</c:v>
                </c:pt>
                <c:pt idx="4920">
                  <c:v>330.50561754891044</c:v>
                </c:pt>
                <c:pt idx="4921">
                  <c:v>308.59550532330292</c:v>
                </c:pt>
                <c:pt idx="4922">
                  <c:v>291.4044944088111</c:v>
                </c:pt>
                <c:pt idx="4923">
                  <c:v>297.75280898876406</c:v>
                </c:pt>
                <c:pt idx="4924">
                  <c:v>308.76404515812908</c:v>
                </c:pt>
                <c:pt idx="4925">
                  <c:v>322.97752814346484</c:v>
                </c:pt>
                <c:pt idx="4926">
                  <c:v>347.41572985488381</c:v>
                </c:pt>
                <c:pt idx="4927">
                  <c:v>387.75281156047009</c:v>
                </c:pt>
                <c:pt idx="4928">
                  <c:v>383.48314735326875</c:v>
                </c:pt>
                <c:pt idx="4929">
                  <c:v>421.17977410220033</c:v>
                </c:pt>
                <c:pt idx="4930">
                  <c:v>371.23595504613405</c:v>
                </c:pt>
                <c:pt idx="4931">
                  <c:v>360.11235955893324</c:v>
                </c:pt>
                <c:pt idx="4932">
                  <c:v>365.22471904754639</c:v>
                </c:pt>
                <c:pt idx="4933">
                  <c:v>360.73033704181739</c:v>
                </c:pt>
                <c:pt idx="4934">
                  <c:v>360.28089884961588</c:v>
                </c:pt>
                <c:pt idx="4935">
                  <c:v>357.19101147705248</c:v>
                </c:pt>
                <c:pt idx="4936">
                  <c:v>369.77528119355105</c:v>
                </c:pt>
                <c:pt idx="4937">
                  <c:v>361.62921350993469</c:v>
                </c:pt>
                <c:pt idx="4938">
                  <c:v>363.3146071701907</c:v>
                </c:pt>
                <c:pt idx="4939">
                  <c:v>375.50561883476342</c:v>
                </c:pt>
                <c:pt idx="4940">
                  <c:v>376.23595387748122</c:v>
                </c:pt>
                <c:pt idx="4941">
                  <c:v>384.04494457030569</c:v>
                </c:pt>
                <c:pt idx="4942">
                  <c:v>389.38202482930734</c:v>
                </c:pt>
                <c:pt idx="4943">
                  <c:v>359.99999957138238</c:v>
                </c:pt>
                <c:pt idx="4944">
                  <c:v>337.80898940697148</c:v>
                </c:pt>
                <c:pt idx="4945">
                  <c:v>319.77528099263651</c:v>
                </c:pt>
                <c:pt idx="4946">
                  <c:v>289.77528080511632</c:v>
                </c:pt>
                <c:pt idx="4947">
                  <c:v>295.89887649825454</c:v>
                </c:pt>
                <c:pt idx="4948">
                  <c:v>296.01123594166188</c:v>
                </c:pt>
                <c:pt idx="4949">
                  <c:v>312.75280908252415</c:v>
                </c:pt>
                <c:pt idx="4950">
                  <c:v>349.10112351513982</c:v>
                </c:pt>
                <c:pt idx="4951">
                  <c:v>376.91011321678593</c:v>
                </c:pt>
                <c:pt idx="4952">
                  <c:v>377.69662932063756</c:v>
                </c:pt>
                <c:pt idx="4953">
                  <c:v>390.61797870678851</c:v>
                </c:pt>
                <c:pt idx="4954">
                  <c:v>380.50561808468251</c:v>
                </c:pt>
                <c:pt idx="4955">
                  <c:v>378.42696570278554</c:v>
                </c:pt>
                <c:pt idx="4956">
                  <c:v>363.98876383063498</c:v>
                </c:pt>
                <c:pt idx="4957">
                  <c:v>362.13483167498299</c:v>
                </c:pt>
                <c:pt idx="4958">
                  <c:v>343.87640470869087</c:v>
                </c:pt>
                <c:pt idx="4959">
                  <c:v>362.30336950066385</c:v>
                </c:pt>
                <c:pt idx="4960">
                  <c:v>356.0674163732636</c:v>
                </c:pt>
                <c:pt idx="4961">
                  <c:v>365.33707983038403</c:v>
                </c:pt>
                <c:pt idx="4962">
                  <c:v>366.57303370786519</c:v>
                </c:pt>
                <c:pt idx="4963">
                  <c:v>370.11236019348831</c:v>
                </c:pt>
                <c:pt idx="4964">
                  <c:v>360.22471845819712</c:v>
                </c:pt>
                <c:pt idx="4965">
                  <c:v>373.59550561797755</c:v>
                </c:pt>
                <c:pt idx="4966">
                  <c:v>360.786515675234</c:v>
                </c:pt>
                <c:pt idx="4967">
                  <c:v>359.71910230229412</c:v>
                </c:pt>
                <c:pt idx="4968">
                  <c:v>320.50561770964208</c:v>
                </c:pt>
                <c:pt idx="4969">
                  <c:v>302.02247185653516</c:v>
                </c:pt>
                <c:pt idx="4970">
                  <c:v>296.12359538506928</c:v>
                </c:pt>
                <c:pt idx="4971">
                  <c:v>296.51685377185265</c:v>
                </c:pt>
                <c:pt idx="4972">
                  <c:v>302.24719107820749</c:v>
                </c:pt>
                <c:pt idx="4973">
                  <c:v>307.86516860629735</c:v>
                </c:pt>
                <c:pt idx="4974">
                  <c:v>313.98876396457803</c:v>
                </c:pt>
                <c:pt idx="4975">
                  <c:v>327.64044906316178</c:v>
                </c:pt>
                <c:pt idx="4976">
                  <c:v>365.73033654287963</c:v>
                </c:pt>
                <c:pt idx="4977">
                  <c:v>374.26966227842183</c:v>
                </c:pt>
                <c:pt idx="4978">
                  <c:v>377.24718886814765</c:v>
                </c:pt>
                <c:pt idx="4979">
                  <c:v>370.33707908030306</c:v>
                </c:pt>
                <c:pt idx="4980">
                  <c:v>356.12359475553706</c:v>
                </c:pt>
                <c:pt idx="4981">
                  <c:v>356.0674163732636</c:v>
                </c:pt>
                <c:pt idx="4982">
                  <c:v>331.348314713896</c:v>
                </c:pt>
                <c:pt idx="4983">
                  <c:v>347.52808929829115</c:v>
                </c:pt>
                <c:pt idx="4984">
                  <c:v>337.4157300156154</c:v>
                </c:pt>
                <c:pt idx="4985">
                  <c:v>336.51685379864125</c:v>
                </c:pt>
                <c:pt idx="4986">
                  <c:v>337.58426985044161</c:v>
                </c:pt>
                <c:pt idx="4987">
                  <c:v>344.99999981247981</c:v>
                </c:pt>
                <c:pt idx="4988">
                  <c:v>349.04494446315124</c:v>
                </c:pt>
                <c:pt idx="4989">
                  <c:v>357.7528080243743</c:v>
                </c:pt>
                <c:pt idx="4990">
                  <c:v>352.9213492789965</c:v>
                </c:pt>
                <c:pt idx="4991">
                  <c:v>344.60674243026904</c:v>
                </c:pt>
                <c:pt idx="4992">
                  <c:v>302.24719107820749</c:v>
                </c:pt>
                <c:pt idx="4993">
                  <c:v>295.39325833320618</c:v>
                </c:pt>
                <c:pt idx="4994">
                  <c:v>283.76404489024304</c:v>
                </c:pt>
                <c:pt idx="4995">
                  <c:v>284.32584277699505</c:v>
                </c:pt>
                <c:pt idx="4996">
                  <c:v>290.112359470196</c:v>
                </c:pt>
                <c:pt idx="4997">
                  <c:v>294.9999999464228</c:v>
                </c:pt>
                <c:pt idx="4998">
                  <c:v>306.91011233276197</c:v>
                </c:pt>
                <c:pt idx="4999">
                  <c:v>318.25842683234913</c:v>
                </c:pt>
                <c:pt idx="5000">
                  <c:v>343.20224670881635</c:v>
                </c:pt>
                <c:pt idx="5001">
                  <c:v>346.1797746379724</c:v>
                </c:pt>
                <c:pt idx="5002">
                  <c:v>362.07865061384911</c:v>
                </c:pt>
                <c:pt idx="5003">
                  <c:v>357.41572969415216</c:v>
                </c:pt>
                <c:pt idx="5004">
                  <c:v>358.76404435447097</c:v>
                </c:pt>
                <c:pt idx="5005">
                  <c:v>345.33707881241702</c:v>
                </c:pt>
                <c:pt idx="5006">
                  <c:v>329.26966300171415</c:v>
                </c:pt>
                <c:pt idx="5007">
                  <c:v>329.49438188852889</c:v>
                </c:pt>
                <c:pt idx="5008">
                  <c:v>335.0561796949151</c:v>
                </c:pt>
                <c:pt idx="5009">
                  <c:v>340.56179777959761</c:v>
                </c:pt>
                <c:pt idx="5010">
                  <c:v>335.39325835999477</c:v>
                </c:pt>
                <c:pt idx="5011">
                  <c:v>336.68539329860988</c:v>
                </c:pt>
                <c:pt idx="5012">
                  <c:v>361.85393172703436</c:v>
                </c:pt>
                <c:pt idx="5013">
                  <c:v>385.84269566482374</c:v>
                </c:pt>
                <c:pt idx="5014">
                  <c:v>378.08988871199364</c:v>
                </c:pt>
                <c:pt idx="5015">
                  <c:v>326.4044945159655</c:v>
                </c:pt>
                <c:pt idx="5016">
                  <c:v>307.30337071954534</c:v>
                </c:pt>
                <c:pt idx="5017">
                  <c:v>295.67415727658221</c:v>
                </c:pt>
                <c:pt idx="5018">
                  <c:v>272.69662933403185</c:v>
                </c:pt>
                <c:pt idx="5019">
                  <c:v>262.1910113297152</c:v>
                </c:pt>
                <c:pt idx="5020">
                  <c:v>261.12359544534365</c:v>
                </c:pt>
                <c:pt idx="5021">
                  <c:v>262.64044943820227</c:v>
                </c:pt>
                <c:pt idx="5022">
                  <c:v>275.44943804151558</c:v>
                </c:pt>
                <c:pt idx="5023">
                  <c:v>289.38202375776314</c:v>
                </c:pt>
                <c:pt idx="5024">
                  <c:v>308.42696682790694</c:v>
                </c:pt>
                <c:pt idx="5025">
                  <c:v>328.25842600190236</c:v>
                </c:pt>
                <c:pt idx="5026">
                  <c:v>301.6292111257489</c:v>
                </c:pt>
                <c:pt idx="5027">
                  <c:v>340.28089716193381</c:v>
                </c:pt>
                <c:pt idx="5028">
                  <c:v>377.69662664177713</c:v>
                </c:pt>
                <c:pt idx="5029">
                  <c:v>481.685391972574</c:v>
                </c:pt>
                <c:pt idx="5030">
                  <c:v>364.43820696198543</c:v>
                </c:pt>
                <c:pt idx="5031">
                  <c:v>362.13483167498299</c:v>
                </c:pt>
                <c:pt idx="5032">
                  <c:v>342.19101138329239</c:v>
                </c:pt>
                <c:pt idx="5033">
                  <c:v>340.56179777959761</c:v>
                </c:pt>
                <c:pt idx="5034">
                  <c:v>340.50561805789391</c:v>
                </c:pt>
                <c:pt idx="5035">
                  <c:v>348.98876407173242</c:v>
                </c:pt>
                <c:pt idx="5036">
                  <c:v>350.28089901034753</c:v>
                </c:pt>
                <c:pt idx="5037">
                  <c:v>379.49438309401609</c:v>
                </c:pt>
                <c:pt idx="5038">
                  <c:v>365.84269598628697</c:v>
                </c:pt>
                <c:pt idx="5039">
                  <c:v>346.34831514251368</c:v>
                </c:pt>
                <c:pt idx="5040">
                  <c:v>323.14606730857594</c:v>
                </c:pt>
                <c:pt idx="5041">
                  <c:v>306.5168539459786</c:v>
                </c:pt>
                <c:pt idx="5042">
                  <c:v>300.44943814197285</c:v>
                </c:pt>
                <c:pt idx="5043">
                  <c:v>306.29213472430627</c:v>
                </c:pt>
                <c:pt idx="5044">
                  <c:v>311.74157308728508</c:v>
                </c:pt>
                <c:pt idx="5045">
                  <c:v>329.10112350174552</c:v>
                </c:pt>
                <c:pt idx="5046">
                  <c:v>346.51685397276719</c:v>
                </c:pt>
                <c:pt idx="5047">
                  <c:v>379.49438309401609</c:v>
                </c:pt>
                <c:pt idx="5048">
                  <c:v>384.26966345712043</c:v>
                </c:pt>
                <c:pt idx="5049">
                  <c:v>344.60674243026904</c:v>
                </c:pt>
                <c:pt idx="5050">
                  <c:v>355.67415430304709</c:v>
                </c:pt>
                <c:pt idx="5051">
                  <c:v>355.84269748644886</c:v>
                </c:pt>
                <c:pt idx="5052">
                  <c:v>372.13483017482116</c:v>
                </c:pt>
                <c:pt idx="5053">
                  <c:v>397.07865339986398</c:v>
                </c:pt>
                <c:pt idx="5054">
                  <c:v>347.52808929829115</c:v>
                </c:pt>
                <c:pt idx="5055">
                  <c:v>354.60674093010721</c:v>
                </c:pt>
                <c:pt idx="5056">
                  <c:v>356.23595419894446</c:v>
                </c:pt>
                <c:pt idx="5057">
                  <c:v>359.99999957138238</c:v>
                </c:pt>
                <c:pt idx="5058">
                  <c:v>379.38202365060874</c:v>
                </c:pt>
                <c:pt idx="5059">
                  <c:v>379.38202365060874</c:v>
                </c:pt>
                <c:pt idx="5060">
                  <c:v>401.46067437161224</c:v>
                </c:pt>
                <c:pt idx="5061">
                  <c:v>409.55055965466448</c:v>
                </c:pt>
                <c:pt idx="5062">
                  <c:v>404.88763873496754</c:v>
                </c:pt>
                <c:pt idx="5063">
                  <c:v>386.85393065549016</c:v>
                </c:pt>
                <c:pt idx="5064">
                  <c:v>342.58426977007576</c:v>
                </c:pt>
                <c:pt idx="5065">
                  <c:v>324.26966308207994</c:v>
                </c:pt>
                <c:pt idx="5066">
                  <c:v>318.76404499739743</c:v>
                </c:pt>
                <c:pt idx="5067">
                  <c:v>320.44943798793838</c:v>
                </c:pt>
                <c:pt idx="5068">
                  <c:v>331.4044944355997</c:v>
                </c:pt>
                <c:pt idx="5069">
                  <c:v>338.31460690230466</c:v>
                </c:pt>
                <c:pt idx="5070">
                  <c:v>369.43820353304403</c:v>
                </c:pt>
                <c:pt idx="5071">
                  <c:v>393.25842696629218</c:v>
                </c:pt>
                <c:pt idx="5072">
                  <c:v>413.31460502710235</c:v>
                </c:pt>
                <c:pt idx="5073">
                  <c:v>418.53932584269666</c:v>
                </c:pt>
                <c:pt idx="5074">
                  <c:v>376.96629427791981</c:v>
                </c:pt>
                <c:pt idx="5075">
                  <c:v>403.20224976271726</c:v>
                </c:pt>
                <c:pt idx="5076">
                  <c:v>404.49438202247194</c:v>
                </c:pt>
                <c:pt idx="5077">
                  <c:v>364.60673942994538</c:v>
                </c:pt>
                <c:pt idx="5078">
                  <c:v>367.64044708080507</c:v>
                </c:pt>
                <c:pt idx="5079">
                  <c:v>384.66292284847646</c:v>
                </c:pt>
                <c:pt idx="5080">
                  <c:v>345.67415714263916</c:v>
                </c:pt>
                <c:pt idx="5081">
                  <c:v>364.04494489176892</c:v>
                </c:pt>
                <c:pt idx="5082">
                  <c:v>411.79775388053298</c:v>
                </c:pt>
                <c:pt idx="5083">
                  <c:v>382.30337079070262</c:v>
                </c:pt>
                <c:pt idx="5084">
                  <c:v>382.30337079070262</c:v>
                </c:pt>
                <c:pt idx="5085">
                  <c:v>405.4494386308649</c:v>
                </c:pt>
                <c:pt idx="5086">
                  <c:v>421.06741465879293</c:v>
                </c:pt>
                <c:pt idx="5087">
                  <c:v>402.19101209319041</c:v>
                </c:pt>
                <c:pt idx="5088">
                  <c:v>344.77528025594989</c:v>
                </c:pt>
                <c:pt idx="5089">
                  <c:v>337.47191107674934</c:v>
                </c:pt>
                <c:pt idx="5090">
                  <c:v>331.348314713896</c:v>
                </c:pt>
                <c:pt idx="5091">
                  <c:v>341.40449427486806</c:v>
                </c:pt>
                <c:pt idx="5092">
                  <c:v>344.15730465663955</c:v>
                </c:pt>
                <c:pt idx="5093">
                  <c:v>371.9662923491403</c:v>
                </c:pt>
                <c:pt idx="5094">
                  <c:v>400.16853943299714</c:v>
                </c:pt>
                <c:pt idx="5095">
                  <c:v>411.06741615895476</c:v>
                </c:pt>
                <c:pt idx="5096">
                  <c:v>423.2022467623936</c:v>
                </c:pt>
                <c:pt idx="5097">
                  <c:v>437.6966283562478</c:v>
                </c:pt>
                <c:pt idx="5098">
                  <c:v>405.78651696108705</c:v>
                </c:pt>
                <c:pt idx="5099">
                  <c:v>406.96629245629475</c:v>
                </c:pt>
                <c:pt idx="5100">
                  <c:v>359.55056179775283</c:v>
                </c:pt>
                <c:pt idx="5101">
                  <c:v>372.022472070844</c:v>
                </c:pt>
                <c:pt idx="5102">
                  <c:v>363.70786522211654</c:v>
                </c:pt>
                <c:pt idx="5103">
                  <c:v>379.88763980651174</c:v>
                </c:pt>
                <c:pt idx="5104">
                  <c:v>384.15730401371303</c:v>
                </c:pt>
                <c:pt idx="5105">
                  <c:v>377.47191043382281</c:v>
                </c:pt>
                <c:pt idx="5106">
                  <c:v>394.1573025135512</c:v>
                </c:pt>
                <c:pt idx="5107">
                  <c:v>396.29213461715187</c:v>
                </c:pt>
                <c:pt idx="5108">
                  <c:v>410.28090005510313</c:v>
                </c:pt>
                <c:pt idx="5109">
                  <c:v>424.15730337078656</c:v>
                </c:pt>
                <c:pt idx="5110">
                  <c:v>431.85393194134321</c:v>
                </c:pt>
                <c:pt idx="5111">
                  <c:v>403.37078758839812</c:v>
                </c:pt>
                <c:pt idx="5112">
                  <c:v>339.55056211921607</c:v>
                </c:pt>
                <c:pt idx="5113">
                  <c:v>337.02247062425937</c:v>
                </c:pt>
                <c:pt idx="5114">
                  <c:v>349.66292006246164</c:v>
                </c:pt>
                <c:pt idx="5115">
                  <c:v>307.30337071954534</c:v>
                </c:pt>
                <c:pt idx="5116">
                  <c:v>321.57303376144239</c:v>
                </c:pt>
                <c:pt idx="5117">
                  <c:v>342.07865227474258</c:v>
                </c:pt>
                <c:pt idx="5118">
                  <c:v>406.68539384777625</c:v>
                </c:pt>
                <c:pt idx="5119">
                  <c:v>431.91011300247709</c:v>
                </c:pt>
                <c:pt idx="5120">
                  <c:v>422.35954959740803</c:v>
                </c:pt>
                <c:pt idx="5121">
                  <c:v>426.57303274347544</c:v>
                </c:pt>
                <c:pt idx="5122">
                  <c:v>391.46067453234383</c:v>
                </c:pt>
                <c:pt idx="5123">
                  <c:v>396.17977517374447</c:v>
                </c:pt>
                <c:pt idx="5124">
                  <c:v>395.11235912194417</c:v>
                </c:pt>
                <c:pt idx="5125">
                  <c:v>379.77528036310434</c:v>
                </c:pt>
                <c:pt idx="5126">
                  <c:v>363.65168550041284</c:v>
                </c:pt>
                <c:pt idx="5127">
                  <c:v>376.12359443407382</c:v>
                </c:pt>
                <c:pt idx="5128">
                  <c:v>369.21348330679905</c:v>
                </c:pt>
                <c:pt idx="5129">
                  <c:v>380.28089919786777</c:v>
                </c:pt>
                <c:pt idx="5130">
                  <c:v>392.13483253221835</c:v>
                </c:pt>
                <c:pt idx="5131">
                  <c:v>391.57303263632099</c:v>
                </c:pt>
                <c:pt idx="5132">
                  <c:v>394.10112413127774</c:v>
                </c:pt>
                <c:pt idx="5133">
                  <c:v>405.89887640449439</c:v>
                </c:pt>
                <c:pt idx="5134">
                  <c:v>410.50561626305745</c:v>
                </c:pt>
                <c:pt idx="5135">
                  <c:v>393.08988646175084</c:v>
                </c:pt>
                <c:pt idx="5136">
                  <c:v>362.19101139668669</c:v>
                </c:pt>
                <c:pt idx="5137">
                  <c:v>311.06741575712567</c:v>
                </c:pt>
                <c:pt idx="5138">
                  <c:v>312.07865275693746</c:v>
                </c:pt>
                <c:pt idx="5139">
                  <c:v>318.42696532774511</c:v>
                </c:pt>
                <c:pt idx="5140">
                  <c:v>324.04494285583496</c:v>
                </c:pt>
                <c:pt idx="5141">
                  <c:v>342.47191032666842</c:v>
                </c:pt>
                <c:pt idx="5142">
                  <c:v>363.25842610905681</c:v>
                </c:pt>
                <c:pt idx="5143">
                  <c:v>387.02247383889187</c:v>
                </c:pt>
                <c:pt idx="5144">
                  <c:v>395.73033472125451</c:v>
                </c:pt>
                <c:pt idx="5145">
                  <c:v>422.19100909286675</c:v>
                </c:pt>
                <c:pt idx="5146">
                  <c:v>429.21348100297911</c:v>
                </c:pt>
                <c:pt idx="5147">
                  <c:v>428.53932434253483</c:v>
                </c:pt>
                <c:pt idx="5148">
                  <c:v>422.5842711630832</c:v>
                </c:pt>
                <c:pt idx="5149">
                  <c:v>403.08988764044943</c:v>
                </c:pt>
                <c:pt idx="5150">
                  <c:v>392.86517025379652</c:v>
                </c:pt>
                <c:pt idx="5151">
                  <c:v>390.28090037656636</c:v>
                </c:pt>
                <c:pt idx="5152">
                  <c:v>393.93258362673646</c:v>
                </c:pt>
                <c:pt idx="5153">
                  <c:v>387.19101166457273</c:v>
                </c:pt>
                <c:pt idx="5154">
                  <c:v>385.39326057005468</c:v>
                </c:pt>
                <c:pt idx="5155">
                  <c:v>392.07865147108447</c:v>
                </c:pt>
                <c:pt idx="5156">
                  <c:v>399.26966120687763</c:v>
                </c:pt>
                <c:pt idx="5157">
                  <c:v>408.089889569229</c:v>
                </c:pt>
                <c:pt idx="5158">
                  <c:v>418.14606913020106</c:v>
                </c:pt>
                <c:pt idx="5159">
                  <c:v>414.77528047025874</c:v>
                </c:pt>
                <c:pt idx="5160">
                  <c:v>381.40449631080202</c:v>
                </c:pt>
                <c:pt idx="5161">
                  <c:v>366.62921476899908</c:v>
                </c:pt>
                <c:pt idx="5162">
                  <c:v>348.42696618498042</c:v>
                </c:pt>
                <c:pt idx="5163">
                  <c:v>347.13483124636537</c:v>
                </c:pt>
                <c:pt idx="5164">
                  <c:v>366.51685264673125</c:v>
                </c:pt>
                <c:pt idx="5165">
                  <c:v>375.44943777362954</c:v>
                </c:pt>
                <c:pt idx="5166">
                  <c:v>394.21348357468509</c:v>
                </c:pt>
                <c:pt idx="5167">
                  <c:v>400.22471781527059</c:v>
                </c:pt>
                <c:pt idx="5168">
                  <c:v>399.55056115482631</c:v>
                </c:pt>
                <c:pt idx="5169">
                  <c:v>414.71909940912485</c:v>
                </c:pt>
                <c:pt idx="5170">
                  <c:v>432.80898854973611</c:v>
                </c:pt>
                <c:pt idx="5171">
                  <c:v>416.3483126779621</c:v>
                </c:pt>
                <c:pt idx="5172">
                  <c:v>417.30336928635501</c:v>
                </c:pt>
                <c:pt idx="5173">
                  <c:v>413.76404280073189</c:v>
                </c:pt>
                <c:pt idx="5174">
                  <c:v>395.39325906989279</c:v>
                </c:pt>
                <c:pt idx="5175">
                  <c:v>412.92134831460675</c:v>
                </c:pt>
                <c:pt idx="5176">
                  <c:v>399.26966120687763</c:v>
                </c:pt>
                <c:pt idx="5177">
                  <c:v>403.53932541407897</c:v>
                </c:pt>
                <c:pt idx="5178">
                  <c:v>402.80898769250081</c:v>
                </c:pt>
                <c:pt idx="5179">
                  <c:v>424.04494124851874</c:v>
                </c:pt>
                <c:pt idx="5180">
                  <c:v>435.2808963046985</c:v>
                </c:pt>
                <c:pt idx="5181">
                  <c:v>443.20224911979079</c:v>
                </c:pt>
                <c:pt idx="5182">
                  <c:v>444.3820246149985</c:v>
                </c:pt>
                <c:pt idx="5183">
                  <c:v>437.19100952148438</c:v>
                </c:pt>
                <c:pt idx="5184">
                  <c:v>382.02247191011236</c:v>
                </c:pt>
                <c:pt idx="5185">
                  <c:v>348.25842568043913</c:v>
                </c:pt>
                <c:pt idx="5186">
                  <c:v>331.96629299206683</c:v>
                </c:pt>
                <c:pt idx="5187">
                  <c:v>342.58426977007576</c:v>
                </c:pt>
                <c:pt idx="5188">
                  <c:v>355.89887586872231</c:v>
                </c:pt>
                <c:pt idx="5189">
                  <c:v>368.03370915102158</c:v>
                </c:pt>
                <c:pt idx="5190">
                  <c:v>422.5842711630832</c:v>
                </c:pt>
                <c:pt idx="5191">
                  <c:v>446.29213247406352</c:v>
                </c:pt>
                <c:pt idx="5192">
                  <c:v>453.08988549736108</c:v>
                </c:pt>
                <c:pt idx="5193">
                  <c:v>441.96629256344914</c:v>
                </c:pt>
                <c:pt idx="5194">
                  <c:v>417.47191246975677</c:v>
                </c:pt>
                <c:pt idx="5195">
                  <c:v>419.26966356427482</c:v>
                </c:pt>
                <c:pt idx="5196">
                  <c:v>407.35955184765078</c:v>
                </c:pt>
                <c:pt idx="5197">
                  <c:v>402.75280931022729</c:v>
                </c:pt>
                <c:pt idx="5198">
                  <c:v>366.40449320332391</c:v>
                </c:pt>
                <c:pt idx="5199">
                  <c:v>385.0000011786986</c:v>
                </c:pt>
                <c:pt idx="5200">
                  <c:v>387.24719004684624</c:v>
                </c:pt>
                <c:pt idx="5201">
                  <c:v>390.11235987202508</c:v>
                </c:pt>
                <c:pt idx="5202">
                  <c:v>400.73033665003402</c:v>
                </c:pt>
                <c:pt idx="5203">
                  <c:v>439.04494167713636</c:v>
                </c:pt>
                <c:pt idx="5204">
                  <c:v>426.96629213483146</c:v>
                </c:pt>
                <c:pt idx="5205">
                  <c:v>432.58426966292137</c:v>
                </c:pt>
                <c:pt idx="5206">
                  <c:v>421.34831460674161</c:v>
                </c:pt>
                <c:pt idx="5207">
                  <c:v>382.02247191011236</c:v>
                </c:pt>
                <c:pt idx="5208">
                  <c:v>348.31460674157307</c:v>
                </c:pt>
                <c:pt idx="5209">
                  <c:v>342.69662921348316</c:v>
                </c:pt>
                <c:pt idx="5210">
                  <c:v>337.07865168539325</c:v>
                </c:pt>
                <c:pt idx="5211">
                  <c:v>337.07865168539325</c:v>
                </c:pt>
                <c:pt idx="5212">
                  <c:v>342.69662921348316</c:v>
                </c:pt>
                <c:pt idx="5213">
                  <c:v>365.16853932584269</c:v>
                </c:pt>
                <c:pt idx="5214">
                  <c:v>421.34831460674161</c:v>
                </c:pt>
                <c:pt idx="5215">
                  <c:v>449.43820224719104</c:v>
                </c:pt>
                <c:pt idx="5216">
                  <c:v>455.0561797752809</c:v>
                </c:pt>
                <c:pt idx="5217">
                  <c:v>415.7303370786517</c:v>
                </c:pt>
                <c:pt idx="5218">
                  <c:v>393.25842696629218</c:v>
                </c:pt>
                <c:pt idx="5219">
                  <c:v>382.02247191011236</c:v>
                </c:pt>
                <c:pt idx="5220">
                  <c:v>376.40449438202251</c:v>
                </c:pt>
                <c:pt idx="5221">
                  <c:v>359.55056179775283</c:v>
                </c:pt>
                <c:pt idx="5222">
                  <c:v>359.55056179775283</c:v>
                </c:pt>
                <c:pt idx="5223">
                  <c:v>359.55056179775283</c:v>
                </c:pt>
                <c:pt idx="5224">
                  <c:v>365.16853932584269</c:v>
                </c:pt>
                <c:pt idx="5225">
                  <c:v>376.40449438202251</c:v>
                </c:pt>
                <c:pt idx="5226">
                  <c:v>404.49438202247194</c:v>
                </c:pt>
                <c:pt idx="5227">
                  <c:v>432.58426966292137</c:v>
                </c:pt>
                <c:pt idx="5228">
                  <c:v>432.58426966292137</c:v>
                </c:pt>
                <c:pt idx="5229">
                  <c:v>432.58426966292137</c:v>
                </c:pt>
                <c:pt idx="5230">
                  <c:v>421.34831460674161</c:v>
                </c:pt>
                <c:pt idx="5231">
                  <c:v>387.64044943820227</c:v>
                </c:pt>
                <c:pt idx="5232">
                  <c:v>348.31460674157307</c:v>
                </c:pt>
                <c:pt idx="5233">
                  <c:v>331.4606741573034</c:v>
                </c:pt>
                <c:pt idx="5234">
                  <c:v>325.84269662921349</c:v>
                </c:pt>
                <c:pt idx="5235">
                  <c:v>331.4606741573034</c:v>
                </c:pt>
                <c:pt idx="5236">
                  <c:v>337.07865168539325</c:v>
                </c:pt>
                <c:pt idx="5237">
                  <c:v>348.31460674157307</c:v>
                </c:pt>
                <c:pt idx="5238">
                  <c:v>387.64044943820227</c:v>
                </c:pt>
                <c:pt idx="5239">
                  <c:v>432.58426966292137</c:v>
                </c:pt>
                <c:pt idx="5240">
                  <c:v>426.96629213483146</c:v>
                </c:pt>
                <c:pt idx="5241">
                  <c:v>410.11235955056179</c:v>
                </c:pt>
                <c:pt idx="5242">
                  <c:v>387.64044943820227</c:v>
                </c:pt>
                <c:pt idx="5243">
                  <c:v>370.7865168539326</c:v>
                </c:pt>
                <c:pt idx="5244">
                  <c:v>376.40449438202251</c:v>
                </c:pt>
                <c:pt idx="5245">
                  <c:v>376.40449438202251</c:v>
                </c:pt>
                <c:pt idx="5246">
                  <c:v>365.16853932584269</c:v>
                </c:pt>
                <c:pt idx="5247">
                  <c:v>370.7865168539326</c:v>
                </c:pt>
                <c:pt idx="5248">
                  <c:v>376.40449438202251</c:v>
                </c:pt>
                <c:pt idx="5249">
                  <c:v>382.02247191011236</c:v>
                </c:pt>
                <c:pt idx="5250">
                  <c:v>398.87640449438203</c:v>
                </c:pt>
                <c:pt idx="5251">
                  <c:v>404.49438202247194</c:v>
                </c:pt>
                <c:pt idx="5252">
                  <c:v>404.49438202247194</c:v>
                </c:pt>
                <c:pt idx="5253">
                  <c:v>415.7303370786517</c:v>
                </c:pt>
                <c:pt idx="5254">
                  <c:v>410.11235955056179</c:v>
                </c:pt>
                <c:pt idx="5255">
                  <c:v>382.02247191011236</c:v>
                </c:pt>
                <c:pt idx="5256">
                  <c:v>348.31460674157307</c:v>
                </c:pt>
                <c:pt idx="5257">
                  <c:v>337.07865168539325</c:v>
                </c:pt>
                <c:pt idx="5258">
                  <c:v>337.07865168539325</c:v>
                </c:pt>
                <c:pt idx="5259">
                  <c:v>342.69662921348316</c:v>
                </c:pt>
                <c:pt idx="5260">
                  <c:v>342.69662921348316</c:v>
                </c:pt>
                <c:pt idx="5261">
                  <c:v>353.93258426966293</c:v>
                </c:pt>
                <c:pt idx="5262">
                  <c:v>415.7303370786517</c:v>
                </c:pt>
                <c:pt idx="5263">
                  <c:v>438.20224719101128</c:v>
                </c:pt>
                <c:pt idx="5264">
                  <c:v>438.20224719101128</c:v>
                </c:pt>
                <c:pt idx="5265">
                  <c:v>404.49438202247194</c:v>
                </c:pt>
                <c:pt idx="5266">
                  <c:v>398.87640449438203</c:v>
                </c:pt>
                <c:pt idx="5267">
                  <c:v>382.02247191011236</c:v>
                </c:pt>
                <c:pt idx="5268">
                  <c:v>399.02899238500703</c:v>
                </c:pt>
                <c:pt idx="5269">
                  <c:v>376.55708227264751</c:v>
                </c:pt>
                <c:pt idx="5270">
                  <c:v>404.49438202247194</c:v>
                </c:pt>
                <c:pt idx="5271">
                  <c:v>428.37078651685397</c:v>
                </c:pt>
                <c:pt idx="5272">
                  <c:v>342.69662921348316</c:v>
                </c:pt>
                <c:pt idx="5273">
                  <c:v>353.93258426966293</c:v>
                </c:pt>
                <c:pt idx="5274">
                  <c:v>370.7865168539326</c:v>
                </c:pt>
                <c:pt idx="5275">
                  <c:v>405.89887640449439</c:v>
                </c:pt>
                <c:pt idx="5276">
                  <c:v>438.20224719101128</c:v>
                </c:pt>
                <c:pt idx="5277">
                  <c:v>433.98876404494382</c:v>
                </c:pt>
                <c:pt idx="5278">
                  <c:v>415.7303370786517</c:v>
                </c:pt>
                <c:pt idx="5279">
                  <c:v>391.85393258426967</c:v>
                </c:pt>
                <c:pt idx="5280">
                  <c:v>337.07865168539325</c:v>
                </c:pt>
                <c:pt idx="5281">
                  <c:v>325.84269662921349</c:v>
                </c:pt>
                <c:pt idx="5282">
                  <c:v>320.22471910112358</c:v>
                </c:pt>
                <c:pt idx="5283">
                  <c:v>325.84269662921349</c:v>
                </c:pt>
                <c:pt idx="5284">
                  <c:v>325.84269662921349</c:v>
                </c:pt>
                <c:pt idx="5285">
                  <c:v>342.69662921348316</c:v>
                </c:pt>
                <c:pt idx="5286">
                  <c:v>376.40449438202251</c:v>
                </c:pt>
                <c:pt idx="5287">
                  <c:v>419.9438202247191</c:v>
                </c:pt>
                <c:pt idx="5288">
                  <c:v>394.66292134831463</c:v>
                </c:pt>
                <c:pt idx="5289">
                  <c:v>398.87640449438203</c:v>
                </c:pt>
                <c:pt idx="5290">
                  <c:v>384.83146067415731</c:v>
                </c:pt>
                <c:pt idx="5291">
                  <c:v>376.40449438202251</c:v>
                </c:pt>
                <c:pt idx="5292">
                  <c:v>353.93258426966293</c:v>
                </c:pt>
                <c:pt idx="5293">
                  <c:v>362.35955056179779</c:v>
                </c:pt>
                <c:pt idx="5294">
                  <c:v>356.74157303370788</c:v>
                </c:pt>
                <c:pt idx="5295">
                  <c:v>362.35955056179779</c:v>
                </c:pt>
                <c:pt idx="5296">
                  <c:v>369.38202247191015</c:v>
                </c:pt>
                <c:pt idx="5297">
                  <c:v>396.06741573033707</c:v>
                </c:pt>
                <c:pt idx="5298">
                  <c:v>410.11235955056179</c:v>
                </c:pt>
                <c:pt idx="5299">
                  <c:v>403.08988764044943</c:v>
                </c:pt>
                <c:pt idx="5300">
                  <c:v>404.49438202247194</c:v>
                </c:pt>
                <c:pt idx="5301">
                  <c:v>418.53932584269666</c:v>
                </c:pt>
                <c:pt idx="5302">
                  <c:v>414.32584269662925</c:v>
                </c:pt>
                <c:pt idx="5303">
                  <c:v>383.42696629213486</c:v>
                </c:pt>
                <c:pt idx="5304">
                  <c:v>342.69662921348316</c:v>
                </c:pt>
                <c:pt idx="5305">
                  <c:v>331.4606741573034</c:v>
                </c:pt>
                <c:pt idx="5306">
                  <c:v>325.84269662921349</c:v>
                </c:pt>
                <c:pt idx="5307">
                  <c:v>325.84269662921349</c:v>
                </c:pt>
                <c:pt idx="5308">
                  <c:v>331.4606741573034</c:v>
                </c:pt>
                <c:pt idx="5309">
                  <c:v>337.07865168539325</c:v>
                </c:pt>
                <c:pt idx="5310">
                  <c:v>379.21348314606746</c:v>
                </c:pt>
                <c:pt idx="5311">
                  <c:v>393.25842696629218</c:v>
                </c:pt>
                <c:pt idx="5312">
                  <c:v>407.30337078651689</c:v>
                </c:pt>
                <c:pt idx="5313">
                  <c:v>431.17977528089892</c:v>
                </c:pt>
                <c:pt idx="5314">
                  <c:v>431.17977528089892</c:v>
                </c:pt>
                <c:pt idx="5315">
                  <c:v>425.56179775280901</c:v>
                </c:pt>
                <c:pt idx="5316">
                  <c:v>393.25842696629218</c:v>
                </c:pt>
                <c:pt idx="5317">
                  <c:v>375</c:v>
                </c:pt>
                <c:pt idx="5318">
                  <c:v>377.80898876404495</c:v>
                </c:pt>
                <c:pt idx="5319">
                  <c:v>369.38202247191015</c:v>
                </c:pt>
                <c:pt idx="5320">
                  <c:v>373.59550561797755</c:v>
                </c:pt>
                <c:pt idx="5321">
                  <c:v>367.97752808988764</c:v>
                </c:pt>
                <c:pt idx="5322">
                  <c:v>377.80898876404495</c:v>
                </c:pt>
                <c:pt idx="5323">
                  <c:v>363.76404494382024</c:v>
                </c:pt>
                <c:pt idx="5324">
                  <c:v>363.76404494382024</c:v>
                </c:pt>
                <c:pt idx="5325">
                  <c:v>369.38202247191015</c:v>
                </c:pt>
                <c:pt idx="5326">
                  <c:v>362.35955056179779</c:v>
                </c:pt>
                <c:pt idx="5327">
                  <c:v>363.76404494382024</c:v>
                </c:pt>
                <c:pt idx="5328">
                  <c:v>328.65168539325845</c:v>
                </c:pt>
                <c:pt idx="5329">
                  <c:v>320.22471910112358</c:v>
                </c:pt>
                <c:pt idx="5330">
                  <c:v>308.98876404494382</c:v>
                </c:pt>
                <c:pt idx="5331">
                  <c:v>320.22471910112358</c:v>
                </c:pt>
                <c:pt idx="5332">
                  <c:v>314.60674157303373</c:v>
                </c:pt>
                <c:pt idx="5333">
                  <c:v>325.84269662921349</c:v>
                </c:pt>
                <c:pt idx="5334">
                  <c:v>330.0561797752809</c:v>
                </c:pt>
                <c:pt idx="5335">
                  <c:v>358.14606741573033</c:v>
                </c:pt>
                <c:pt idx="5336">
                  <c:v>370.7865168539326</c:v>
                </c:pt>
                <c:pt idx="5337">
                  <c:v>367.97752808988764</c:v>
                </c:pt>
                <c:pt idx="5338">
                  <c:v>376.40449438202251</c:v>
                </c:pt>
                <c:pt idx="5339">
                  <c:v>367.97752808988764</c:v>
                </c:pt>
                <c:pt idx="5340">
                  <c:v>375</c:v>
                </c:pt>
                <c:pt idx="5341">
                  <c:v>362.35955056179779</c:v>
                </c:pt>
                <c:pt idx="5342">
                  <c:v>356.74157303370788</c:v>
                </c:pt>
                <c:pt idx="5343">
                  <c:v>376.40449438202251</c:v>
                </c:pt>
                <c:pt idx="5344">
                  <c:v>362.35955056179779</c:v>
                </c:pt>
                <c:pt idx="5345">
                  <c:v>363.76404494382024</c:v>
                </c:pt>
                <c:pt idx="5346">
                  <c:v>370.7865168539326</c:v>
                </c:pt>
                <c:pt idx="5347">
                  <c:v>369.38202247191015</c:v>
                </c:pt>
                <c:pt idx="5348">
                  <c:v>375</c:v>
                </c:pt>
                <c:pt idx="5349">
                  <c:v>367.97752808988764</c:v>
                </c:pt>
                <c:pt idx="5350">
                  <c:v>367.97752808988764</c:v>
                </c:pt>
                <c:pt idx="5351">
                  <c:v>356.74157303370788</c:v>
                </c:pt>
                <c:pt idx="5352">
                  <c:v>335.67415730337081</c:v>
                </c:pt>
                <c:pt idx="5353">
                  <c:v>308.98876404494382</c:v>
                </c:pt>
                <c:pt idx="5354">
                  <c:v>297.75280898876406</c:v>
                </c:pt>
                <c:pt idx="5355">
                  <c:v>303.37078651685397</c:v>
                </c:pt>
                <c:pt idx="5356">
                  <c:v>308.98876404494382</c:v>
                </c:pt>
                <c:pt idx="5357">
                  <c:v>314.60674157303373</c:v>
                </c:pt>
                <c:pt idx="5358">
                  <c:v>359.55056179775283</c:v>
                </c:pt>
                <c:pt idx="5359">
                  <c:v>375</c:v>
                </c:pt>
                <c:pt idx="5360">
                  <c:v>382.02247191011236</c:v>
                </c:pt>
                <c:pt idx="5361">
                  <c:v>384.83146067415731</c:v>
                </c:pt>
                <c:pt idx="5362">
                  <c:v>408.93258405535408</c:v>
                </c:pt>
                <c:pt idx="5363">
                  <c:v>401.40449464990854</c:v>
                </c:pt>
                <c:pt idx="5364">
                  <c:v>404.43820230076824</c:v>
                </c:pt>
                <c:pt idx="5365">
                  <c:v>386.96629210804286</c:v>
                </c:pt>
                <c:pt idx="5366">
                  <c:v>385.39325856090932</c:v>
                </c:pt>
                <c:pt idx="5367">
                  <c:v>392.19101091449181</c:v>
                </c:pt>
                <c:pt idx="5368">
                  <c:v>391.17977592382539</c:v>
                </c:pt>
                <c:pt idx="5369">
                  <c:v>402.19101142347529</c:v>
                </c:pt>
                <c:pt idx="5370">
                  <c:v>423.48314671034228</c:v>
                </c:pt>
                <c:pt idx="5371">
                  <c:v>434.49438287970725</c:v>
                </c:pt>
                <c:pt idx="5372">
                  <c:v>432.86516961087005</c:v>
                </c:pt>
                <c:pt idx="5373">
                  <c:v>450.16853996876921</c:v>
                </c:pt>
                <c:pt idx="5374">
                  <c:v>439.77527939871459</c:v>
                </c:pt>
                <c:pt idx="5375">
                  <c:v>401.96629320637567</c:v>
                </c:pt>
                <c:pt idx="5376">
                  <c:v>365.05617988243534</c:v>
                </c:pt>
                <c:pt idx="5377">
                  <c:v>361.23595612772397</c:v>
                </c:pt>
                <c:pt idx="5378">
                  <c:v>336.12359507700035</c:v>
                </c:pt>
                <c:pt idx="5379">
                  <c:v>352.80898983558916</c:v>
                </c:pt>
                <c:pt idx="5380">
                  <c:v>346.34831514251368</c:v>
                </c:pt>
                <c:pt idx="5381">
                  <c:v>364.43820160426452</c:v>
                </c:pt>
                <c:pt idx="5382">
                  <c:v>402.19101209319041</c:v>
                </c:pt>
                <c:pt idx="5383">
                  <c:v>431.51685628998149</c:v>
                </c:pt>
                <c:pt idx="5384">
                  <c:v>446.40449459633135</c:v>
                </c:pt>
                <c:pt idx="5385">
                  <c:v>425.39325992712816</c:v>
                </c:pt>
                <c:pt idx="5386">
                  <c:v>404.49438202247194</c:v>
                </c:pt>
                <c:pt idx="5387">
                  <c:v>391.62921369745493</c:v>
                </c:pt>
                <c:pt idx="5388">
                  <c:v>361.01123724090922</c:v>
                </c:pt>
                <c:pt idx="5389">
                  <c:v>386.9101117166241</c:v>
                </c:pt>
                <c:pt idx="5390">
                  <c:v>385.89887672595768</c:v>
                </c:pt>
                <c:pt idx="5391">
                  <c:v>382.24719079692716</c:v>
                </c:pt>
                <c:pt idx="5392">
                  <c:v>371.23595462756214</c:v>
                </c:pt>
                <c:pt idx="5393">
                  <c:v>396.46067512169316</c:v>
                </c:pt>
                <c:pt idx="5394">
                  <c:v>409.71910015920577</c:v>
                </c:pt>
                <c:pt idx="5395">
                  <c:v>411.23595532406586</c:v>
                </c:pt>
                <c:pt idx="5396">
                  <c:v>377.69662932063756</c:v>
                </c:pt>
                <c:pt idx="5397">
                  <c:v>442.92134917184211</c:v>
                </c:pt>
                <c:pt idx="5398">
                  <c:v>447.69662685608597</c:v>
                </c:pt>
                <c:pt idx="5399">
                  <c:v>417.30337196521549</c:v>
                </c:pt>
                <c:pt idx="5400">
                  <c:v>341.51685371827546</c:v>
                </c:pt>
                <c:pt idx="5401">
                  <c:v>335.22471952974126</c:v>
                </c:pt>
                <c:pt idx="5402">
                  <c:v>316.79775272862298</c:v>
                </c:pt>
                <c:pt idx="5403">
                  <c:v>327.52808961975444</c:v>
                </c:pt>
                <c:pt idx="5404">
                  <c:v>334.4382020864594</c:v>
                </c:pt>
                <c:pt idx="5405">
                  <c:v>349.32584307166968</c:v>
                </c:pt>
                <c:pt idx="5406">
                  <c:v>393.48314585310692</c:v>
                </c:pt>
                <c:pt idx="5407">
                  <c:v>436.51685286104009</c:v>
                </c:pt>
                <c:pt idx="5408">
                  <c:v>450.33707779445007</c:v>
                </c:pt>
                <c:pt idx="5409">
                  <c:v>428.59550540366871</c:v>
                </c:pt>
                <c:pt idx="5410">
                  <c:v>420.44943905948253</c:v>
                </c:pt>
                <c:pt idx="5411">
                  <c:v>408.93258405535408</c:v>
                </c:pt>
                <c:pt idx="5412">
                  <c:v>395.33707800875891</c:v>
                </c:pt>
                <c:pt idx="5413">
                  <c:v>401.23595548479744</c:v>
                </c:pt>
                <c:pt idx="5414">
                  <c:v>388.48314660318783</c:v>
                </c:pt>
                <c:pt idx="5415">
                  <c:v>387.97752776842441</c:v>
                </c:pt>
                <c:pt idx="5416">
                  <c:v>389.94382070691398</c:v>
                </c:pt>
                <c:pt idx="5417">
                  <c:v>397.07865206043374</c:v>
                </c:pt>
                <c:pt idx="5418">
                  <c:v>393.82022418332906</c:v>
                </c:pt>
                <c:pt idx="5419">
                  <c:v>409.49438127239102</c:v>
                </c:pt>
                <c:pt idx="5420">
                  <c:v>433.93258298380994</c:v>
                </c:pt>
                <c:pt idx="5421">
                  <c:v>439.99999828552933</c:v>
                </c:pt>
                <c:pt idx="5422">
                  <c:v>447.30337014359037</c:v>
                </c:pt>
                <c:pt idx="5423">
                  <c:v>424.43820331873519</c:v>
                </c:pt>
                <c:pt idx="5424">
                  <c:v>369.10112252396146</c:v>
                </c:pt>
                <c:pt idx="5425">
                  <c:v>358.20224847686427</c:v>
                </c:pt>
                <c:pt idx="5426">
                  <c:v>339.04494328445264</c:v>
                </c:pt>
                <c:pt idx="5427">
                  <c:v>345.89887736888414</c:v>
                </c:pt>
                <c:pt idx="5428">
                  <c:v>347.69662846340225</c:v>
                </c:pt>
                <c:pt idx="5429">
                  <c:v>359.49438207604913</c:v>
                </c:pt>
                <c:pt idx="5430">
                  <c:v>413.65168603618497</c:v>
                </c:pt>
                <c:pt idx="5431">
                  <c:v>441.57303585095354</c:v>
                </c:pt>
                <c:pt idx="5432">
                  <c:v>465.11235933625301</c:v>
                </c:pt>
                <c:pt idx="5433">
                  <c:v>443.82022471910113</c:v>
                </c:pt>
                <c:pt idx="5434">
                  <c:v>435.05617741788376</c:v>
                </c:pt>
                <c:pt idx="5435">
                  <c:v>422.35954959740803</c:v>
                </c:pt>
                <c:pt idx="5436">
                  <c:v>420.67415794629733</c:v>
                </c:pt>
                <c:pt idx="5437">
                  <c:v>405.11236030064276</c:v>
                </c:pt>
                <c:pt idx="5438">
                  <c:v>396.40449406055922</c:v>
                </c:pt>
                <c:pt idx="5439">
                  <c:v>408.59550572513194</c:v>
                </c:pt>
                <c:pt idx="5440">
                  <c:v>398.25842621621121</c:v>
                </c:pt>
                <c:pt idx="5441">
                  <c:v>409.21348400330277</c:v>
                </c:pt>
                <c:pt idx="5442">
                  <c:v>386.17977533447612</c:v>
                </c:pt>
                <c:pt idx="5443">
                  <c:v>426.96629213483146</c:v>
                </c:pt>
                <c:pt idx="5444">
                  <c:v>427.07865425709929</c:v>
                </c:pt>
                <c:pt idx="5445">
                  <c:v>455.61797967117826</c:v>
                </c:pt>
                <c:pt idx="5446">
                  <c:v>449.26966442151019</c:v>
                </c:pt>
                <c:pt idx="5447">
                  <c:v>424.94382215349862</c:v>
                </c:pt>
                <c:pt idx="5448">
                  <c:v>384.26966077826</c:v>
                </c:pt>
                <c:pt idx="5449">
                  <c:v>367.47190925512422</c:v>
                </c:pt>
                <c:pt idx="5450">
                  <c:v>358.87640513730855</c:v>
                </c:pt>
                <c:pt idx="5451">
                  <c:v>358.93258351958201</c:v>
                </c:pt>
                <c:pt idx="5452">
                  <c:v>362.52809106633907</c:v>
                </c:pt>
                <c:pt idx="5453">
                  <c:v>383.25842578759358</c:v>
                </c:pt>
                <c:pt idx="5454">
                  <c:v>442.69663028502737</c:v>
                </c:pt>
                <c:pt idx="5455">
                  <c:v>459.77528175611178</c:v>
                </c:pt>
                <c:pt idx="5456">
                  <c:v>469.3820235434543</c:v>
                </c:pt>
                <c:pt idx="5457">
                  <c:v>458.70786302545099</c:v>
                </c:pt>
                <c:pt idx="5458">
                  <c:v>421.85393344150503</c:v>
                </c:pt>
                <c:pt idx="5459">
                  <c:v>409.83145960261317</c:v>
                </c:pt>
                <c:pt idx="5460">
                  <c:v>400.16853943299714</c:v>
                </c:pt>
                <c:pt idx="5461">
                  <c:v>397.64045061690086</c:v>
                </c:pt>
                <c:pt idx="5462">
                  <c:v>395.56179689557365</c:v>
                </c:pt>
                <c:pt idx="5463">
                  <c:v>403.76404430089372</c:v>
                </c:pt>
                <c:pt idx="5464">
                  <c:v>402.52809042341255</c:v>
                </c:pt>
                <c:pt idx="5465">
                  <c:v>403.25842814499077</c:v>
                </c:pt>
                <c:pt idx="5466">
                  <c:v>397.92134788598906</c:v>
                </c:pt>
                <c:pt idx="5467">
                  <c:v>404.32584151793066</c:v>
                </c:pt>
                <c:pt idx="5468">
                  <c:v>411.12359454122821</c:v>
                </c:pt>
                <c:pt idx="5469">
                  <c:v>419.15730412086748</c:v>
                </c:pt>
                <c:pt idx="5470">
                  <c:v>414.43820214003659</c:v>
                </c:pt>
                <c:pt idx="5471">
                  <c:v>381.46067469307548</c:v>
                </c:pt>
                <c:pt idx="5472">
                  <c:v>352.19100995010206</c:v>
                </c:pt>
                <c:pt idx="5473">
                  <c:v>330.73033717241185</c:v>
                </c:pt>
                <c:pt idx="5474">
                  <c:v>314.83146052682002</c:v>
                </c:pt>
                <c:pt idx="5475">
                  <c:v>320.50561811147116</c:v>
                </c:pt>
                <c:pt idx="5476">
                  <c:v>326.40449424807946</c:v>
                </c:pt>
                <c:pt idx="5477">
                  <c:v>332.0786518327306</c:v>
                </c:pt>
                <c:pt idx="5478">
                  <c:v>338.59550557779465</c:v>
                </c:pt>
                <c:pt idx="5479">
                  <c:v>383.87640446759343</c:v>
                </c:pt>
                <c:pt idx="5480">
                  <c:v>415.33707875883982</c:v>
                </c:pt>
                <c:pt idx="5481">
                  <c:v>431.51685200380479</c:v>
                </c:pt>
                <c:pt idx="5482">
                  <c:v>426.06741765911664</c:v>
                </c:pt>
                <c:pt idx="5483">
                  <c:v>425.28089887640454</c:v>
                </c:pt>
                <c:pt idx="5484">
                  <c:v>420.84269684352233</c:v>
                </c:pt>
                <c:pt idx="5485">
                  <c:v>397.1910112359551</c:v>
                </c:pt>
                <c:pt idx="5486">
                  <c:v>390.16853932584274</c:v>
                </c:pt>
                <c:pt idx="5487">
                  <c:v>386.51685339681222</c:v>
                </c:pt>
                <c:pt idx="5488">
                  <c:v>394.71910080213229</c:v>
                </c:pt>
                <c:pt idx="5489">
                  <c:v>395.05617913235443</c:v>
                </c:pt>
                <c:pt idx="5490">
                  <c:v>381.01123531212971</c:v>
                </c:pt>
                <c:pt idx="5491">
                  <c:v>396.91011262743666</c:v>
                </c:pt>
                <c:pt idx="5492">
                  <c:v>396.62921401891816</c:v>
                </c:pt>
                <c:pt idx="5493">
                  <c:v>404.04494264152618</c:v>
                </c:pt>
                <c:pt idx="5494">
                  <c:v>400.00000000000006</c:v>
                </c:pt>
                <c:pt idx="5495">
                  <c:v>373.70786479349891</c:v>
                </c:pt>
                <c:pt idx="5496">
                  <c:v>342.86516811070823</c:v>
                </c:pt>
                <c:pt idx="5497">
                  <c:v>334.94382065333679</c:v>
                </c:pt>
                <c:pt idx="5498">
                  <c:v>328.59550540366871</c:v>
                </c:pt>
                <c:pt idx="5499">
                  <c:v>329.38202284695063</c:v>
                </c:pt>
                <c:pt idx="5500">
                  <c:v>334.32584237516602</c:v>
                </c:pt>
                <c:pt idx="5501">
                  <c:v>343.08988699752297</c:v>
                </c:pt>
                <c:pt idx="5502">
                  <c:v>358.59550626090407</c:v>
                </c:pt>
                <c:pt idx="5503">
                  <c:v>393.03370781159134</c:v>
                </c:pt>
                <c:pt idx="5504">
                  <c:v>393.87640497657696</c:v>
                </c:pt>
                <c:pt idx="5505">
                  <c:v>411.7977522732167</c:v>
                </c:pt>
                <c:pt idx="5506">
                  <c:v>404.04494264152618</c:v>
                </c:pt>
                <c:pt idx="5507">
                  <c:v>398.42696511343627</c:v>
                </c:pt>
                <c:pt idx="5508">
                  <c:v>403.53932648562318</c:v>
                </c:pt>
                <c:pt idx="5509">
                  <c:v>403.59550486789664</c:v>
                </c:pt>
                <c:pt idx="5510">
                  <c:v>375.61797801028479</c:v>
                </c:pt>
                <c:pt idx="5511">
                  <c:v>382.97752825061929</c:v>
                </c:pt>
                <c:pt idx="5512">
                  <c:v>381.91011219881898</c:v>
                </c:pt>
                <c:pt idx="5513">
                  <c:v>392.19101064660578</c:v>
                </c:pt>
                <c:pt idx="5514">
                  <c:v>384.04494363270453</c:v>
                </c:pt>
                <c:pt idx="5515">
                  <c:v>404.60674253742349</c:v>
                </c:pt>
                <c:pt idx="5516">
                  <c:v>408.25842578759358</c:v>
                </c:pt>
                <c:pt idx="5517">
                  <c:v>415.84269491474282</c:v>
                </c:pt>
                <c:pt idx="5518">
                  <c:v>413.76404387227609</c:v>
                </c:pt>
                <c:pt idx="5519">
                  <c:v>393.14606859442898</c:v>
                </c:pt>
                <c:pt idx="5520">
                  <c:v>334.32584237516602</c:v>
                </c:pt>
                <c:pt idx="5521">
                  <c:v>328.14606763003923</c:v>
                </c:pt>
                <c:pt idx="5522">
                  <c:v>329.10112356871707</c:v>
                </c:pt>
                <c:pt idx="5523">
                  <c:v>322.97752787557886</c:v>
                </c:pt>
                <c:pt idx="5524">
                  <c:v>349.32584280378364</c:v>
                </c:pt>
                <c:pt idx="5525">
                  <c:v>372.13483124636537</c:v>
                </c:pt>
                <c:pt idx="5526">
                  <c:v>414.49438159385426</c:v>
                </c:pt>
                <c:pt idx="5527">
                  <c:v>415.28089769770594</c:v>
                </c:pt>
                <c:pt idx="5528">
                  <c:v>408.70786624008355</c:v>
                </c:pt>
                <c:pt idx="5529">
                  <c:v>426.34831224934442</c:v>
                </c:pt>
                <c:pt idx="5530">
                  <c:v>382.19101147705254</c:v>
                </c:pt>
                <c:pt idx="5531">
                  <c:v>391.06741621253201</c:v>
                </c:pt>
                <c:pt idx="5532">
                  <c:v>407.86516907509798</c:v>
                </c:pt>
                <c:pt idx="5533">
                  <c:v>397.69663007071853</c:v>
                </c:pt>
                <c:pt idx="5534">
                  <c:v>378.20224654808476</c:v>
                </c:pt>
                <c:pt idx="5535">
                  <c:v>394.83146024553969</c:v>
                </c:pt>
                <c:pt idx="5536">
                  <c:v>375.95505634050693</c:v>
                </c:pt>
                <c:pt idx="5537">
                  <c:v>398.48314617457021</c:v>
                </c:pt>
                <c:pt idx="5538">
                  <c:v>388.14606800507966</c:v>
                </c:pt>
                <c:pt idx="5539">
                  <c:v>407.64045018828318</c:v>
                </c:pt>
                <c:pt idx="5540">
                  <c:v>399.71910005205137</c:v>
                </c:pt>
                <c:pt idx="5541">
                  <c:v>409.04494457030569</c:v>
                </c:pt>
                <c:pt idx="5542">
                  <c:v>426.51685543274613</c:v>
                </c:pt>
                <c:pt idx="5543">
                  <c:v>395.00000075008097</c:v>
                </c:pt>
                <c:pt idx="5544">
                  <c:v>345.61797715304948</c:v>
                </c:pt>
                <c:pt idx="5545">
                  <c:v>337.97752830419648</c:v>
                </c:pt>
                <c:pt idx="5546">
                  <c:v>326.23595508296842</c:v>
                </c:pt>
                <c:pt idx="5547">
                  <c:v>326.46067396978316</c:v>
                </c:pt>
                <c:pt idx="5548">
                  <c:v>331.91011233276197</c:v>
                </c:pt>
                <c:pt idx="5549">
                  <c:v>338.08988774760388</c:v>
                </c:pt>
                <c:pt idx="5550">
                  <c:v>341.7977533983381</c:v>
                </c:pt>
                <c:pt idx="5551">
                  <c:v>371.2921340813798</c:v>
                </c:pt>
                <c:pt idx="5552">
                  <c:v>381.40449470348574</c:v>
                </c:pt>
                <c:pt idx="5553">
                  <c:v>411.2921361173137</c:v>
                </c:pt>
                <c:pt idx="5554">
                  <c:v>424.88764216390894</c:v>
                </c:pt>
                <c:pt idx="5555">
                  <c:v>411.46067394299456</c:v>
                </c:pt>
                <c:pt idx="5556">
                  <c:v>402.41572937268893</c:v>
                </c:pt>
                <c:pt idx="5557">
                  <c:v>405.67415858922385</c:v>
                </c:pt>
                <c:pt idx="5558">
                  <c:v>384.66292124116023</c:v>
                </c:pt>
                <c:pt idx="5559">
                  <c:v>386.91011278816825</c:v>
                </c:pt>
                <c:pt idx="5560">
                  <c:v>391.40449454275415</c:v>
                </c:pt>
                <c:pt idx="5561">
                  <c:v>374.38202279337338</c:v>
                </c:pt>
                <c:pt idx="5562">
                  <c:v>399.71910005205137</c:v>
                </c:pt>
                <c:pt idx="5563">
                  <c:v>401.68539432997119</c:v>
                </c:pt>
                <c:pt idx="5564">
                  <c:v>406.40449363194159</c:v>
                </c:pt>
                <c:pt idx="5565">
                  <c:v>423.93258555551597</c:v>
                </c:pt>
                <c:pt idx="5566">
                  <c:v>425.84269877230184</c:v>
                </c:pt>
                <c:pt idx="5567">
                  <c:v>393.59550636805847</c:v>
                </c:pt>
                <c:pt idx="5568">
                  <c:v>339.83146045984847</c:v>
                </c:pt>
                <c:pt idx="5569">
                  <c:v>343.20224711064543</c:v>
                </c:pt>
                <c:pt idx="5570">
                  <c:v>331.74157316765093</c:v>
                </c:pt>
                <c:pt idx="5571">
                  <c:v>331.57303400253983</c:v>
                </c:pt>
                <c:pt idx="5572">
                  <c:v>337.52808986085188</c:v>
                </c:pt>
                <c:pt idx="5573">
                  <c:v>343.31460655405283</c:v>
                </c:pt>
                <c:pt idx="5574">
                  <c:v>354.26966233199903</c:v>
                </c:pt>
                <c:pt idx="5575">
                  <c:v>420.61797795670759</c:v>
                </c:pt>
                <c:pt idx="5576">
                  <c:v>443.3707880170158</c:v>
                </c:pt>
                <c:pt idx="5577">
                  <c:v>411.01123616936508</c:v>
                </c:pt>
                <c:pt idx="5578">
                  <c:v>398.70786506138495</c:v>
                </c:pt>
                <c:pt idx="5579">
                  <c:v>397.47191118390379</c:v>
                </c:pt>
                <c:pt idx="5580">
                  <c:v>399.60674060864397</c:v>
                </c:pt>
                <c:pt idx="5581">
                  <c:v>390.89887704742091</c:v>
                </c:pt>
                <c:pt idx="5582">
                  <c:v>383.20224847686427</c:v>
                </c:pt>
                <c:pt idx="5583">
                  <c:v>388.82022600495418</c:v>
                </c:pt>
                <c:pt idx="5584">
                  <c:v>392.8651686464803</c:v>
                </c:pt>
                <c:pt idx="5585">
                  <c:v>404.38202365060874</c:v>
                </c:pt>
                <c:pt idx="5586">
                  <c:v>412.58426837706838</c:v>
                </c:pt>
                <c:pt idx="5587">
                  <c:v>413.03370882955835</c:v>
                </c:pt>
                <c:pt idx="5588">
                  <c:v>414.3258437681734</c:v>
                </c:pt>
                <c:pt idx="5589">
                  <c:v>441.40449373909598</c:v>
                </c:pt>
                <c:pt idx="5590">
                  <c:v>442.02246933840638</c:v>
                </c:pt>
                <c:pt idx="5591">
                  <c:v>423.87640449438209</c:v>
                </c:pt>
                <c:pt idx="5592">
                  <c:v>351.29213440284303</c:v>
                </c:pt>
                <c:pt idx="5593">
                  <c:v>353.93258400177689</c:v>
                </c:pt>
                <c:pt idx="5594">
                  <c:v>353.03370711508762</c:v>
                </c:pt>
                <c:pt idx="5595">
                  <c:v>352.69662878486548</c:v>
                </c:pt>
                <c:pt idx="5596">
                  <c:v>358.25842793068193</c:v>
                </c:pt>
                <c:pt idx="5597">
                  <c:v>362.97752723265233</c:v>
                </c:pt>
                <c:pt idx="5598">
                  <c:v>377.58427094877442</c:v>
                </c:pt>
                <c:pt idx="5599">
                  <c:v>429.10112530997634</c:v>
                </c:pt>
                <c:pt idx="5600">
                  <c:v>450.33707886599427</c:v>
                </c:pt>
                <c:pt idx="5601">
                  <c:v>463.20224719101128</c:v>
                </c:pt>
                <c:pt idx="5602">
                  <c:v>418.4831460623929</c:v>
                </c:pt>
                <c:pt idx="5603">
                  <c:v>411.46067415228055</c:v>
                </c:pt>
                <c:pt idx="5604">
                  <c:v>384.77528089385356</c:v>
                </c:pt>
                <c:pt idx="5605">
                  <c:v>376.34831460171876</c:v>
                </c:pt>
                <c:pt idx="5606">
                  <c:v>358.08988763542663</c:v>
                </c:pt>
                <c:pt idx="5607">
                  <c:v>363.59550551082316</c:v>
                </c:pt>
                <c:pt idx="5608">
                  <c:v>358.98876431282991</c:v>
                </c:pt>
                <c:pt idx="5609">
                  <c:v>379.94382059975959</c:v>
                </c:pt>
                <c:pt idx="5610">
                  <c:v>394.10112252396146</c:v>
                </c:pt>
                <c:pt idx="5611">
                  <c:v>406.12359636285333</c:v>
                </c:pt>
                <c:pt idx="5612">
                  <c:v>410.73033622141639</c:v>
                </c:pt>
                <c:pt idx="5613">
                  <c:v>419.77528347058245</c:v>
                </c:pt>
                <c:pt idx="5614">
                  <c:v>418.87640256560252</c:v>
                </c:pt>
                <c:pt idx="5615">
                  <c:v>385.33707790160452</c:v>
                </c:pt>
                <c:pt idx="5616">
                  <c:v>342.69662894559713</c:v>
                </c:pt>
                <c:pt idx="5617">
                  <c:v>341.91011217203038</c:v>
                </c:pt>
                <c:pt idx="5618">
                  <c:v>330.61797739414692</c:v>
                </c:pt>
                <c:pt idx="5619">
                  <c:v>331.06741583749152</c:v>
                </c:pt>
                <c:pt idx="5620">
                  <c:v>331.12359555919522</c:v>
                </c:pt>
                <c:pt idx="5621">
                  <c:v>343.14606738894179</c:v>
                </c:pt>
                <c:pt idx="5622">
                  <c:v>373.37078780270696</c:v>
                </c:pt>
                <c:pt idx="5623">
                  <c:v>415.39325874842956</c:v>
                </c:pt>
                <c:pt idx="5624">
                  <c:v>426.2359544132533</c:v>
                </c:pt>
                <c:pt idx="5625">
                  <c:v>446.62921348314609</c:v>
                </c:pt>
                <c:pt idx="5626">
                  <c:v>488.31460717019075</c:v>
                </c:pt>
                <c:pt idx="5627">
                  <c:v>406.91011139516081</c:v>
                </c:pt>
                <c:pt idx="5628">
                  <c:v>393.25842696629218</c:v>
                </c:pt>
                <c:pt idx="5629">
                  <c:v>396.74157239078136</c:v>
                </c:pt>
                <c:pt idx="5630">
                  <c:v>371.46067351437688</c:v>
                </c:pt>
                <c:pt idx="5631">
                  <c:v>395.28089962648545</c:v>
                </c:pt>
                <c:pt idx="5632">
                  <c:v>395.78651712181863</c:v>
                </c:pt>
                <c:pt idx="5633">
                  <c:v>423.37078726693488</c:v>
                </c:pt>
                <c:pt idx="5634">
                  <c:v>425.16853836145293</c:v>
                </c:pt>
                <c:pt idx="5635">
                  <c:v>439.60674157303373</c:v>
                </c:pt>
                <c:pt idx="5636">
                  <c:v>405.6179764565457</c:v>
                </c:pt>
                <c:pt idx="5637">
                  <c:v>423.87640342283788</c:v>
                </c:pt>
                <c:pt idx="5638">
                  <c:v>421.96629020605195</c:v>
                </c:pt>
                <c:pt idx="5639">
                  <c:v>397.75281006030826</c:v>
                </c:pt>
                <c:pt idx="5640">
                  <c:v>335.05618036463022</c:v>
                </c:pt>
                <c:pt idx="5641">
                  <c:v>339.49438105808218</c:v>
                </c:pt>
                <c:pt idx="5642">
                  <c:v>333.25842793068193</c:v>
                </c:pt>
                <c:pt idx="5643">
                  <c:v>336.91011118085197</c:v>
                </c:pt>
                <c:pt idx="5644">
                  <c:v>324.60674141230209</c:v>
                </c:pt>
                <c:pt idx="5645">
                  <c:v>339.77528100603087</c:v>
                </c:pt>
                <c:pt idx="5646">
                  <c:v>355.84269748644886</c:v>
                </c:pt>
                <c:pt idx="5647">
                  <c:v>386.2921361173137</c:v>
                </c:pt>
                <c:pt idx="5648">
                  <c:v>390.84269491474282</c:v>
                </c:pt>
                <c:pt idx="5649">
                  <c:v>432.58426966292137</c:v>
                </c:pt>
                <c:pt idx="5650">
                  <c:v>422.5842711630832</c:v>
                </c:pt>
                <c:pt idx="5651">
                  <c:v>435.16853954015153</c:v>
                </c:pt>
                <c:pt idx="5652">
                  <c:v>411.29213504576956</c:v>
                </c:pt>
                <c:pt idx="5653">
                  <c:v>403.14606870158337</c:v>
                </c:pt>
                <c:pt idx="5654">
                  <c:v>399.04494499892331</c:v>
                </c:pt>
                <c:pt idx="5655">
                  <c:v>387.69663049933615</c:v>
                </c:pt>
                <c:pt idx="5656">
                  <c:v>373.03370840094067</c:v>
                </c:pt>
                <c:pt idx="5657">
                  <c:v>389.9438193674838</c:v>
                </c:pt>
                <c:pt idx="5658">
                  <c:v>381.79775302329762</c:v>
                </c:pt>
                <c:pt idx="5659">
                  <c:v>385.61797677800899</c:v>
                </c:pt>
                <c:pt idx="5660">
                  <c:v>390.44943820224722</c:v>
                </c:pt>
                <c:pt idx="5661">
                  <c:v>412.58426730552418</c:v>
                </c:pt>
                <c:pt idx="5662">
                  <c:v>407.47190861219775</c:v>
                </c:pt>
                <c:pt idx="5663">
                  <c:v>398.76404505097469</c:v>
                </c:pt>
                <c:pt idx="5664">
                  <c:v>351.40449545356665</c:v>
                </c:pt>
                <c:pt idx="5665">
                  <c:v>337.35955163334194</c:v>
                </c:pt>
                <c:pt idx="5666">
                  <c:v>324.38202252548734</c:v>
                </c:pt>
                <c:pt idx="5667">
                  <c:v>321.40449459633135</c:v>
                </c:pt>
                <c:pt idx="5668">
                  <c:v>320.84269603986422</c:v>
                </c:pt>
                <c:pt idx="5669">
                  <c:v>348.14606623703173</c:v>
                </c:pt>
                <c:pt idx="5670">
                  <c:v>363.14606666564941</c:v>
                </c:pt>
                <c:pt idx="5671">
                  <c:v>389.66292209839554</c:v>
                </c:pt>
                <c:pt idx="5672">
                  <c:v>396.46067512169316</c:v>
                </c:pt>
                <c:pt idx="5673">
                  <c:v>408.53932734285848</c:v>
                </c:pt>
                <c:pt idx="5674">
                  <c:v>426.85393001256364</c:v>
                </c:pt>
                <c:pt idx="5675">
                  <c:v>417.30336928635501</c:v>
                </c:pt>
                <c:pt idx="5676">
                  <c:v>413.65168603618497</c:v>
                </c:pt>
                <c:pt idx="5677">
                  <c:v>394.99999967853677</c:v>
                </c:pt>
                <c:pt idx="5678">
                  <c:v>390.84269759360325</c:v>
                </c:pt>
                <c:pt idx="5679">
                  <c:v>383.14606634418618</c:v>
                </c:pt>
                <c:pt idx="5680">
                  <c:v>373.65168533968125</c:v>
                </c:pt>
                <c:pt idx="5681">
                  <c:v>401.5168527538857</c:v>
                </c:pt>
                <c:pt idx="5682">
                  <c:v>398.93258555551597</c:v>
                </c:pt>
                <c:pt idx="5683">
                  <c:v>412.41572947984332</c:v>
                </c:pt>
                <c:pt idx="5684">
                  <c:v>427.07865425709929</c:v>
                </c:pt>
                <c:pt idx="5685">
                  <c:v>445.78651899702095</c:v>
                </c:pt>
                <c:pt idx="5686">
                  <c:v>442.19101145026389</c:v>
                </c:pt>
                <c:pt idx="5687">
                  <c:v>396.12359679147102</c:v>
                </c:pt>
                <c:pt idx="5688">
                  <c:v>349.43820117564684</c:v>
                </c:pt>
                <c:pt idx="5689">
                  <c:v>333.20224686954799</c:v>
                </c:pt>
                <c:pt idx="5690">
                  <c:v>327.1348315678286</c:v>
                </c:pt>
                <c:pt idx="5691">
                  <c:v>322.19101070018297</c:v>
                </c:pt>
                <c:pt idx="5692">
                  <c:v>321.68539320484979</c:v>
                </c:pt>
                <c:pt idx="5693">
                  <c:v>347.13483124636537</c:v>
                </c:pt>
                <c:pt idx="5694">
                  <c:v>387.80898726388313</c:v>
                </c:pt>
                <c:pt idx="5695">
                  <c:v>433.42696414904651</c:v>
                </c:pt>
                <c:pt idx="5696">
                  <c:v>428.76404322934957</c:v>
                </c:pt>
                <c:pt idx="5697">
                  <c:v>425.8426977007577</c:v>
                </c:pt>
                <c:pt idx="5698">
                  <c:v>416.68539368704467</c:v>
                </c:pt>
                <c:pt idx="5699">
                  <c:v>402.92134713590815</c:v>
                </c:pt>
                <c:pt idx="5700">
                  <c:v>397.64045061690086</c:v>
                </c:pt>
                <c:pt idx="5701">
                  <c:v>388.25842637694285</c:v>
                </c:pt>
                <c:pt idx="5702">
                  <c:v>378.59550620732682</c:v>
                </c:pt>
                <c:pt idx="5703">
                  <c:v>372.30337067936244</c:v>
                </c:pt>
                <c:pt idx="5704">
                  <c:v>372.1910112359551</c:v>
                </c:pt>
                <c:pt idx="5705">
                  <c:v>386.51685366469826</c:v>
                </c:pt>
                <c:pt idx="5706">
                  <c:v>389.719100480669</c:v>
                </c:pt>
                <c:pt idx="5707">
                  <c:v>412.02247276734772</c:v>
                </c:pt>
                <c:pt idx="5708">
                  <c:v>408.31460577718332</c:v>
                </c:pt>
                <c:pt idx="5709">
                  <c:v>418.31460695588191</c:v>
                </c:pt>
                <c:pt idx="5710">
                  <c:v>425.73033557848987</c:v>
                </c:pt>
                <c:pt idx="5711">
                  <c:v>371.29213568869602</c:v>
                </c:pt>
                <c:pt idx="5712">
                  <c:v>343.31460749165399</c:v>
                </c:pt>
                <c:pt idx="5713">
                  <c:v>329.32584205370273</c:v>
                </c:pt>
                <c:pt idx="5714">
                  <c:v>322.13483097847927</c:v>
                </c:pt>
                <c:pt idx="5715">
                  <c:v>324.83146096883195</c:v>
                </c:pt>
                <c:pt idx="5716">
                  <c:v>315.89887651164884</c:v>
                </c:pt>
                <c:pt idx="5717">
                  <c:v>325.78651690750979</c:v>
                </c:pt>
                <c:pt idx="5718">
                  <c:v>365.05617720357492</c:v>
                </c:pt>
                <c:pt idx="5719">
                  <c:v>416.79775045159158</c:v>
                </c:pt>
                <c:pt idx="5720">
                  <c:v>431.68539411566235</c:v>
                </c:pt>
                <c:pt idx="5721">
                  <c:v>430.39325649818682</c:v>
                </c:pt>
                <c:pt idx="5722">
                  <c:v>411.46067287145036</c:v>
                </c:pt>
                <c:pt idx="5723">
                  <c:v>399.49438277255285</c:v>
                </c:pt>
                <c:pt idx="5724">
                  <c:v>391.29213536723279</c:v>
                </c:pt>
                <c:pt idx="5725">
                  <c:v>376.79775377337853</c:v>
                </c:pt>
                <c:pt idx="5726">
                  <c:v>368.31460642010978</c:v>
                </c:pt>
                <c:pt idx="5727">
                  <c:v>379.3820223111785</c:v>
                </c:pt>
                <c:pt idx="5728">
                  <c:v>376.62921326883725</c:v>
                </c:pt>
                <c:pt idx="5729">
                  <c:v>373.65168533968125</c:v>
                </c:pt>
                <c:pt idx="5730">
                  <c:v>382.30337185806104</c:v>
                </c:pt>
                <c:pt idx="5731">
                  <c:v>388.98876275909083</c:v>
                </c:pt>
                <c:pt idx="5732">
                  <c:v>394.66292134831463</c:v>
                </c:pt>
                <c:pt idx="5733">
                  <c:v>422.52809010194932</c:v>
                </c:pt>
                <c:pt idx="5734">
                  <c:v>417.97752594679929</c:v>
                </c:pt>
                <c:pt idx="5735">
                  <c:v>388.20224665523915</c:v>
                </c:pt>
                <c:pt idx="5736">
                  <c:v>329.04494344518429</c:v>
                </c:pt>
                <c:pt idx="5737">
                  <c:v>296.12359538506928</c:v>
                </c:pt>
                <c:pt idx="5738">
                  <c:v>279.71910124414421</c:v>
                </c:pt>
                <c:pt idx="5739">
                  <c:v>301.57303408290562</c:v>
                </c:pt>
                <c:pt idx="5740">
                  <c:v>305.0561808468251</c:v>
                </c:pt>
                <c:pt idx="5741">
                  <c:v>310.56179893150761</c:v>
                </c:pt>
                <c:pt idx="5742">
                  <c:v>308.4831452101804</c:v>
                </c:pt>
                <c:pt idx="5743">
                  <c:v>368.87640363714672</c:v>
                </c:pt>
                <c:pt idx="5744">
                  <c:v>380.33268960674161</c:v>
                </c:pt>
                <c:pt idx="5745">
                  <c:v>396.18854308396243</c:v>
                </c:pt>
                <c:pt idx="5746">
                  <c:v>360.22031976935568</c:v>
                </c:pt>
                <c:pt idx="5747">
                  <c:v>360.79089561205234</c:v>
                </c:pt>
                <c:pt idx="5748">
                  <c:v>333.82021443227706</c:v>
                </c:pt>
                <c:pt idx="5749">
                  <c:v>342.24718072441186</c:v>
                </c:pt>
                <c:pt idx="5750">
                  <c:v>365.22472038697663</c:v>
                </c:pt>
                <c:pt idx="5751">
                  <c:v>390.89887597587671</c:v>
                </c:pt>
                <c:pt idx="5752">
                  <c:v>411.1235972200887</c:v>
                </c:pt>
                <c:pt idx="5753">
                  <c:v>346.40449352478714</c:v>
                </c:pt>
                <c:pt idx="5754">
                  <c:v>363.1460693445099</c:v>
                </c:pt>
                <c:pt idx="5755">
                  <c:v>378.31460759880838</c:v>
                </c:pt>
                <c:pt idx="5756">
                  <c:v>382.8651663962375</c:v>
                </c:pt>
                <c:pt idx="5757">
                  <c:v>404.83145767383365</c:v>
                </c:pt>
                <c:pt idx="5758">
                  <c:v>399.15729908460986</c:v>
                </c:pt>
                <c:pt idx="5759">
                  <c:v>376.46067544315639</c:v>
                </c:pt>
                <c:pt idx="5760">
                  <c:v>346.29213408137974</c:v>
                </c:pt>
                <c:pt idx="5761">
                  <c:v>330.0561797752809</c:v>
                </c:pt>
                <c:pt idx="5762">
                  <c:v>327.0786518461249</c:v>
                </c:pt>
                <c:pt idx="5763">
                  <c:v>329.55056227994771</c:v>
                </c:pt>
                <c:pt idx="5764">
                  <c:v>323.08988758687224</c:v>
                </c:pt>
                <c:pt idx="5765">
                  <c:v>323.25842675198334</c:v>
                </c:pt>
                <c:pt idx="5766">
                  <c:v>338.08988667605968</c:v>
                </c:pt>
                <c:pt idx="5767">
                  <c:v>373.53932455684361</c:v>
                </c:pt>
                <c:pt idx="5768">
                  <c:v>413.03371043687457</c:v>
                </c:pt>
                <c:pt idx="5769">
                  <c:v>416.79775045159158</c:v>
                </c:pt>
                <c:pt idx="5770">
                  <c:v>393.08988914061132</c:v>
                </c:pt>
                <c:pt idx="5771">
                  <c:v>377.24718886814765</c:v>
                </c:pt>
                <c:pt idx="5772">
                  <c:v>370.50561690598391</c:v>
                </c:pt>
                <c:pt idx="5773">
                  <c:v>386.2921361173137</c:v>
                </c:pt>
                <c:pt idx="5774">
                  <c:v>369.32584141077621</c:v>
                </c:pt>
                <c:pt idx="5775">
                  <c:v>370.16853991519201</c:v>
                </c:pt>
                <c:pt idx="5776">
                  <c:v>376.96629159905939</c:v>
                </c:pt>
                <c:pt idx="5777">
                  <c:v>372.92134895753327</c:v>
                </c:pt>
                <c:pt idx="5778">
                  <c:v>383.98876350917175</c:v>
                </c:pt>
                <c:pt idx="5779">
                  <c:v>385.56179839573554</c:v>
                </c:pt>
                <c:pt idx="5780">
                  <c:v>388.93258437681737</c:v>
                </c:pt>
                <c:pt idx="5781">
                  <c:v>422.13483338945372</c:v>
                </c:pt>
                <c:pt idx="5782">
                  <c:v>409.83145960261317</c:v>
                </c:pt>
                <c:pt idx="5783">
                  <c:v>364.4943826653984</c:v>
                </c:pt>
                <c:pt idx="5784">
                  <c:v>319.49438204926054</c:v>
                </c:pt>
                <c:pt idx="5785">
                  <c:v>315.50561779000788</c:v>
                </c:pt>
                <c:pt idx="5786">
                  <c:v>297.13483138030836</c:v>
                </c:pt>
                <c:pt idx="5787">
                  <c:v>296.91011249349361</c:v>
                </c:pt>
                <c:pt idx="5788">
                  <c:v>290.1685391918997</c:v>
                </c:pt>
                <c:pt idx="5789">
                  <c:v>296.34831460674161</c:v>
                </c:pt>
                <c:pt idx="5790">
                  <c:v>351.17977522732167</c:v>
                </c:pt>
                <c:pt idx="5791">
                  <c:v>369.88764130667357</c:v>
                </c:pt>
                <c:pt idx="5792">
                  <c:v>372.80898683526544</c:v>
                </c:pt>
                <c:pt idx="5793">
                  <c:v>386.9101117166241</c:v>
                </c:pt>
                <c:pt idx="5794">
                  <c:v>395.28089694762502</c:v>
                </c:pt>
                <c:pt idx="5795">
                  <c:v>383.37078523100092</c:v>
                </c:pt>
                <c:pt idx="5796">
                  <c:v>371.40449513210342</c:v>
                </c:pt>
                <c:pt idx="5797">
                  <c:v>390.50561926338111</c:v>
                </c:pt>
                <c:pt idx="5798">
                  <c:v>369.94381968894703</c:v>
                </c:pt>
                <c:pt idx="5799">
                  <c:v>382.52809074487578</c:v>
                </c:pt>
                <c:pt idx="5800">
                  <c:v>380.56179646695597</c:v>
                </c:pt>
                <c:pt idx="5801">
                  <c:v>371.62921401891816</c:v>
                </c:pt>
                <c:pt idx="5802">
                  <c:v>389.3258437681734</c:v>
                </c:pt>
                <c:pt idx="5803">
                  <c:v>387.69663049933615</c:v>
                </c:pt>
                <c:pt idx="5804">
                  <c:v>393.20224590515824</c:v>
                </c:pt>
                <c:pt idx="5805">
                  <c:v>395.73033472125451</c:v>
                </c:pt>
                <c:pt idx="5806">
                  <c:v>401.6292121972931</c:v>
                </c:pt>
                <c:pt idx="5807">
                  <c:v>377.02247266019327</c:v>
                </c:pt>
                <c:pt idx="5808">
                  <c:v>328.93258400177689</c:v>
                </c:pt>
                <c:pt idx="5809">
                  <c:v>311.91011225239617</c:v>
                </c:pt>
                <c:pt idx="5810">
                  <c:v>307.8089888845937</c:v>
                </c:pt>
                <c:pt idx="5811">
                  <c:v>313.48314613438725</c:v>
                </c:pt>
                <c:pt idx="5812">
                  <c:v>307.92134832800105</c:v>
                </c:pt>
                <c:pt idx="5813">
                  <c:v>309.15730321005492</c:v>
                </c:pt>
                <c:pt idx="5814">
                  <c:v>342.19101037871974</c:v>
                </c:pt>
                <c:pt idx="5815">
                  <c:v>367.97752808988764</c:v>
                </c:pt>
                <c:pt idx="5816">
                  <c:v>388.76404387227609</c:v>
                </c:pt>
                <c:pt idx="5817">
                  <c:v>407.13483296083604</c:v>
                </c:pt>
                <c:pt idx="5818">
                  <c:v>419.88763916358522</c:v>
                </c:pt>
                <c:pt idx="5819">
                  <c:v>416.91011257385941</c:v>
                </c:pt>
                <c:pt idx="5820">
                  <c:v>403.59550647521291</c:v>
                </c:pt>
                <c:pt idx="5821">
                  <c:v>403.59550647521291</c:v>
                </c:pt>
                <c:pt idx="5822">
                  <c:v>379.21348314606746</c:v>
                </c:pt>
                <c:pt idx="5823">
                  <c:v>369.88763996724333</c:v>
                </c:pt>
                <c:pt idx="5824">
                  <c:v>378.82022375471138</c:v>
                </c:pt>
                <c:pt idx="5825">
                  <c:v>383.82022568349089</c:v>
                </c:pt>
                <c:pt idx="5826">
                  <c:v>380.11235869332648</c:v>
                </c:pt>
                <c:pt idx="5827">
                  <c:v>373.59550561797755</c:v>
                </c:pt>
                <c:pt idx="5828">
                  <c:v>389.213484324766</c:v>
                </c:pt>
                <c:pt idx="5829">
                  <c:v>393.93258362673646</c:v>
                </c:pt>
                <c:pt idx="5830">
                  <c:v>643.5137934081489</c:v>
                </c:pt>
                <c:pt idx="5831">
                  <c:v>614.69429533933521</c:v>
                </c:pt>
                <c:pt idx="5832">
                  <c:v>549.94163314182538</c:v>
                </c:pt>
                <c:pt idx="5833">
                  <c:v>538.72391809847306</c:v>
                </c:pt>
                <c:pt idx="5834">
                  <c:v>525.8645856361328</c:v>
                </c:pt>
                <c:pt idx="5835">
                  <c:v>515.01167398046687</c:v>
                </c:pt>
                <c:pt idx="5836">
                  <c:v>507.62439776942034</c:v>
                </c:pt>
                <c:pt idx="5837">
                  <c:v>519.20691728765883</c:v>
                </c:pt>
                <c:pt idx="5838">
                  <c:v>557.14650657182892</c:v>
                </c:pt>
                <c:pt idx="5839">
                  <c:v>611.04625711367294</c:v>
                </c:pt>
                <c:pt idx="5840">
                  <c:v>622.35517082954698</c:v>
                </c:pt>
                <c:pt idx="5841">
                  <c:v>647.1618272850119</c:v>
                </c:pt>
                <c:pt idx="5842">
                  <c:v>657.83233724683464</c:v>
                </c:pt>
                <c:pt idx="5843">
                  <c:v>660.65956132700364</c:v>
                </c:pt>
                <c:pt idx="5844">
                  <c:v>647.98263708170566</c:v>
                </c:pt>
                <c:pt idx="5845">
                  <c:v>636.21771695682401</c:v>
                </c:pt>
                <c:pt idx="5846">
                  <c:v>611.04625711367294</c:v>
                </c:pt>
                <c:pt idx="5847">
                  <c:v>620.43995521859358</c:v>
                </c:pt>
                <c:pt idx="5848">
                  <c:v>599.5549395295559</c:v>
                </c:pt>
                <c:pt idx="5849">
                  <c:v>621.44316236033126</c:v>
                </c:pt>
                <c:pt idx="5850">
                  <c:v>618.34233356499772</c:v>
                </c:pt>
                <c:pt idx="5851">
                  <c:v>644.24339583472204</c:v>
                </c:pt>
                <c:pt idx="5852">
                  <c:v>668.68524455370118</c:v>
                </c:pt>
                <c:pt idx="5853">
                  <c:v>756.51174494076633</c:v>
                </c:pt>
                <c:pt idx="5854">
                  <c:v>712.73529493041622</c:v>
                </c:pt>
                <c:pt idx="5855">
                  <c:v>593.26207674316777</c:v>
                </c:pt>
                <c:pt idx="5856">
                  <c:v>556.59930149029947</c:v>
                </c:pt>
                <c:pt idx="5857">
                  <c:v>500.51072518633833</c:v>
                </c:pt>
                <c:pt idx="5858">
                  <c:v>499.50751478300128</c:v>
                </c:pt>
                <c:pt idx="5859">
                  <c:v>507.35079522865567</c:v>
                </c:pt>
                <c:pt idx="5860">
                  <c:v>511.27243490788294</c:v>
                </c:pt>
                <c:pt idx="5861">
                  <c:v>511.81964107661224</c:v>
                </c:pt>
                <c:pt idx="5862">
                  <c:v>569.91463383844825</c:v>
                </c:pt>
                <c:pt idx="5863">
                  <c:v>709.9080708502471</c:v>
                </c:pt>
                <c:pt idx="5864">
                  <c:v>697.77834733767918</c:v>
                </c:pt>
                <c:pt idx="5865">
                  <c:v>700.78797746049088</c:v>
                </c:pt>
                <c:pt idx="5866">
                  <c:v>608.03662590366139</c:v>
                </c:pt>
                <c:pt idx="5867">
                  <c:v>591.80285993082316</c:v>
                </c:pt>
                <c:pt idx="5868">
                  <c:v>593.17087372184653</c:v>
                </c:pt>
                <c:pt idx="5869">
                  <c:v>595.72450069725028</c:v>
                </c:pt>
                <c:pt idx="5870">
                  <c:v>547.84400985742968</c:v>
                </c:pt>
                <c:pt idx="5871">
                  <c:v>571.5562534318359</c:v>
                </c:pt>
                <c:pt idx="5872">
                  <c:v>587.60761771083105</c:v>
                </c:pt>
                <c:pt idx="5873">
                  <c:v>590.98205339572883</c:v>
                </c:pt>
                <c:pt idx="5874">
                  <c:v>629.1040421993423</c:v>
                </c:pt>
                <c:pt idx="5875">
                  <c:v>642.51057756881244</c:v>
                </c:pt>
                <c:pt idx="5876">
                  <c:v>711.82329080999989</c:v>
                </c:pt>
                <c:pt idx="5877">
                  <c:v>713.1000983181026</c:v>
                </c:pt>
                <c:pt idx="5878">
                  <c:v>699.41995823346804</c:v>
                </c:pt>
                <c:pt idx="5879">
                  <c:v>571.64745210435774</c:v>
                </c:pt>
                <c:pt idx="5880">
                  <c:v>556.96410487798573</c:v>
                </c:pt>
                <c:pt idx="5881">
                  <c:v>511.27243490788294</c:v>
                </c:pt>
                <c:pt idx="5882">
                  <c:v>507.25959438173408</c:v>
                </c:pt>
                <c:pt idx="5883">
                  <c:v>528.41821152433658</c:v>
                </c:pt>
                <c:pt idx="5884">
                  <c:v>527.68860257456436</c:v>
                </c:pt>
                <c:pt idx="5885">
                  <c:v>574.38348186080452</c:v>
                </c:pt>
                <c:pt idx="5886">
                  <c:v>658.56194402220717</c:v>
                </c:pt>
                <c:pt idx="5887">
                  <c:v>706.98964374875675</c:v>
                </c:pt>
                <c:pt idx="5888">
                  <c:v>733.43791110001052</c:v>
                </c:pt>
                <c:pt idx="5889">
                  <c:v>704.16241097098873</c:v>
                </c:pt>
                <c:pt idx="5890">
                  <c:v>668.59405022997873</c:v>
                </c:pt>
                <c:pt idx="5891">
                  <c:v>657.46753385914838</c:v>
                </c:pt>
                <c:pt idx="5892">
                  <c:v>601.01415525470088</c:v>
                </c:pt>
                <c:pt idx="5893">
                  <c:v>637.95053087393421</c:v>
                </c:pt>
                <c:pt idx="5894">
                  <c:v>603.93258235619123</c:v>
                </c:pt>
                <c:pt idx="5895">
                  <c:v>606.30380872495152</c:v>
                </c:pt>
                <c:pt idx="5896">
                  <c:v>635.30570413880889</c:v>
                </c:pt>
                <c:pt idx="5897">
                  <c:v>604.84459517420635</c:v>
                </c:pt>
                <c:pt idx="5898">
                  <c:v>634.02889228190679</c:v>
                </c:pt>
                <c:pt idx="5899">
                  <c:v>645.15540430393776</c:v>
                </c:pt>
                <c:pt idx="5900">
                  <c:v>688.38464488395903</c:v>
                </c:pt>
                <c:pt idx="5901">
                  <c:v>701.42638121454218</c:v>
                </c:pt>
                <c:pt idx="5902">
                  <c:v>715.47132468686289</c:v>
                </c:pt>
                <c:pt idx="5903">
                  <c:v>667.22603100295601</c:v>
                </c:pt>
                <c:pt idx="5904">
                  <c:v>623.63198703524847</c:v>
                </c:pt>
                <c:pt idx="5905">
                  <c:v>588.79322872081161</c:v>
                </c:pt>
                <c:pt idx="5906">
                  <c:v>579.58193502773361</c:v>
                </c:pt>
                <c:pt idx="5907">
                  <c:v>579.76433726517666</c:v>
                </c:pt>
                <c:pt idx="5908">
                  <c:v>569.36743038771851</c:v>
                </c:pt>
                <c:pt idx="5909">
                  <c:v>592.25886525263081</c:v>
                </c:pt>
                <c:pt idx="5910">
                  <c:v>659.38275381890105</c:v>
                </c:pt>
                <c:pt idx="5911">
                  <c:v>732.34349223935283</c:v>
                </c:pt>
                <c:pt idx="5912">
                  <c:v>736.0006553333867</c:v>
                </c:pt>
                <c:pt idx="5913">
                  <c:v>707.82868588699591</c:v>
                </c:pt>
                <c:pt idx="5914">
                  <c:v>692.5342921164895</c:v>
                </c:pt>
                <c:pt idx="5915">
                  <c:v>647.16182701321191</c:v>
                </c:pt>
                <c:pt idx="5916">
                  <c:v>650.11673700839049</c:v>
                </c:pt>
                <c:pt idx="5917">
                  <c:v>661.24325147662114</c:v>
                </c:pt>
                <c:pt idx="5918">
                  <c:v>629.83364951831481</c:v>
                </c:pt>
                <c:pt idx="5919">
                  <c:v>616.52743334093884</c:v>
                </c:pt>
                <c:pt idx="5920">
                  <c:v>623.37662363102811</c:v>
                </c:pt>
                <c:pt idx="5921">
                  <c:v>646.62374136405458</c:v>
                </c:pt>
                <c:pt idx="5922">
                  <c:v>658.48898312722997</c:v>
                </c:pt>
                <c:pt idx="5923">
                  <c:v>698.38027173144167</c:v>
                </c:pt>
                <c:pt idx="5924">
                  <c:v>772.05238676012027</c:v>
                </c:pt>
                <c:pt idx="5925">
                  <c:v>756.64854811374846</c:v>
                </c:pt>
                <c:pt idx="5926">
                  <c:v>717.51422757182559</c:v>
                </c:pt>
                <c:pt idx="5927">
                  <c:v>626.3315338980068</c:v>
                </c:pt>
                <c:pt idx="5928">
                  <c:v>603.34889872977294</c:v>
                </c:pt>
                <c:pt idx="5929">
                  <c:v>566.68612320510454</c:v>
                </c:pt>
                <c:pt idx="5930">
                  <c:v>545.42718523960821</c:v>
                </c:pt>
                <c:pt idx="5931">
                  <c:v>558.59660014660187</c:v>
                </c:pt>
                <c:pt idx="5932">
                  <c:v>571.46505204131449</c:v>
                </c:pt>
                <c:pt idx="5933">
                  <c:v>604.9722751096167</c:v>
                </c:pt>
                <c:pt idx="5934">
                  <c:v>770.6661319299526</c:v>
                </c:pt>
                <c:pt idx="5935">
                  <c:v>791.34138382283095</c:v>
                </c:pt>
                <c:pt idx="5936">
                  <c:v>780.20574965042806</c:v>
                </c:pt>
                <c:pt idx="5937">
                  <c:v>721.45410801839716</c:v>
                </c:pt>
                <c:pt idx="5938">
                  <c:v>676.38260647100071</c:v>
                </c:pt>
                <c:pt idx="5939">
                  <c:v>637.77725105866307</c:v>
                </c:pt>
                <c:pt idx="5940">
                  <c:v>625.69312742595582</c:v>
                </c:pt>
                <c:pt idx="5941">
                  <c:v>617.92280787527864</c:v>
                </c:pt>
                <c:pt idx="5942">
                  <c:v>601.83496314879494</c:v>
                </c:pt>
                <c:pt idx="5943">
                  <c:v>645.94885471631505</c:v>
                </c:pt>
                <c:pt idx="5944">
                  <c:v>661.58069520819095</c:v>
                </c:pt>
                <c:pt idx="5945">
                  <c:v>682.57515006529479</c:v>
                </c:pt>
                <c:pt idx="5946">
                  <c:v>670.82846989235748</c:v>
                </c:pt>
                <c:pt idx="5947">
                  <c:v>682.99467412421404</c:v>
                </c:pt>
                <c:pt idx="5948">
                  <c:v>742.34824205260725</c:v>
                </c:pt>
                <c:pt idx="5949">
                  <c:v>752.96403052779726</c:v>
                </c:pt>
                <c:pt idx="5950">
                  <c:v>712.23369353394708</c:v>
                </c:pt>
                <c:pt idx="5951">
                  <c:v>656.93856764236341</c:v>
                </c:pt>
                <c:pt idx="5952">
                  <c:v>584.56150605333096</c:v>
                </c:pt>
                <c:pt idx="5953">
                  <c:v>575.28637116944788</c:v>
                </c:pt>
                <c:pt idx="5954">
                  <c:v>577.58463474063126</c:v>
                </c:pt>
                <c:pt idx="5955">
                  <c:v>564.35137891463262</c:v>
                </c:pt>
                <c:pt idx="5956">
                  <c:v>567.68933347254176</c:v>
                </c:pt>
                <c:pt idx="5957">
                  <c:v>596.50882841565567</c:v>
                </c:pt>
                <c:pt idx="5958">
                  <c:v>703.60608509808719</c:v>
                </c:pt>
                <c:pt idx="5959">
                  <c:v>791.49642504515759</c:v>
                </c:pt>
                <c:pt idx="5960">
                  <c:v>780.6343942289194</c:v>
                </c:pt>
                <c:pt idx="5961">
                  <c:v>733.10046736844072</c:v>
                </c:pt>
                <c:pt idx="5962">
                  <c:v>684.11644584598923</c:v>
                </c:pt>
                <c:pt idx="5963">
                  <c:v>676.84773122518072</c:v>
                </c:pt>
                <c:pt idx="5964">
                  <c:v>683.53275977337125</c:v>
                </c:pt>
                <c:pt idx="5965">
                  <c:v>660.20356062579538</c:v>
                </c:pt>
                <c:pt idx="5966">
                  <c:v>672.59776751855577</c:v>
                </c:pt>
                <c:pt idx="5967">
                  <c:v>677.63205894358612</c:v>
                </c:pt>
                <c:pt idx="5968">
                  <c:v>665.28345274608637</c:v>
                </c:pt>
                <c:pt idx="5969">
                  <c:v>692.52517159691729</c:v>
                </c:pt>
                <c:pt idx="5970">
                  <c:v>693.41894092958864</c:v>
                </c:pt>
                <c:pt idx="5971">
                  <c:v>697.98810732863899</c:v>
                </c:pt>
                <c:pt idx="5972">
                  <c:v>728.54042094536248</c:v>
                </c:pt>
                <c:pt idx="5973">
                  <c:v>749.89967919015271</c:v>
                </c:pt>
                <c:pt idx="5974">
                  <c:v>726.07799563228036</c:v>
                </c:pt>
                <c:pt idx="5975">
                  <c:v>648.5480812997796</c:v>
                </c:pt>
                <c:pt idx="5976">
                  <c:v>636.96556286874102</c:v>
                </c:pt>
                <c:pt idx="5977">
                  <c:v>627.918430373962</c:v>
                </c:pt>
                <c:pt idx="5978">
                  <c:v>608.04574669503347</c:v>
                </c:pt>
                <c:pt idx="5979">
                  <c:v>614.79461561862911</c:v>
                </c:pt>
                <c:pt idx="5980">
                  <c:v>606.03020591238692</c:v>
                </c:pt>
                <c:pt idx="5981">
                  <c:v>638.26061603658729</c:v>
                </c:pt>
                <c:pt idx="5982">
                  <c:v>685.00109493088837</c:v>
                </c:pt>
                <c:pt idx="5983">
                  <c:v>746.97212912289046</c:v>
                </c:pt>
                <c:pt idx="5984">
                  <c:v>804.20983517394359</c:v>
                </c:pt>
                <c:pt idx="5985">
                  <c:v>796.00175105181529</c:v>
                </c:pt>
                <c:pt idx="5986">
                  <c:v>768.14898620044994</c:v>
                </c:pt>
                <c:pt idx="5987">
                  <c:v>756.46614640291773</c:v>
                </c:pt>
                <c:pt idx="5988">
                  <c:v>735.15248803798841</c:v>
                </c:pt>
                <c:pt idx="5989">
                  <c:v>659.50131328570183</c:v>
                </c:pt>
                <c:pt idx="5990">
                  <c:v>643.70531179937711</c:v>
                </c:pt>
                <c:pt idx="5991">
                  <c:v>660.32212192724592</c:v>
                </c:pt>
                <c:pt idx="5992">
                  <c:v>722.40259800531385</c:v>
                </c:pt>
                <c:pt idx="5993">
                  <c:v>679.07303388439925</c:v>
                </c:pt>
                <c:pt idx="5994">
                  <c:v>710.3549542764955</c:v>
                </c:pt>
                <c:pt idx="5995">
                  <c:v>691.9597257310561</c:v>
                </c:pt>
                <c:pt idx="5996">
                  <c:v>696.98489718011433</c:v>
                </c:pt>
                <c:pt idx="5997">
                  <c:v>687.75536271969213</c:v>
                </c:pt>
                <c:pt idx="5998">
                  <c:v>680.97913332457995</c:v>
                </c:pt>
                <c:pt idx="5999">
                  <c:v>656.73792516418848</c:v>
                </c:pt>
                <c:pt idx="6000">
                  <c:v>644.81796300158021</c:v>
                </c:pt>
                <c:pt idx="6001">
                  <c:v>630.75477903371518</c:v>
                </c:pt>
                <c:pt idx="6002">
                  <c:v>612.8429157380001</c:v>
                </c:pt>
                <c:pt idx="6003">
                  <c:v>619.94746834511</c:v>
                </c:pt>
                <c:pt idx="6004">
                  <c:v>630.67269816276576</c:v>
                </c:pt>
                <c:pt idx="6005">
                  <c:v>633.97417213728636</c:v>
                </c:pt>
                <c:pt idx="6006">
                  <c:v>654.25725962736192</c:v>
                </c:pt>
                <c:pt idx="6007">
                  <c:v>699.8030061767106</c:v>
                </c:pt>
                <c:pt idx="6008">
                  <c:v>712.49817635355214</c:v>
                </c:pt>
                <c:pt idx="6009">
                  <c:v>769.13395610824284</c:v>
                </c:pt>
                <c:pt idx="6010">
                  <c:v>800.56179774669351</c:v>
                </c:pt>
                <c:pt idx="6011">
                  <c:v>771.30453865681602</c:v>
                </c:pt>
                <c:pt idx="6012">
                  <c:v>745.82299745621128</c:v>
                </c:pt>
                <c:pt idx="6013">
                  <c:v>703.72464639953773</c:v>
                </c:pt>
                <c:pt idx="6014">
                  <c:v>692.98117622223765</c:v>
                </c:pt>
                <c:pt idx="6015">
                  <c:v>705.37538325089815</c:v>
                </c:pt>
                <c:pt idx="6016">
                  <c:v>704.49985414197113</c:v>
                </c:pt>
                <c:pt idx="6017">
                  <c:v>705.25682193246007</c:v>
                </c:pt>
                <c:pt idx="6018">
                  <c:v>703.31424204479072</c:v>
                </c:pt>
                <c:pt idx="6019">
                  <c:v>723.88005259520321</c:v>
                </c:pt>
                <c:pt idx="6020">
                  <c:v>795.40894554682518</c:v>
                </c:pt>
                <c:pt idx="6021">
                  <c:v>811.03166524732899</c:v>
                </c:pt>
                <c:pt idx="6022">
                  <c:v>751.01233064716826</c:v>
                </c:pt>
                <c:pt idx="6023">
                  <c:v>656.70144471669994</c:v>
                </c:pt>
                <c:pt idx="6024">
                  <c:v>597.40259773133948</c:v>
                </c:pt>
                <c:pt idx="6025">
                  <c:v>586.23960308742016</c:v>
                </c:pt>
                <c:pt idx="6026">
                  <c:v>550.67123908481062</c:v>
                </c:pt>
                <c:pt idx="6027">
                  <c:v>563.7768130727992</c:v>
                </c:pt>
                <c:pt idx="6028">
                  <c:v>563.34816876610785</c:v>
                </c:pt>
                <c:pt idx="6029">
                  <c:v>572.93338691004419</c:v>
                </c:pt>
                <c:pt idx="6030">
                  <c:v>701.02509872137944</c:v>
                </c:pt>
                <c:pt idx="6031">
                  <c:v>787.40150335927194</c:v>
                </c:pt>
                <c:pt idx="6032">
                  <c:v>786.88165766205907</c:v>
                </c:pt>
                <c:pt idx="6033">
                  <c:v>733.56559183383331</c:v>
                </c:pt>
                <c:pt idx="6034">
                  <c:v>703.20480124592484</c:v>
                </c:pt>
                <c:pt idx="6035">
                  <c:v>690.55523149254407</c:v>
                </c:pt>
                <c:pt idx="6036">
                  <c:v>686.49678999933451</c:v>
                </c:pt>
                <c:pt idx="6037">
                  <c:v>683.81548281672053</c:v>
                </c:pt>
                <c:pt idx="6038">
                  <c:v>653.43645146146787</c:v>
                </c:pt>
                <c:pt idx="6039">
                  <c:v>651.867795209257</c:v>
                </c:pt>
                <c:pt idx="6040">
                  <c:v>656.71056496447193</c:v>
                </c:pt>
                <c:pt idx="6041">
                  <c:v>678.19750531907221</c:v>
                </c:pt>
                <c:pt idx="6042">
                  <c:v>677.30373571460098</c:v>
                </c:pt>
                <c:pt idx="6043">
                  <c:v>723.08660490082559</c:v>
                </c:pt>
                <c:pt idx="6044">
                  <c:v>744.92922812354004</c:v>
                </c:pt>
                <c:pt idx="6045">
                  <c:v>728.64986145544106</c:v>
                </c:pt>
                <c:pt idx="6046">
                  <c:v>714.54107706411526</c:v>
                </c:pt>
                <c:pt idx="6047">
                  <c:v>641.06960476842391</c:v>
                </c:pt>
                <c:pt idx="6048">
                  <c:v>587.87209998683613</c:v>
                </c:pt>
                <c:pt idx="6049">
                  <c:v>517.99394443017457</c:v>
                </c:pt>
                <c:pt idx="6050">
                  <c:v>506.37494555164733</c:v>
                </c:pt>
                <c:pt idx="6051">
                  <c:v>507.37815595498455</c:v>
                </c:pt>
                <c:pt idx="6052">
                  <c:v>506.4205459751081</c:v>
                </c:pt>
                <c:pt idx="6053">
                  <c:v>584.84422882488036</c:v>
                </c:pt>
                <c:pt idx="6054">
                  <c:v>697.55034302898798</c:v>
                </c:pt>
                <c:pt idx="6055">
                  <c:v>785.76900645985597</c:v>
                </c:pt>
                <c:pt idx="6056">
                  <c:v>764.08142418766829</c:v>
                </c:pt>
                <c:pt idx="6057">
                  <c:v>692.87173528747178</c:v>
                </c:pt>
                <c:pt idx="6058">
                  <c:v>655.20574963126614</c:v>
                </c:pt>
                <c:pt idx="6059">
                  <c:v>649.6880929565117</c:v>
                </c:pt>
                <c:pt idx="6060">
                  <c:v>643.87859378904807</c:v>
                </c:pt>
                <c:pt idx="6061">
                  <c:v>629.70596849570472</c:v>
                </c:pt>
                <c:pt idx="6062">
                  <c:v>588.61994781834051</c:v>
                </c:pt>
                <c:pt idx="6063">
                  <c:v>574.04603840103471</c:v>
                </c:pt>
                <c:pt idx="6064">
                  <c:v>621.04187961235618</c:v>
                </c:pt>
                <c:pt idx="6065">
                  <c:v>669.18685274516929</c:v>
                </c:pt>
                <c:pt idx="6066">
                  <c:v>679.51991843182248</c:v>
                </c:pt>
                <c:pt idx="6067">
                  <c:v>684.88253334065041</c:v>
                </c:pt>
                <c:pt idx="6068">
                  <c:v>709.73478804517629</c:v>
                </c:pt>
                <c:pt idx="6069">
                  <c:v>723.47876877701583</c:v>
                </c:pt>
                <c:pt idx="6070">
                  <c:v>697.74186532734075</c:v>
                </c:pt>
                <c:pt idx="6071">
                  <c:v>610.49905176034349</c:v>
                </c:pt>
                <c:pt idx="6072">
                  <c:v>530.25135015447756</c:v>
                </c:pt>
                <c:pt idx="6073">
                  <c:v>497.18189124992631</c:v>
                </c:pt>
                <c:pt idx="6074">
                  <c:v>490.63366400609311</c:v>
                </c:pt>
                <c:pt idx="6075">
                  <c:v>496.99948959005815</c:v>
                </c:pt>
                <c:pt idx="6076">
                  <c:v>533.66226511472655</c:v>
                </c:pt>
                <c:pt idx="6077">
                  <c:v>591.27389480123793</c:v>
                </c:pt>
                <c:pt idx="6078">
                  <c:v>704.0712098522672</c:v>
                </c:pt>
                <c:pt idx="6079">
                  <c:v>755.87334009951508</c:v>
                </c:pt>
                <c:pt idx="6080">
                  <c:v>746.57084542361565</c:v>
                </c:pt>
                <c:pt idx="6081">
                  <c:v>702.87647805091467</c:v>
                </c:pt>
                <c:pt idx="6082">
                  <c:v>670.06238192204637</c:v>
                </c:pt>
                <c:pt idx="6083">
                  <c:v>651.42091067882131</c:v>
                </c:pt>
                <c:pt idx="6084">
                  <c:v>700.97037806713411</c:v>
                </c:pt>
                <c:pt idx="6085">
                  <c:v>703.7976069038026</c:v>
                </c:pt>
                <c:pt idx="6086">
                  <c:v>669.30541413155743</c:v>
                </c:pt>
                <c:pt idx="6087">
                  <c:v>665.98569986534255</c:v>
                </c:pt>
                <c:pt idx="6088">
                  <c:v>659.65635523849096</c:v>
                </c:pt>
                <c:pt idx="6089">
                  <c:v>675.06931280761023</c:v>
                </c:pt>
                <c:pt idx="6090">
                  <c:v>709.45206471303948</c:v>
                </c:pt>
                <c:pt idx="6091">
                  <c:v>726.44279901996663</c:v>
                </c:pt>
                <c:pt idx="6092">
                  <c:v>753.64803778004637</c:v>
                </c:pt>
                <c:pt idx="6093">
                  <c:v>746.41580324998904</c:v>
                </c:pt>
                <c:pt idx="6094">
                  <c:v>693.13621793720176</c:v>
                </c:pt>
                <c:pt idx="6095">
                  <c:v>656.09951843732506</c:v>
                </c:pt>
                <c:pt idx="6096">
                  <c:v>576.67262543902814</c:v>
                </c:pt>
                <c:pt idx="6097">
                  <c:v>521.73318270434618</c:v>
                </c:pt>
                <c:pt idx="6098">
                  <c:v>501.69633736845623</c:v>
                </c:pt>
                <c:pt idx="6099">
                  <c:v>517.13665600365425</c:v>
                </c:pt>
                <c:pt idx="6100">
                  <c:v>517.82066245749104</c:v>
                </c:pt>
                <c:pt idx="6101">
                  <c:v>684.72749266192352</c:v>
                </c:pt>
                <c:pt idx="6102">
                  <c:v>734.46848102356421</c:v>
                </c:pt>
                <c:pt idx="6103">
                  <c:v>824.0004379819228</c:v>
                </c:pt>
                <c:pt idx="6104">
                  <c:v>795.69166808054956</c:v>
                </c:pt>
                <c:pt idx="6105">
                  <c:v>728.58602136882337</c:v>
                </c:pt>
                <c:pt idx="6106">
                  <c:v>706.8345981776306</c:v>
                </c:pt>
                <c:pt idx="6107">
                  <c:v>662.82102743300425</c:v>
                </c:pt>
                <c:pt idx="6108">
                  <c:v>709.52502587981667</c:v>
                </c:pt>
                <c:pt idx="6109">
                  <c:v>735.36225049213556</c:v>
                </c:pt>
                <c:pt idx="6110">
                  <c:v>702.77615658249613</c:v>
                </c:pt>
                <c:pt idx="6111">
                  <c:v>718.79104102555243</c:v>
                </c:pt>
                <c:pt idx="6112">
                  <c:v>700.27725090686272</c:v>
                </c:pt>
                <c:pt idx="6113">
                  <c:v>708.54005559829886</c:v>
                </c:pt>
                <c:pt idx="6114">
                  <c:v>727.22712755377211</c:v>
                </c:pt>
                <c:pt idx="6115">
                  <c:v>756.56646751459891</c:v>
                </c:pt>
                <c:pt idx="6116">
                  <c:v>784.44659283748081</c:v>
                </c:pt>
                <c:pt idx="6117">
                  <c:v>816.7590841044306</c:v>
                </c:pt>
                <c:pt idx="6118">
                  <c:v>773.99496607021467</c:v>
                </c:pt>
                <c:pt idx="6119">
                  <c:v>683.25003671303443</c:v>
                </c:pt>
                <c:pt idx="6120">
                  <c:v>616.01670816329806</c:v>
                </c:pt>
                <c:pt idx="6121">
                  <c:v>603.38537890546161</c:v>
                </c:pt>
                <c:pt idx="6122">
                  <c:v>602.92025387948161</c:v>
                </c:pt>
                <c:pt idx="6123">
                  <c:v>609.17663812098078</c:v>
                </c:pt>
                <c:pt idx="6124">
                  <c:v>614.60309394881381</c:v>
                </c:pt>
                <c:pt idx="6125">
                  <c:v>600.83175271148286</c:v>
                </c:pt>
                <c:pt idx="6126">
                  <c:v>702.11950998862574</c:v>
                </c:pt>
                <c:pt idx="6127">
                  <c:v>835.62855683642204</c:v>
                </c:pt>
                <c:pt idx="6128">
                  <c:v>813.7403330883219</c:v>
                </c:pt>
                <c:pt idx="6129">
                  <c:v>795.08974232778723</c:v>
                </c:pt>
                <c:pt idx="6130">
                  <c:v>766.18816610602391</c:v>
                </c:pt>
                <c:pt idx="6131">
                  <c:v>749.41631448402836</c:v>
                </c:pt>
                <c:pt idx="6132">
                  <c:v>713.16394331410709</c:v>
                </c:pt>
                <c:pt idx="6133">
                  <c:v>715.8817312160096</c:v>
                </c:pt>
                <c:pt idx="6134">
                  <c:v>712.51641605068403</c:v>
                </c:pt>
                <c:pt idx="6135">
                  <c:v>735.02480703236574</c:v>
                </c:pt>
                <c:pt idx="6136">
                  <c:v>748.81438845946604</c:v>
                </c:pt>
                <c:pt idx="6137">
                  <c:v>758.19896441401488</c:v>
                </c:pt>
                <c:pt idx="6138">
                  <c:v>759.36633599866343</c:v>
                </c:pt>
                <c:pt idx="6139">
                  <c:v>825.72413545646032</c:v>
                </c:pt>
                <c:pt idx="6140">
                  <c:v>826.69086539532134</c:v>
                </c:pt>
                <c:pt idx="6141">
                  <c:v>792.26251281161888</c:v>
                </c:pt>
                <c:pt idx="6142">
                  <c:v>806.52634059967102</c:v>
                </c:pt>
                <c:pt idx="6143">
                  <c:v>712.16073263896988</c:v>
                </c:pt>
                <c:pt idx="6144">
                  <c:v>664.77272770434558</c:v>
                </c:pt>
                <c:pt idx="6145">
                  <c:v>622.22749170953648</c:v>
                </c:pt>
                <c:pt idx="6146">
                  <c:v>606.12140692918342</c:v>
                </c:pt>
                <c:pt idx="6147">
                  <c:v>613.46308227509428</c:v>
                </c:pt>
                <c:pt idx="6148">
                  <c:v>609.13103786739498</c:v>
                </c:pt>
                <c:pt idx="6149">
                  <c:v>634.57609817883611</c:v>
                </c:pt>
                <c:pt idx="6150">
                  <c:v>695.3706410650301</c:v>
                </c:pt>
                <c:pt idx="6151">
                  <c:v>726.12359551214115</c:v>
                </c:pt>
                <c:pt idx="6152">
                  <c:v>791.26842292785363</c:v>
                </c:pt>
                <c:pt idx="6153">
                  <c:v>840.0974032279787</c:v>
                </c:pt>
                <c:pt idx="6154">
                  <c:v>839.55931720509636</c:v>
                </c:pt>
                <c:pt idx="6155">
                  <c:v>827.30191202439323</c:v>
                </c:pt>
                <c:pt idx="6156">
                  <c:v>811.39646865200268</c:v>
                </c:pt>
                <c:pt idx="6157">
                  <c:v>777.31467992872956</c:v>
                </c:pt>
                <c:pt idx="6158">
                  <c:v>790.89449915649527</c:v>
                </c:pt>
                <c:pt idx="6159">
                  <c:v>768.67795161882259</c:v>
                </c:pt>
                <c:pt idx="6160">
                  <c:v>781.62848384088454</c:v>
                </c:pt>
                <c:pt idx="6161">
                  <c:v>798.54625725283449</c:v>
                </c:pt>
                <c:pt idx="6162">
                  <c:v>784.92083783943292</c:v>
                </c:pt>
                <c:pt idx="6163">
                  <c:v>807.87611280795034</c:v>
                </c:pt>
                <c:pt idx="6164">
                  <c:v>816.01123628991377</c:v>
                </c:pt>
                <c:pt idx="6165">
                  <c:v>828.87056766505418</c:v>
                </c:pt>
                <c:pt idx="6166">
                  <c:v>795.87407031799262</c:v>
                </c:pt>
                <c:pt idx="6167">
                  <c:v>758.68232939193911</c:v>
                </c:pt>
                <c:pt idx="6168">
                  <c:v>712.16073263896988</c:v>
                </c:pt>
                <c:pt idx="6169">
                  <c:v>679.52903867959458</c:v>
                </c:pt>
                <c:pt idx="6170">
                  <c:v>684.83693291718953</c:v>
                </c:pt>
                <c:pt idx="6171">
                  <c:v>689.67058242463247</c:v>
                </c:pt>
                <c:pt idx="6172">
                  <c:v>683.31387736023953</c:v>
                </c:pt>
                <c:pt idx="6173">
                  <c:v>714.1489129501</c:v>
                </c:pt>
                <c:pt idx="6174">
                  <c:v>751.68721731189532</c:v>
                </c:pt>
                <c:pt idx="6175">
                  <c:v>796.04735176406359</c:v>
                </c:pt>
                <c:pt idx="6176">
                  <c:v>852.15416638916929</c:v>
                </c:pt>
                <c:pt idx="6177">
                  <c:v>847.48467862362531</c:v>
                </c:pt>
                <c:pt idx="6178">
                  <c:v>952.63935378758777</c:v>
                </c:pt>
                <c:pt idx="6179">
                  <c:v>955.73106777114845</c:v>
                </c:pt>
                <c:pt idx="6180">
                  <c:v>936.61535133910888</c:v>
                </c:pt>
                <c:pt idx="6181">
                  <c:v>930.67817223623479</c:v>
                </c:pt>
                <c:pt idx="6182">
                  <c:v>852.08120549419209</c:v>
                </c:pt>
                <c:pt idx="6183">
                  <c:v>841.9396617491542</c:v>
                </c:pt>
                <c:pt idx="6184">
                  <c:v>811.16846651771129</c:v>
                </c:pt>
                <c:pt idx="6185">
                  <c:v>844.62096947536804</c:v>
                </c:pt>
                <c:pt idx="6186">
                  <c:v>826.14366014391692</c:v>
                </c:pt>
                <c:pt idx="6187">
                  <c:v>832.39092412065656</c:v>
                </c:pt>
                <c:pt idx="6188">
                  <c:v>882.2322341885407</c:v>
                </c:pt>
                <c:pt idx="6189">
                  <c:v>920.84670821785085</c:v>
                </c:pt>
                <c:pt idx="6190">
                  <c:v>801.52852744772963</c:v>
                </c:pt>
                <c:pt idx="6191">
                  <c:v>760.74347032624655</c:v>
                </c:pt>
                <c:pt idx="6192">
                  <c:v>693.61046287120394</c:v>
                </c:pt>
                <c:pt idx="6193">
                  <c:v>667.8005983227016</c:v>
                </c:pt>
                <c:pt idx="6194">
                  <c:v>670.19918312447862</c:v>
                </c:pt>
                <c:pt idx="6195">
                  <c:v>667.52699564603688</c:v>
                </c:pt>
                <c:pt idx="6196">
                  <c:v>677.35845640282139</c:v>
                </c:pt>
                <c:pt idx="6197">
                  <c:v>696.05464768874185</c:v>
                </c:pt>
                <c:pt idx="6198">
                  <c:v>794.58813495171887</c:v>
                </c:pt>
                <c:pt idx="6199">
                  <c:v>914.72712742113379</c:v>
                </c:pt>
                <c:pt idx="6200">
                  <c:v>846.5179519293763</c:v>
                </c:pt>
                <c:pt idx="6201">
                  <c:v>890.3035243618981</c:v>
                </c:pt>
                <c:pt idx="6202">
                  <c:v>970.42353796329223</c:v>
                </c:pt>
                <c:pt idx="6203">
                  <c:v>990.20500611810132</c:v>
                </c:pt>
                <c:pt idx="6204">
                  <c:v>984.83327082560118</c:v>
                </c:pt>
                <c:pt idx="6205">
                  <c:v>904.85917751926183</c:v>
                </c:pt>
                <c:pt idx="6206">
                  <c:v>855.42826575857532</c:v>
                </c:pt>
                <c:pt idx="6207">
                  <c:v>897.10712183892565</c:v>
                </c:pt>
                <c:pt idx="6208">
                  <c:v>724.63701741288014</c:v>
                </c:pt>
                <c:pt idx="6209">
                  <c:v>934.78221007590582</c:v>
                </c:pt>
                <c:pt idx="6210">
                  <c:v>1001.5686625210053</c:v>
                </c:pt>
                <c:pt idx="6211">
                  <c:v>1035.8784502698577</c:v>
                </c:pt>
                <c:pt idx="6212">
                  <c:v>1021.3501361118134</c:v>
                </c:pt>
                <c:pt idx="6213">
                  <c:v>1067.5434269800328</c:v>
                </c:pt>
                <c:pt idx="6214">
                  <c:v>995.40348836762644</c:v>
                </c:pt>
                <c:pt idx="6215">
                  <c:v>931.15243035253525</c:v>
                </c:pt>
                <c:pt idx="6216">
                  <c:v>849.45463379590899</c:v>
                </c:pt>
                <c:pt idx="6217">
                  <c:v>830.6034007440619</c:v>
                </c:pt>
                <c:pt idx="6218">
                  <c:v>850.60376558150062</c:v>
                </c:pt>
                <c:pt idx="6219">
                  <c:v>866.31768640072596</c:v>
                </c:pt>
                <c:pt idx="6220">
                  <c:v>894.84533857933093</c:v>
                </c:pt>
                <c:pt idx="6221">
                  <c:v>921.63105285580389</c:v>
                </c:pt>
                <c:pt idx="6222">
                  <c:v>1058.797257429585</c:v>
                </c:pt>
                <c:pt idx="6223">
                  <c:v>1140.0846497843515</c:v>
                </c:pt>
                <c:pt idx="6224">
                  <c:v>1311.6746469538491</c:v>
                </c:pt>
                <c:pt idx="6225">
                  <c:v>1170.9135937084948</c:v>
                </c:pt>
                <c:pt idx="6226">
                  <c:v>1129.5995623521278</c:v>
                </c:pt>
                <c:pt idx="6227">
                  <c:v>962.1181589842505</c:v>
                </c:pt>
                <c:pt idx="6228">
                  <c:v>905.36381492132216</c:v>
                </c:pt>
                <c:pt idx="6229">
                  <c:v>1027.0137156637225</c:v>
                </c:pt>
                <c:pt idx="6230">
                  <c:v>918.7582233918248</c:v>
                </c:pt>
                <c:pt idx="6231">
                  <c:v>917.36283254948717</c:v>
                </c:pt>
                <c:pt idx="6232">
                  <c:v>879.18613177223938</c:v>
                </c:pt>
                <c:pt idx="6233">
                  <c:v>754.68772800233478</c:v>
                </c:pt>
                <c:pt idx="6234">
                  <c:v>688.33904099504866</c:v>
                </c:pt>
                <c:pt idx="6235">
                  <c:v>950.32285325425948</c:v>
                </c:pt>
                <c:pt idx="6236">
                  <c:v>1067.4157473843725</c:v>
                </c:pt>
                <c:pt idx="6237">
                  <c:v>1094.3564749557258</c:v>
                </c:pt>
                <c:pt idx="6238">
                  <c:v>1053.5896855097835</c:v>
                </c:pt>
                <c:pt idx="6239">
                  <c:v>988.02530794235531</c:v>
                </c:pt>
                <c:pt idx="6240">
                  <c:v>946.56538129653029</c:v>
                </c:pt>
                <c:pt idx="6241">
                  <c:v>906.32751661787836</c:v>
                </c:pt>
                <c:pt idx="6242">
                  <c:v>869.65561935053802</c:v>
                </c:pt>
                <c:pt idx="6243">
                  <c:v>860.51729742443592</c:v>
                </c:pt>
                <c:pt idx="6244">
                  <c:v>866.59126719749349</c:v>
                </c:pt>
                <c:pt idx="6245">
                  <c:v>871.8991671428879</c:v>
                </c:pt>
                <c:pt idx="6246">
                  <c:v>990.00437724691187</c:v>
                </c:pt>
                <c:pt idx="6247">
                  <c:v>1139.6377389402819</c:v>
                </c:pt>
                <c:pt idx="6248">
                  <c:v>1110.2892909626812</c:v>
                </c:pt>
                <c:pt idx="6249">
                  <c:v>1084.5979843351174</c:v>
                </c:pt>
                <c:pt idx="6250">
                  <c:v>1046.3756741650102</c:v>
                </c:pt>
                <c:pt idx="6251">
                  <c:v>1029.7770988248865</c:v>
                </c:pt>
                <c:pt idx="6252">
                  <c:v>1057.4657079139524</c:v>
                </c:pt>
                <c:pt idx="6253">
                  <c:v>1065.5096327233937</c:v>
                </c:pt>
                <c:pt idx="6254">
                  <c:v>1073.3802638557661</c:v>
                </c:pt>
                <c:pt idx="6255">
                  <c:v>1084.3243817943528</c:v>
                </c:pt>
                <c:pt idx="6256">
                  <c:v>1054.0730360823097</c:v>
                </c:pt>
                <c:pt idx="6257">
                  <c:v>1030.296953763298</c:v>
                </c:pt>
                <c:pt idx="6258">
                  <c:v>1024.4600881447188</c:v>
                </c:pt>
                <c:pt idx="6259">
                  <c:v>1083.403251718365</c:v>
                </c:pt>
                <c:pt idx="6260">
                  <c:v>1177.5499742761349</c:v>
                </c:pt>
                <c:pt idx="6261">
                  <c:v>1206.9531643971654</c:v>
                </c:pt>
                <c:pt idx="6262">
                  <c:v>1188.1566514729516</c:v>
                </c:pt>
                <c:pt idx="6263">
                  <c:v>1117.5215264950009</c:v>
                </c:pt>
                <c:pt idx="6264">
                  <c:v>1035.4315632932226</c:v>
                </c:pt>
                <c:pt idx="6265">
                  <c:v>1053.699107282652</c:v>
                </c:pt>
                <c:pt idx="6266">
                  <c:v>1046.2023919035391</c:v>
                </c:pt>
                <c:pt idx="6267">
                  <c:v>1078.2595186790691</c:v>
                </c:pt>
                <c:pt idx="6268">
                  <c:v>1181.2071400881684</c:v>
                </c:pt>
                <c:pt idx="6269">
                  <c:v>1232.7721506883399</c:v>
                </c:pt>
                <c:pt idx="6270">
                  <c:v>1321.8024971449306</c:v>
                </c:pt>
                <c:pt idx="6271">
                  <c:v>1529.384952369579</c:v>
                </c:pt>
                <c:pt idx="6272">
                  <c:v>1493.5612032187519</c:v>
                </c:pt>
                <c:pt idx="6273">
                  <c:v>1311.2414225459745</c:v>
                </c:pt>
                <c:pt idx="6274">
                  <c:v>1214.7143547306719</c:v>
                </c:pt>
                <c:pt idx="6275">
                  <c:v>1155.4702314063441</c:v>
                </c:pt>
                <c:pt idx="6276">
                  <c:v>1205.3753862663827</c:v>
                </c:pt>
                <c:pt idx="6277">
                  <c:v>1230.9937243885704</c:v>
                </c:pt>
                <c:pt idx="6278">
                  <c:v>1153.9927833396537</c:v>
                </c:pt>
                <c:pt idx="6279">
                  <c:v>1179.7843961129133</c:v>
                </c:pt>
                <c:pt idx="6280">
                  <c:v>1172.6433619711149</c:v>
                </c:pt>
                <c:pt idx="6281">
                  <c:v>1174.321457119592</c:v>
                </c:pt>
                <c:pt idx="6282">
                  <c:v>1102.1632831078907</c:v>
                </c:pt>
                <c:pt idx="6283">
                  <c:v>1317.7896566187817</c:v>
                </c:pt>
                <c:pt idx="6284">
                  <c:v>1304.355760777795</c:v>
                </c:pt>
                <c:pt idx="6285">
                  <c:v>1256.0101427375951</c:v>
                </c:pt>
                <c:pt idx="6286">
                  <c:v>1292.5269937543092</c:v>
                </c:pt>
                <c:pt idx="6287">
                  <c:v>1270.9306172214424</c:v>
                </c:pt>
                <c:pt idx="6288">
                  <c:v>1266.5073679917473</c:v>
                </c:pt>
                <c:pt idx="6289">
                  <c:v>1280.2969467008479</c:v>
                </c:pt>
                <c:pt idx="6290">
                  <c:v>1255.0251731016019</c:v>
                </c:pt>
                <c:pt idx="6291">
                  <c:v>1267.1457717457986</c:v>
                </c:pt>
                <c:pt idx="6292">
                  <c:v>1245.6223544771092</c:v>
                </c:pt>
                <c:pt idx="6293">
                  <c:v>1241.8831175789248</c:v>
                </c:pt>
                <c:pt idx="6294">
                  <c:v>1408.3248219419775</c:v>
                </c:pt>
                <c:pt idx="6295">
                  <c:v>1581.6065963473475</c:v>
                </c:pt>
                <c:pt idx="6296">
                  <c:v>1690.7741079604593</c:v>
                </c:pt>
                <c:pt idx="6297">
                  <c:v>1613.2533141475308</c:v>
                </c:pt>
                <c:pt idx="6298">
                  <c:v>1409.3280377813139</c:v>
                </c:pt>
                <c:pt idx="6299">
                  <c:v>1309.4630082054034</c:v>
                </c:pt>
                <c:pt idx="6300">
                  <c:v>1266.6897696855901</c:v>
                </c:pt>
                <c:pt idx="6301">
                  <c:v>1333.904861273182</c:v>
                </c:pt>
                <c:pt idx="6302">
                  <c:v>1320.2247211885474</c:v>
                </c:pt>
                <c:pt idx="6303">
                  <c:v>1355.5194815631926</c:v>
                </c:pt>
                <c:pt idx="6304">
                  <c:v>1344.1193648259971</c:v>
                </c:pt>
                <c:pt idx="6305">
                  <c:v>1389.6286287534574</c:v>
                </c:pt>
                <c:pt idx="6306">
                  <c:v>1390.7230389165163</c:v>
                </c:pt>
                <c:pt idx="6307">
                  <c:v>1426.5650087214901</c:v>
                </c:pt>
                <c:pt idx="6308">
                  <c:v>1414.3440821876009</c:v>
                </c:pt>
                <c:pt idx="6309">
                  <c:v>1413.7056784335496</c:v>
                </c:pt>
                <c:pt idx="6310">
                  <c:v>1414.6176912515648</c:v>
                </c:pt>
                <c:pt idx="6311">
                  <c:v>1368.1964145060892</c:v>
                </c:pt>
                <c:pt idx="6312">
                  <c:v>1303.8085513474662</c:v>
                </c:pt>
                <c:pt idx="6313">
                  <c:v>1288.3043943244004</c:v>
                </c:pt>
                <c:pt idx="6314">
                  <c:v>1282.285134078777</c:v>
                </c:pt>
                <c:pt idx="6315">
                  <c:v>1284.565157426216</c:v>
                </c:pt>
                <c:pt idx="6316">
                  <c:v>1298.4276948558941</c:v>
                </c:pt>
                <c:pt idx="6317">
                  <c:v>1351.5066356010443</c:v>
                </c:pt>
                <c:pt idx="6318">
                  <c:v>1456.4789126045632</c:v>
                </c:pt>
                <c:pt idx="6319">
                  <c:v>1541.2045798474953</c:v>
                </c:pt>
                <c:pt idx="6320">
                  <c:v>1592.0947002665278</c:v>
                </c:pt>
                <c:pt idx="6321">
                  <c:v>1587.6258565929706</c:v>
                </c:pt>
                <c:pt idx="6322">
                  <c:v>1595.3779394533033</c:v>
                </c:pt>
                <c:pt idx="6323">
                  <c:v>1507.7338364112818</c:v>
                </c:pt>
                <c:pt idx="6324">
                  <c:v>1462.0421751387778</c:v>
                </c:pt>
                <c:pt idx="6325">
                  <c:v>1398.0191153678411</c:v>
                </c:pt>
                <c:pt idx="6326">
                  <c:v>1252.1888241530612</c:v>
                </c:pt>
                <c:pt idx="6327">
                  <c:v>1221.0893070856082</c:v>
                </c:pt>
                <c:pt idx="6328">
                  <c:v>1219.6300848372641</c:v>
                </c:pt>
                <c:pt idx="6329">
                  <c:v>1229.0237872909843</c:v>
                </c:pt>
                <c:pt idx="6330">
                  <c:v>1215.6172475727149</c:v>
                </c:pt>
                <c:pt idx="6331">
                  <c:v>1215.070038142386</c:v>
                </c:pt>
                <c:pt idx="6332">
                  <c:v>1211.148403899158</c:v>
                </c:pt>
                <c:pt idx="6333">
                  <c:v>1232.2158147588395</c:v>
                </c:pt>
                <c:pt idx="6334">
                  <c:v>1171.7495945410435</c:v>
                </c:pt>
                <c:pt idx="6335">
                  <c:v>1162.5383068275646</c:v>
                </c:pt>
                <c:pt idx="6336">
                  <c:v>1130.8915803297828</c:v>
                </c:pt>
                <c:pt idx="6337">
                  <c:v>1129.7059671454024</c:v>
                </c:pt>
                <c:pt idx="6338">
                  <c:v>1099.0624564869568</c:v>
                </c:pt>
                <c:pt idx="6339">
                  <c:v>1098.6064500779491</c:v>
                </c:pt>
                <c:pt idx="6340">
                  <c:v>1105.5377231415878</c:v>
                </c:pt>
                <c:pt idx="6341">
                  <c:v>1177.1304510326156</c:v>
                </c:pt>
                <c:pt idx="6342">
                  <c:v>1359.4411245040194</c:v>
                </c:pt>
                <c:pt idx="6343">
                  <c:v>1449.3652421958809</c:v>
                </c:pt>
                <c:pt idx="6344">
                  <c:v>1563.2752065465136</c:v>
                </c:pt>
                <c:pt idx="6345">
                  <c:v>1600.1203921908241</c:v>
                </c:pt>
                <c:pt idx="6346">
                  <c:v>1613.0709255000859</c:v>
                </c:pt>
                <c:pt idx="6347">
                  <c:v>1613.6181262328159</c:v>
                </c:pt>
                <c:pt idx="6348">
                  <c:v>1615.898149580255</c:v>
                </c:pt>
                <c:pt idx="6349">
                  <c:v>1581.424190304705</c:v>
                </c:pt>
                <c:pt idx="6350">
                  <c:v>1535.8237233559234</c:v>
                </c:pt>
                <c:pt idx="6351">
                  <c:v>1514.6651094749204</c:v>
                </c:pt>
                <c:pt idx="6352">
                  <c:v>1511.7466823734301</c:v>
                </c:pt>
                <c:pt idx="6353">
                  <c:v>1528.8012559685624</c:v>
                </c:pt>
                <c:pt idx="6354">
                  <c:v>1547.8622525447688</c:v>
                </c:pt>
                <c:pt idx="6355">
                  <c:v>1585.1634272028891</c:v>
                </c:pt>
                <c:pt idx="6356">
                  <c:v>1587.9906686782558</c:v>
                </c:pt>
                <c:pt idx="6357">
                  <c:v>1631.3111122795983</c:v>
                </c:pt>
                <c:pt idx="6358">
                  <c:v>1619.6373864784393</c:v>
                </c:pt>
                <c:pt idx="6359">
                  <c:v>1556.3439334828752</c:v>
                </c:pt>
                <c:pt idx="6360">
                  <c:v>1416.7153085563614</c:v>
                </c:pt>
                <c:pt idx="6361">
                  <c:v>1420.7281458209106</c:v>
                </c:pt>
                <c:pt idx="6362">
                  <c:v>1406.7744053699109</c:v>
                </c:pt>
                <c:pt idx="6363">
                  <c:v>1381.6941485480813</c:v>
                </c:pt>
                <c:pt idx="6364">
                  <c:v>1408.5072192870211</c:v>
                </c:pt>
                <c:pt idx="6365">
                  <c:v>1580.4209918605661</c:v>
                </c:pt>
                <c:pt idx="6366">
                  <c:v>1787.5383043922373</c:v>
                </c:pt>
                <c:pt idx="6367">
                  <c:v>1752.4259587578333</c:v>
                </c:pt>
                <c:pt idx="6368">
                  <c:v>1745.2210766302312</c:v>
                </c:pt>
                <c:pt idx="6369">
                  <c:v>1760.7252423508958</c:v>
                </c:pt>
                <c:pt idx="6370">
                  <c:v>1715.3071814447567</c:v>
                </c:pt>
                <c:pt idx="6371">
                  <c:v>1681.1159463167435</c:v>
                </c:pt>
                <c:pt idx="6372">
                  <c:v>1757.7247066548598</c:v>
                </c:pt>
                <c:pt idx="6373">
                  <c:v>1781.42785852049</c:v>
                </c:pt>
                <c:pt idx="6374">
                  <c:v>1774.7610663908445</c:v>
                </c:pt>
                <c:pt idx="6375">
                  <c:v>1772.5083752477253</c:v>
                </c:pt>
                <c:pt idx="6376">
                  <c:v>1698.152270718733</c:v>
                </c:pt>
                <c:pt idx="6377">
                  <c:v>1709.3243864258241</c:v>
                </c:pt>
                <c:pt idx="6378">
                  <c:v>1686.432950473712</c:v>
                </c:pt>
                <c:pt idx="6379">
                  <c:v>1661.7904579345457</c:v>
                </c:pt>
                <c:pt idx="6380">
                  <c:v>1665.0645749709495</c:v>
                </c:pt>
                <c:pt idx="6381">
                  <c:v>1699.4017291709174</c:v>
                </c:pt>
                <c:pt idx="6382">
                  <c:v>1707.9472472228294</c:v>
                </c:pt>
                <c:pt idx="6383">
                  <c:v>1532.6590498363853</c:v>
                </c:pt>
                <c:pt idx="6384">
                  <c:v>1468.6177577239032</c:v>
                </c:pt>
                <c:pt idx="6385">
                  <c:v>1459.1054999313442</c:v>
                </c:pt>
                <c:pt idx="6386">
                  <c:v>1428.8541558501008</c:v>
                </c:pt>
                <c:pt idx="6387">
                  <c:v>1426.4190891059354</c:v>
                </c:pt>
                <c:pt idx="6388">
                  <c:v>1428.0242233594354</c:v>
                </c:pt>
                <c:pt idx="6389">
                  <c:v>1528.2814119021493</c:v>
                </c:pt>
                <c:pt idx="6390">
                  <c:v>1687.463524610165</c:v>
                </c:pt>
                <c:pt idx="6391">
                  <c:v>1859.5140984540924</c:v>
                </c:pt>
                <c:pt idx="6392">
                  <c:v>1930.4045512304679</c:v>
                </c:pt>
                <c:pt idx="6393">
                  <c:v>1932.2924319191015</c:v>
                </c:pt>
                <c:pt idx="6394">
                  <c:v>1874.4892707779759</c:v>
                </c:pt>
                <c:pt idx="6395">
                  <c:v>1692.1056505451927</c:v>
                </c:pt>
                <c:pt idx="6396">
                  <c:v>1615.7248637853845</c:v>
                </c:pt>
                <c:pt idx="6397">
                  <c:v>1626.5960140339951</c:v>
                </c:pt>
                <c:pt idx="6398">
                  <c:v>1592.568950976279</c:v>
                </c:pt>
                <c:pt idx="6399">
                  <c:v>1562.2263951761158</c:v>
                </c:pt>
                <c:pt idx="6400">
                  <c:v>1544.013573216919</c:v>
                </c:pt>
                <c:pt idx="6401">
                  <c:v>1527.5974060938374</c:v>
                </c:pt>
                <c:pt idx="6402">
                  <c:v>1540.0189666631152</c:v>
                </c:pt>
                <c:pt idx="6403">
                  <c:v>1565.090102965373</c:v>
                </c:pt>
                <c:pt idx="6404">
                  <c:v>1589.3039626134464</c:v>
                </c:pt>
                <c:pt idx="6405">
                  <c:v>1574.0095579709414</c:v>
                </c:pt>
                <c:pt idx="6406">
                  <c:v>1596.3081813512642</c:v>
                </c:pt>
                <c:pt idx="6407">
                  <c:v>1531.3457635115938</c:v>
                </c:pt>
                <c:pt idx="6408">
                  <c:v>1517.5470577597218</c:v>
                </c:pt>
                <c:pt idx="6409">
                  <c:v>1520.5931732224215</c:v>
                </c:pt>
                <c:pt idx="6410">
                  <c:v>1495.5402708925089</c:v>
                </c:pt>
                <c:pt idx="6411">
                  <c:v>1483.3284714013907</c:v>
                </c:pt>
                <c:pt idx="6412">
                  <c:v>1510.0229802782931</c:v>
                </c:pt>
                <c:pt idx="6413">
                  <c:v>1609.8697701740593</c:v>
                </c:pt>
                <c:pt idx="6414">
                  <c:v>1826.335173592191</c:v>
                </c:pt>
                <c:pt idx="6415">
                  <c:v>1945.4891909896137</c:v>
                </c:pt>
                <c:pt idx="6416">
                  <c:v>1944.3674208986383</c:v>
                </c:pt>
                <c:pt idx="6417">
                  <c:v>1944.5315886201363</c:v>
                </c:pt>
                <c:pt idx="6418">
                  <c:v>1895.0459499368176</c:v>
                </c:pt>
                <c:pt idx="6419">
                  <c:v>1840.1977072166701</c:v>
                </c:pt>
                <c:pt idx="6420">
                  <c:v>1679.1642301451043</c:v>
                </c:pt>
                <c:pt idx="6421">
                  <c:v>1502.5901047309856</c:v>
                </c:pt>
                <c:pt idx="6422">
                  <c:v>1455.0014620916734</c:v>
                </c:pt>
                <c:pt idx="6423">
                  <c:v>1494.345542080956</c:v>
                </c:pt>
                <c:pt idx="6424">
                  <c:v>1471.7915512194136</c:v>
                </c:pt>
                <c:pt idx="6425">
                  <c:v>1511.7101992079417</c:v>
                </c:pt>
                <c:pt idx="6426">
                  <c:v>1568.738142821835</c:v>
                </c:pt>
                <c:pt idx="6427">
                  <c:v>1685.9131080380987</c:v>
                </c:pt>
                <c:pt idx="6428">
                  <c:v>1686.3691046623076</c:v>
                </c:pt>
                <c:pt idx="6429">
                  <c:v>1710.8747926694921</c:v>
                </c:pt>
                <c:pt idx="6430">
                  <c:v>1680.7602558382305</c:v>
                </c:pt>
                <c:pt idx="6431">
                  <c:v>1542.5725952693185</c:v>
                </c:pt>
                <c:pt idx="6432">
                  <c:v>1553.9635909433421</c:v>
                </c:pt>
                <c:pt idx="6433">
                  <c:v>1538.4685498192489</c:v>
                </c:pt>
                <c:pt idx="6434">
                  <c:v>1537.0822985224806</c:v>
                </c:pt>
                <c:pt idx="6435">
                  <c:v>1531.4460794420881</c:v>
                </c:pt>
                <c:pt idx="6436">
                  <c:v>1535.2491572592776</c:v>
                </c:pt>
                <c:pt idx="6437">
                  <c:v>1575.596457708496</c:v>
                </c:pt>
                <c:pt idx="6438">
                  <c:v>1773.4112838541666</c:v>
                </c:pt>
                <c:pt idx="6439">
                  <c:v>2019.7358737457378</c:v>
                </c:pt>
                <c:pt idx="6440">
                  <c:v>2065.5825784149683</c:v>
                </c:pt>
                <c:pt idx="6441">
                  <c:v>2001.2312071194326</c:v>
                </c:pt>
                <c:pt idx="6442">
                  <c:v>1967.2588731587482</c:v>
                </c:pt>
                <c:pt idx="6443">
                  <c:v>1815.2360416112738</c:v>
                </c:pt>
                <c:pt idx="6444">
                  <c:v>1440.2360282865527</c:v>
                </c:pt>
                <c:pt idx="6445">
                  <c:v>1510.6736596058915</c:v>
                </c:pt>
                <c:pt idx="6446">
                  <c:v>1613.4285881591336</c:v>
                </c:pt>
                <c:pt idx="6447">
                  <c:v>1623.0958996768175</c:v>
                </c:pt>
                <c:pt idx="6448">
                  <c:v>1608.63854419932</c:v>
                </c:pt>
                <c:pt idx="6449">
                  <c:v>1515.7139203017184</c:v>
                </c:pt>
                <c:pt idx="6450">
                  <c:v>1556.5992955280956</c:v>
                </c:pt>
                <c:pt idx="6451">
                  <c:v>1514.7198347667527</c:v>
                </c:pt>
                <c:pt idx="6452">
                  <c:v>1740.6701417573261</c:v>
                </c:pt>
                <c:pt idx="6453">
                  <c:v>1803.9727054876639</c:v>
                </c:pt>
                <c:pt idx="6454">
                  <c:v>1816.8229239536308</c:v>
                </c:pt>
                <c:pt idx="6455">
                  <c:v>1779.2116619584579</c:v>
                </c:pt>
                <c:pt idx="6456">
                  <c:v>1683.5054061142489</c:v>
                </c:pt>
                <c:pt idx="6457">
                  <c:v>1682.8396348218823</c:v>
                </c:pt>
                <c:pt idx="6458">
                  <c:v>1648.7031238985014</c:v>
                </c:pt>
                <c:pt idx="6459">
                  <c:v>1664.8365636124468</c:v>
                </c:pt>
                <c:pt idx="6460">
                  <c:v>1654.4214241216432</c:v>
                </c:pt>
                <c:pt idx="6461">
                  <c:v>1768.4225957064966</c:v>
                </c:pt>
                <c:pt idx="6462">
                  <c:v>2133.6093821108789</c:v>
                </c:pt>
                <c:pt idx="6463">
                  <c:v>2216.3194846527672</c:v>
                </c:pt>
                <c:pt idx="6464">
                  <c:v>2249.6169648535079</c:v>
                </c:pt>
                <c:pt idx="6465">
                  <c:v>2078.514886993084</c:v>
                </c:pt>
                <c:pt idx="6466">
                  <c:v>1821.8298530045452</c:v>
                </c:pt>
                <c:pt idx="6467">
                  <c:v>1695.5530514738673</c:v>
                </c:pt>
                <c:pt idx="6468">
                  <c:v>1522.1983086990213</c:v>
                </c:pt>
                <c:pt idx="6469">
                  <c:v>1456.7798788784439</c:v>
                </c:pt>
                <c:pt idx="6470">
                  <c:v>1419.8161427876942</c:v>
                </c:pt>
                <c:pt idx="6471">
                  <c:v>1412.5383019395142</c:v>
                </c:pt>
                <c:pt idx="6472">
                  <c:v>1351.61607803071</c:v>
                </c:pt>
                <c:pt idx="6473">
                  <c:v>1352.4368856530041</c:v>
                </c:pt>
                <c:pt idx="6474">
                  <c:v>1473.7797323459433</c:v>
                </c:pt>
                <c:pt idx="6475">
                  <c:v>1606.3220497814909</c:v>
                </c:pt>
                <c:pt idx="6476">
                  <c:v>1706.095863561482</c:v>
                </c:pt>
                <c:pt idx="6477">
                  <c:v>1740.1503047577121</c:v>
                </c:pt>
                <c:pt idx="6478">
                  <c:v>1713.2460244742517</c:v>
                </c:pt>
                <c:pt idx="6479">
                  <c:v>1577.8308719348754</c:v>
                </c:pt>
                <c:pt idx="6480">
                  <c:v>1559.9098870323885</c:v>
                </c:pt>
                <c:pt idx="6481">
                  <c:v>1544.3327802581439</c:v>
                </c:pt>
                <c:pt idx="6482">
                  <c:v>1550.7624418687146</c:v>
                </c:pt>
                <c:pt idx="6483">
                  <c:v>1546.4577604806566</c:v>
                </c:pt>
                <c:pt idx="6484">
                  <c:v>1589.623150356874</c:v>
                </c:pt>
                <c:pt idx="6485">
                  <c:v>1766.3796877932346</c:v>
                </c:pt>
                <c:pt idx="6486">
                  <c:v>2115.0499836695417</c:v>
                </c:pt>
                <c:pt idx="6487">
                  <c:v>2146.9885374392347</c:v>
                </c:pt>
                <c:pt idx="6488">
                  <c:v>2126.8148972712243</c:v>
                </c:pt>
                <c:pt idx="6489">
                  <c:v>2109.2769654931667</c:v>
                </c:pt>
                <c:pt idx="6490">
                  <c:v>1880.4538244859643</c:v>
                </c:pt>
                <c:pt idx="6491">
                  <c:v>1806.8272922137489</c:v>
                </c:pt>
                <c:pt idx="6492">
                  <c:v>1657.9600163842404</c:v>
                </c:pt>
                <c:pt idx="6493">
                  <c:v>1429.6932039679396</c:v>
                </c:pt>
                <c:pt idx="6494">
                  <c:v>1396.8152619597165</c:v>
                </c:pt>
                <c:pt idx="6495">
                  <c:v>1379.861009459278</c:v>
                </c:pt>
                <c:pt idx="6496">
                  <c:v>1339.8785232697442</c:v>
                </c:pt>
                <c:pt idx="6497">
                  <c:v>1351.0779923815528</c:v>
                </c:pt>
                <c:pt idx="6498">
                  <c:v>1330.9590704385755</c:v>
                </c:pt>
                <c:pt idx="6499">
                  <c:v>1323.9639597175315</c:v>
                </c:pt>
                <c:pt idx="6500">
                  <c:v>1324.9215718718076</c:v>
                </c:pt>
                <c:pt idx="6501">
                  <c:v>1340.0882816299043</c:v>
                </c:pt>
                <c:pt idx="6502">
                  <c:v>1372.2001317946663</c:v>
                </c:pt>
                <c:pt idx="6503">
                  <c:v>1163.3408685183153</c:v>
                </c:pt>
                <c:pt idx="6504">
                  <c:v>1118.5247309187391</c:v>
                </c:pt>
                <c:pt idx="6505">
                  <c:v>1089.8420395563071</c:v>
                </c:pt>
                <c:pt idx="6506">
                  <c:v>1114.2656526721414</c:v>
                </c:pt>
                <c:pt idx="6507">
                  <c:v>1115.3418212524562</c:v>
                </c:pt>
                <c:pt idx="6508">
                  <c:v>1146.1221369864836</c:v>
                </c:pt>
                <c:pt idx="6509">
                  <c:v>1210.2363910811428</c:v>
                </c:pt>
                <c:pt idx="6510">
                  <c:v>1335.0904744575621</c:v>
                </c:pt>
                <c:pt idx="6511">
                  <c:v>1477.5463321618438</c:v>
                </c:pt>
                <c:pt idx="6512">
                  <c:v>1483.200780322182</c:v>
                </c:pt>
                <c:pt idx="6513">
                  <c:v>1509.7402680899547</c:v>
                </c:pt>
                <c:pt idx="6514">
                  <c:v>1493.050480487311</c:v>
                </c:pt>
                <c:pt idx="6515">
                  <c:v>1426.0178079887603</c:v>
                </c:pt>
                <c:pt idx="6516">
                  <c:v>1324.3287527768191</c:v>
                </c:pt>
                <c:pt idx="6517">
                  <c:v>1264.4097419893519</c:v>
                </c:pt>
                <c:pt idx="6518">
                  <c:v>1289.225523584988</c:v>
                </c:pt>
                <c:pt idx="6519">
                  <c:v>1199.4473252368812</c:v>
                </c:pt>
                <c:pt idx="6520">
                  <c:v>1177.2581380348249</c:v>
                </c:pt>
                <c:pt idx="6521">
                  <c:v>1195.2247181965733</c:v>
                </c:pt>
                <c:pt idx="6522">
                  <c:v>1236.1100950537502</c:v>
                </c:pt>
                <c:pt idx="6523">
                  <c:v>1387.5401265322337</c:v>
                </c:pt>
                <c:pt idx="6524">
                  <c:v>1462.6988248243727</c:v>
                </c:pt>
                <c:pt idx="6525">
                  <c:v>1533.4616218555345</c:v>
                </c:pt>
                <c:pt idx="6526">
                  <c:v>1527.7798094184802</c:v>
                </c:pt>
                <c:pt idx="6527">
                  <c:v>1404.6129433409101</c:v>
                </c:pt>
                <c:pt idx="6528">
                  <c:v>1255.453813603094</c:v>
                </c:pt>
                <c:pt idx="6529">
                  <c:v>1220.5968207727119</c:v>
                </c:pt>
                <c:pt idx="6530">
                  <c:v>1233.2463899824927</c:v>
                </c:pt>
                <c:pt idx="6531">
                  <c:v>1207.0261231177433</c:v>
                </c:pt>
                <c:pt idx="6532">
                  <c:v>1194.4221472646241</c:v>
                </c:pt>
                <c:pt idx="6533">
                  <c:v>1303.1336649715267</c:v>
                </c:pt>
                <c:pt idx="6534">
                  <c:v>1427.8600627047363</c:v>
                </c:pt>
                <c:pt idx="6535">
                  <c:v>1572.3132147165211</c:v>
                </c:pt>
                <c:pt idx="6536">
                  <c:v>1601.3059966776054</c:v>
                </c:pt>
                <c:pt idx="6537">
                  <c:v>1565.2816208299887</c:v>
                </c:pt>
                <c:pt idx="6538">
                  <c:v>1421.7313529626483</c:v>
                </c:pt>
                <c:pt idx="6539">
                  <c:v>1307.3653909006068</c:v>
                </c:pt>
                <c:pt idx="6540">
                  <c:v>1218.5356746742052</c:v>
                </c:pt>
                <c:pt idx="6541">
                  <c:v>1190.0809843418774</c:v>
                </c:pt>
                <c:pt idx="6542">
                  <c:v>1190.9017941385712</c:v>
                </c:pt>
                <c:pt idx="6543">
                  <c:v>1224.2813345534637</c:v>
                </c:pt>
                <c:pt idx="6544">
                  <c:v>1206.8619575706448</c:v>
                </c:pt>
                <c:pt idx="6545">
                  <c:v>1236.8670644750391</c:v>
                </c:pt>
                <c:pt idx="6546">
                  <c:v>1224.8285439837925</c:v>
                </c:pt>
                <c:pt idx="6547">
                  <c:v>1304.1733547351525</c:v>
                </c:pt>
                <c:pt idx="6548">
                  <c:v>1298.6101008985368</c:v>
                </c:pt>
                <c:pt idx="6549">
                  <c:v>1320.4983215549123</c:v>
                </c:pt>
                <c:pt idx="6550">
                  <c:v>1256.6576678266181</c:v>
                </c:pt>
                <c:pt idx="6551">
                  <c:v>1203.3963210388256</c:v>
                </c:pt>
                <c:pt idx="6552">
                  <c:v>1165.0919305413688</c:v>
                </c:pt>
                <c:pt idx="6553">
                  <c:v>1137.6404473507787</c:v>
                </c:pt>
                <c:pt idx="6554">
                  <c:v>1159.4374736834318</c:v>
                </c:pt>
                <c:pt idx="6555">
                  <c:v>1139.2820669441664</c:v>
                </c:pt>
                <c:pt idx="6556">
                  <c:v>1131.9859904928417</c:v>
                </c:pt>
                <c:pt idx="6557">
                  <c:v>1223.8253281444561</c:v>
                </c:pt>
                <c:pt idx="6558">
                  <c:v>1474.4454990177107</c:v>
                </c:pt>
                <c:pt idx="6559">
                  <c:v>1725.0656785885644</c:v>
                </c:pt>
                <c:pt idx="6560">
                  <c:v>1790.2743324091641</c:v>
                </c:pt>
                <c:pt idx="6561">
                  <c:v>1829.4907339851161</c:v>
                </c:pt>
                <c:pt idx="6562">
                  <c:v>1850.4669487815556</c:v>
                </c:pt>
                <c:pt idx="6563">
                  <c:v>1818.5466219174084</c:v>
                </c:pt>
                <c:pt idx="6564">
                  <c:v>1824.930687290238</c:v>
                </c:pt>
                <c:pt idx="6565">
                  <c:v>1784.8022763753099</c:v>
                </c:pt>
                <c:pt idx="6566">
                  <c:v>1760.1780242229681</c:v>
                </c:pt>
                <c:pt idx="6567">
                  <c:v>1757.441996206041</c:v>
                </c:pt>
                <c:pt idx="6568">
                  <c:v>1918.867649204728</c:v>
                </c:pt>
                <c:pt idx="6569">
                  <c:v>1929.8117612724357</c:v>
                </c:pt>
                <c:pt idx="6570">
                  <c:v>1948.0519480519481</c:v>
                </c:pt>
                <c:pt idx="6571">
                  <c:v>1919.7796585437034</c:v>
                </c:pt>
                <c:pt idx="6572">
                  <c:v>1912.4835838318984</c:v>
                </c:pt>
                <c:pt idx="6573">
                  <c:v>1908.8355464759961</c:v>
                </c:pt>
                <c:pt idx="6574">
                  <c:v>1899.7154530862399</c:v>
                </c:pt>
                <c:pt idx="6575">
                  <c:v>1879.6512476287762</c:v>
                </c:pt>
                <c:pt idx="6576">
                  <c:v>1886.0353130016053</c:v>
                </c:pt>
                <c:pt idx="6577">
                  <c:v>1856.851014154385</c:v>
                </c:pt>
                <c:pt idx="6578">
                  <c:v>1816.7226032394574</c:v>
                </c:pt>
                <c:pt idx="6579">
                  <c:v>1818.5466219174084</c:v>
                </c:pt>
                <c:pt idx="6580">
                  <c:v>1814.8985845615061</c:v>
                </c:pt>
                <c:pt idx="6581">
                  <c:v>1857.7630234933608</c:v>
                </c:pt>
                <c:pt idx="6582">
                  <c:v>2106.7415730337079</c:v>
                </c:pt>
                <c:pt idx="6583">
                  <c:v>2290.9674595067859</c:v>
                </c:pt>
                <c:pt idx="6584">
                  <c:v>2159.4557128264992</c:v>
                </c:pt>
                <c:pt idx="6585">
                  <c:v>2101.1783160659566</c:v>
                </c:pt>
                <c:pt idx="6586">
                  <c:v>2078.925288194951</c:v>
                </c:pt>
                <c:pt idx="6587">
                  <c:v>2005.7821392091057</c:v>
                </c:pt>
                <c:pt idx="6588">
                  <c:v>1917.7732379979573</c:v>
                </c:pt>
                <c:pt idx="6589">
                  <c:v>1921.5124762877574</c:v>
                </c:pt>
                <c:pt idx="6590">
                  <c:v>1936.8342331825479</c:v>
                </c:pt>
                <c:pt idx="6591">
                  <c:v>1906.0995184590693</c:v>
                </c:pt>
                <c:pt idx="6592">
                  <c:v>1891.2337662337663</c:v>
                </c:pt>
                <c:pt idx="6593">
                  <c:v>1897.9826353421861</c:v>
                </c:pt>
                <c:pt idx="6594">
                  <c:v>1912.6659856996937</c:v>
                </c:pt>
                <c:pt idx="6595">
                  <c:v>1875.4560046694878</c:v>
                </c:pt>
                <c:pt idx="6596">
                  <c:v>1918.5028454691378</c:v>
                </c:pt>
                <c:pt idx="6597">
                  <c:v>1930.0853640741284</c:v>
                </c:pt>
                <c:pt idx="6598">
                  <c:v>1929.9029622063333</c:v>
                </c:pt>
                <c:pt idx="6599">
                  <c:v>1819.7322340580768</c:v>
                </c:pt>
                <c:pt idx="6600">
                  <c:v>1748.13950094849</c:v>
                </c:pt>
                <c:pt idx="6601">
                  <c:v>1723.2416459944552</c:v>
                </c:pt>
                <c:pt idx="6602">
                  <c:v>1725.8864730774844</c:v>
                </c:pt>
                <c:pt idx="6603">
                  <c:v>1710.5647161826939</c:v>
                </c:pt>
                <c:pt idx="6604">
                  <c:v>1709.5615059098204</c:v>
                </c:pt>
                <c:pt idx="6605">
                  <c:v>1745.1298701298701</c:v>
                </c:pt>
                <c:pt idx="6606">
                  <c:v>2042.7185174376186</c:v>
                </c:pt>
                <c:pt idx="6607">
                  <c:v>2163.6509557857876</c:v>
                </c:pt>
                <c:pt idx="6608">
                  <c:v>2185.3567780534072</c:v>
                </c:pt>
                <c:pt idx="6609">
                  <c:v>2043.6305267765943</c:v>
                </c:pt>
                <c:pt idx="6610">
                  <c:v>1911.6627754268206</c:v>
                </c:pt>
                <c:pt idx="6611">
                  <c:v>1824.5658835546478</c:v>
                </c:pt>
                <c:pt idx="6612">
                  <c:v>1825.1130891580331</c:v>
                </c:pt>
                <c:pt idx="6613">
                  <c:v>1804.228075295491</c:v>
                </c:pt>
                <c:pt idx="6614">
                  <c:v>1817.3610097767405</c:v>
                </c:pt>
                <c:pt idx="6615">
                  <c:v>1801.1272435429742</c:v>
                </c:pt>
                <c:pt idx="6616">
                  <c:v>1819.6410331241796</c:v>
                </c:pt>
                <c:pt idx="6617">
                  <c:v>1844.5388880782141</c:v>
                </c:pt>
                <c:pt idx="6618">
                  <c:v>1915.3108127827231</c:v>
                </c:pt>
                <c:pt idx="6619">
                  <c:v>1892.145775572742</c:v>
                </c:pt>
                <c:pt idx="6620">
                  <c:v>1925.5253173792498</c:v>
                </c:pt>
                <c:pt idx="6621">
                  <c:v>1983.5291113381004</c:v>
                </c:pt>
                <c:pt idx="6622">
                  <c:v>1975.8682328907048</c:v>
                </c:pt>
                <c:pt idx="6623">
                  <c:v>1971.8553917992122</c:v>
                </c:pt>
                <c:pt idx="6624">
                  <c:v>2035.9696483291991</c:v>
                </c:pt>
                <c:pt idx="6625">
                  <c:v>2084.1237414271122</c:v>
                </c:pt>
                <c:pt idx="6626">
                  <c:v>2062.1443163577997</c:v>
                </c:pt>
                <c:pt idx="6627">
                  <c:v>2048.4641762731653</c:v>
                </c:pt>
                <c:pt idx="6628">
                  <c:v>2053.7538304392237</c:v>
                </c:pt>
                <c:pt idx="6629">
                  <c:v>2135.0138625419522</c:v>
                </c:pt>
                <c:pt idx="6630">
                  <c:v>2272.3624689916824</c:v>
                </c:pt>
                <c:pt idx="6631">
                  <c:v>2385.7252298263538</c:v>
                </c:pt>
                <c:pt idx="6632">
                  <c:v>2398.9493652414999</c:v>
                </c:pt>
                <c:pt idx="6633">
                  <c:v>2459.5979862833797</c:v>
                </c:pt>
                <c:pt idx="6634">
                  <c:v>2474.4637385086821</c:v>
                </c:pt>
                <c:pt idx="6635">
                  <c:v>2654.4943820224721</c:v>
                </c:pt>
                <c:pt idx="6636">
                  <c:v>2906.0265577119512</c:v>
                </c:pt>
                <c:pt idx="6637">
                  <c:v>2834.0690208667738</c:v>
                </c:pt>
                <c:pt idx="6638">
                  <c:v>2748.6137458047569</c:v>
                </c:pt>
                <c:pt idx="6639">
                  <c:v>2619.5644243397055</c:v>
                </c:pt>
                <c:pt idx="6640">
                  <c:v>2580.7128264993435</c:v>
                </c:pt>
                <c:pt idx="6641">
                  <c:v>2553.3525463300748</c:v>
                </c:pt>
                <c:pt idx="6642">
                  <c:v>2553.7173500656645</c:v>
                </c:pt>
                <c:pt idx="6643">
                  <c:v>2566.1206770757335</c:v>
                </c:pt>
                <c:pt idx="6644">
                  <c:v>2625.5836859769443</c:v>
                </c:pt>
                <c:pt idx="6645">
                  <c:v>2634.2477746972136</c:v>
                </c:pt>
                <c:pt idx="6646">
                  <c:v>2549.4309061724794</c:v>
                </c:pt>
                <c:pt idx="6647">
                  <c:v>2427.2216547497446</c:v>
                </c:pt>
                <c:pt idx="6648">
                  <c:v>2390.4676783890268</c:v>
                </c:pt>
                <c:pt idx="6649">
                  <c:v>2321.2461695607767</c:v>
                </c:pt>
                <c:pt idx="6650">
                  <c:v>2309.6636509557861</c:v>
                </c:pt>
                <c:pt idx="6651">
                  <c:v>2278.3817306289216</c:v>
                </c:pt>
                <c:pt idx="6652">
                  <c:v>2291.5146651101704</c:v>
                </c:pt>
                <c:pt idx="6653">
                  <c:v>2374.5075149569534</c:v>
                </c:pt>
                <c:pt idx="6654">
                  <c:v>2468.0796731358532</c:v>
                </c:pt>
                <c:pt idx="6655">
                  <c:v>2532.376331533635</c:v>
                </c:pt>
                <c:pt idx="6656">
                  <c:v>2552.4405369910992</c:v>
                </c:pt>
                <c:pt idx="6657">
                  <c:v>2611.7211440245151</c:v>
                </c:pt>
                <c:pt idx="6658">
                  <c:v>2611.1739384211296</c:v>
                </c:pt>
                <c:pt idx="6659">
                  <c:v>2645.9214942361014</c:v>
                </c:pt>
                <c:pt idx="6660">
                  <c:v>2599.3178170144461</c:v>
                </c:pt>
                <c:pt idx="6661">
                  <c:v>2585.9112797315042</c:v>
                </c:pt>
                <c:pt idx="6662">
                  <c:v>2503.6480373559025</c:v>
                </c:pt>
                <c:pt idx="6663">
                  <c:v>2480.7566029476143</c:v>
                </c:pt>
                <c:pt idx="6664">
                  <c:v>2288.6874361593464</c:v>
                </c:pt>
                <c:pt idx="6665">
                  <c:v>2341.4927768860357</c:v>
                </c:pt>
                <c:pt idx="6666">
                  <c:v>2330.9134685539179</c:v>
                </c:pt>
                <c:pt idx="6667">
                  <c:v>2487.6878739238291</c:v>
                </c:pt>
                <c:pt idx="6668">
                  <c:v>2491.7919159492199</c:v>
                </c:pt>
                <c:pt idx="6669">
                  <c:v>2497.8111775864586</c:v>
                </c:pt>
                <c:pt idx="6670">
                  <c:v>2446.009047132643</c:v>
                </c:pt>
                <c:pt idx="6671">
                  <c:v>2357.3617393842119</c:v>
                </c:pt>
                <c:pt idx="6672">
                  <c:v>2305.2860061287029</c:v>
                </c:pt>
                <c:pt idx="6673">
                  <c:v>2248.0118196410331</c:v>
                </c:pt>
                <c:pt idx="6674">
                  <c:v>2220.2867357361743</c:v>
                </c:pt>
                <c:pt idx="6675">
                  <c:v>2125.5289654166058</c:v>
                </c:pt>
                <c:pt idx="6676">
                  <c:v>2162.1005399095288</c:v>
                </c:pt>
                <c:pt idx="6677">
                  <c:v>2223.5699693564866</c:v>
                </c:pt>
                <c:pt idx="6678">
                  <c:v>2329.7278564132498</c:v>
                </c:pt>
                <c:pt idx="6679">
                  <c:v>2363.4722019553478</c:v>
                </c:pt>
                <c:pt idx="6680">
                  <c:v>2352.3456880198455</c:v>
                </c:pt>
                <c:pt idx="6681">
                  <c:v>2391.0148839924118</c:v>
                </c:pt>
                <c:pt idx="6682">
                  <c:v>2387.3668466365093</c:v>
                </c:pt>
                <c:pt idx="6683">
                  <c:v>2338.847949803006</c:v>
                </c:pt>
                <c:pt idx="6684">
                  <c:v>2586.0024806654023</c:v>
                </c:pt>
                <c:pt idx="6685">
                  <c:v>2624.0332701006864</c:v>
                </c:pt>
                <c:pt idx="6686">
                  <c:v>2468.9004815409317</c:v>
                </c:pt>
                <c:pt idx="6687">
                  <c:v>2464.1580329782578</c:v>
                </c:pt>
                <c:pt idx="6688">
                  <c:v>2383.9012111484021</c:v>
                </c:pt>
                <c:pt idx="6689">
                  <c:v>2396.8517437618561</c:v>
                </c:pt>
                <c:pt idx="6690">
                  <c:v>2395.2101269516997</c:v>
                </c:pt>
                <c:pt idx="6691">
                  <c:v>2488.4174813950099</c:v>
                </c:pt>
                <c:pt idx="6692">
                  <c:v>2521.1586166642351</c:v>
                </c:pt>
                <c:pt idx="6693">
                  <c:v>2573.6903545892314</c:v>
                </c:pt>
                <c:pt idx="6694">
                  <c:v>2440.6281920326865</c:v>
                </c:pt>
                <c:pt idx="6695">
                  <c:v>2351.1600758791774</c:v>
                </c:pt>
                <c:pt idx="6696">
                  <c:v>2292.426674449147</c:v>
                </c:pt>
                <c:pt idx="6697">
                  <c:v>2280.5705530424634</c:v>
                </c:pt>
                <c:pt idx="6698">
                  <c:v>2274.0952867357364</c:v>
                </c:pt>
                <c:pt idx="6699">
                  <c:v>2268.0760250984972</c:v>
                </c:pt>
                <c:pt idx="6700">
                  <c:v>2314.2236976506642</c:v>
                </c:pt>
                <c:pt idx="6701">
                  <c:v>2425.1240332701013</c:v>
                </c:pt>
                <c:pt idx="6702">
                  <c:v>2653.3999708157012</c:v>
                </c:pt>
                <c:pt idx="6703">
                  <c:v>2763.7531008317528</c:v>
                </c:pt>
                <c:pt idx="6704">
                  <c:v>2801.5102874653435</c:v>
                </c:pt>
                <c:pt idx="6705">
                  <c:v>2736.3928206624837</c:v>
                </c:pt>
                <c:pt idx="6706">
                  <c:v>2615.7339851160077</c:v>
                </c:pt>
                <c:pt idx="6707">
                  <c:v>2498.7231869254342</c:v>
                </c:pt>
                <c:pt idx="6708">
                  <c:v>2422.388005253174</c:v>
                </c:pt>
                <c:pt idx="6709">
                  <c:v>2401.4117904567343</c:v>
                </c:pt>
                <c:pt idx="6710">
                  <c:v>2352.3456880198455</c:v>
                </c:pt>
                <c:pt idx="6711">
                  <c:v>2316.9597256675911</c:v>
                </c:pt>
                <c:pt idx="6712">
                  <c:v>2313.1292864438933</c:v>
                </c:pt>
                <c:pt idx="6713">
                  <c:v>2369.2178607908945</c:v>
                </c:pt>
                <c:pt idx="6714">
                  <c:v>2434.9737341310379</c:v>
                </c:pt>
                <c:pt idx="6715">
                  <c:v>2416.8247482854226</c:v>
                </c:pt>
                <c:pt idx="6716">
                  <c:v>2413.9063184007005</c:v>
                </c:pt>
                <c:pt idx="6717">
                  <c:v>2385.4516270246609</c:v>
                </c:pt>
                <c:pt idx="6718">
                  <c:v>2267.8024222968047</c:v>
                </c:pt>
                <c:pt idx="6719">
                  <c:v>2202.958558295637</c:v>
                </c:pt>
                <c:pt idx="6720">
                  <c:v>2213.0818619582669</c:v>
                </c:pt>
                <c:pt idx="6721">
                  <c:v>2188.2752079381294</c:v>
                </c:pt>
                <c:pt idx="6722">
                  <c:v>2238.1621187800965</c:v>
                </c:pt>
                <c:pt idx="6723">
                  <c:v>2256.7671092951996</c:v>
                </c:pt>
                <c:pt idx="6724">
                  <c:v>2312.3084780388153</c:v>
                </c:pt>
                <c:pt idx="6725">
                  <c:v>2480.6654020137166</c:v>
                </c:pt>
                <c:pt idx="6726">
                  <c:v>2706.0229096745957</c:v>
                </c:pt>
                <c:pt idx="6727">
                  <c:v>2760.5610681453377</c:v>
                </c:pt>
                <c:pt idx="6728">
                  <c:v>2779.3413354620702</c:v>
                </c:pt>
                <c:pt idx="6729">
                  <c:v>2779.5907130156966</c:v>
                </c:pt>
                <c:pt idx="6730">
                  <c:v>2722.2338756816821</c:v>
                </c:pt>
                <c:pt idx="6731">
                  <c:v>2615.1796544464564</c:v>
                </c:pt>
                <c:pt idx="6732">
                  <c:v>2535.8419670285375</c:v>
                </c:pt>
                <c:pt idx="6733">
                  <c:v>2419.5607763091443</c:v>
                </c:pt>
                <c:pt idx="6734">
                  <c:v>2263.9491828464274</c:v>
                </c:pt>
                <c:pt idx="6735">
                  <c:v>2277.1661931886133</c:v>
                </c:pt>
                <c:pt idx="6736">
                  <c:v>2301.5695680791723</c:v>
                </c:pt>
                <c:pt idx="6737">
                  <c:v>2344.6762594916922</c:v>
                </c:pt>
                <c:pt idx="6738">
                  <c:v>2462.8812199104868</c:v>
                </c:pt>
                <c:pt idx="6739">
                  <c:v>2440.0809864360963</c:v>
                </c:pt>
                <c:pt idx="6740">
                  <c:v>2418.5276407298361</c:v>
                </c:pt>
                <c:pt idx="6741">
                  <c:v>2441.6841278522643</c:v>
                </c:pt>
                <c:pt idx="6742">
                  <c:v>2342.7168644274866</c:v>
                </c:pt>
                <c:pt idx="6743">
                  <c:v>2321.519772369264</c:v>
                </c:pt>
                <c:pt idx="6744">
                  <c:v>2320.2728846011337</c:v>
                </c:pt>
                <c:pt idx="6745">
                  <c:v>2302.1395739160321</c:v>
                </c:pt>
                <c:pt idx="6746">
                  <c:v>2324.5835537423854</c:v>
                </c:pt>
                <c:pt idx="6747">
                  <c:v>2314.5728262325356</c:v>
                </c:pt>
                <c:pt idx="6748">
                  <c:v>2331.1029955014692</c:v>
                </c:pt>
                <c:pt idx="6749">
                  <c:v>2335.8767943851694</c:v>
                </c:pt>
                <c:pt idx="6750">
                  <c:v>2377.4872204759326</c:v>
                </c:pt>
                <c:pt idx="6751">
                  <c:v>2672.5364917804709</c:v>
                </c:pt>
                <c:pt idx="6752">
                  <c:v>2689.2804132382266</c:v>
                </c:pt>
                <c:pt idx="6753">
                  <c:v>2629.1091720847171</c:v>
                </c:pt>
                <c:pt idx="6754">
                  <c:v>2489.778370337307</c:v>
                </c:pt>
                <c:pt idx="6755">
                  <c:v>2362.097062880719</c:v>
                </c:pt>
                <c:pt idx="6756">
                  <c:v>2342.5031122386645</c:v>
                </c:pt>
                <c:pt idx="6757">
                  <c:v>2311.3665434001996</c:v>
                </c:pt>
                <c:pt idx="6758">
                  <c:v>2208.4448644822073</c:v>
                </c:pt>
                <c:pt idx="6759">
                  <c:v>2136.94475732111</c:v>
                </c:pt>
                <c:pt idx="6760">
                  <c:v>2194.3015946551241</c:v>
                </c:pt>
                <c:pt idx="6761">
                  <c:v>2062.7371224349286</c:v>
                </c:pt>
                <c:pt idx="6762">
                  <c:v>2094.3011956510386</c:v>
                </c:pt>
                <c:pt idx="6763">
                  <c:v>1800.5344374794347</c:v>
                </c:pt>
                <c:pt idx="6764">
                  <c:v>2068.3303047091154</c:v>
                </c:pt>
                <c:pt idx="6765">
                  <c:v>2184.2552417804709</c:v>
                </c:pt>
                <c:pt idx="6766">
                  <c:v>2060.8133527355271</c:v>
                </c:pt>
                <c:pt idx="6767">
                  <c:v>1965.3730004263193</c:v>
                </c:pt>
                <c:pt idx="6768">
                  <c:v>1937.3358383257794</c:v>
                </c:pt>
                <c:pt idx="6769">
                  <c:v>1902.5654822773336</c:v>
                </c:pt>
                <c:pt idx="6770">
                  <c:v>1914.0724751089401</c:v>
                </c:pt>
                <c:pt idx="6771">
                  <c:v>1924.7957099148643</c:v>
                </c:pt>
                <c:pt idx="6772">
                  <c:v>1930.9588980259107</c:v>
                </c:pt>
                <c:pt idx="6773">
                  <c:v>2004.1333973327837</c:v>
                </c:pt>
                <c:pt idx="6774">
                  <c:v>2286.5356641319959</c:v>
                </c:pt>
                <c:pt idx="6775">
                  <c:v>2337.0168060588894</c:v>
                </c:pt>
                <c:pt idx="6776">
                  <c:v>2330.1838610827376</c:v>
                </c:pt>
                <c:pt idx="6777">
                  <c:v>2263.6071793375168</c:v>
                </c:pt>
                <c:pt idx="6778">
                  <c:v>2158.7261053553189</c:v>
                </c:pt>
                <c:pt idx="6779">
                  <c:v>1951.6999854078508</c:v>
                </c:pt>
                <c:pt idx="6780">
                  <c:v>1929.8117612724354</c:v>
                </c:pt>
                <c:pt idx="6781">
                  <c:v>1879.6512476287758</c:v>
                </c:pt>
                <c:pt idx="6782">
                  <c:v>1758.3540055450169</c:v>
                </c:pt>
                <c:pt idx="6783">
                  <c:v>1614.2565299868672</c:v>
                </c:pt>
                <c:pt idx="6784">
                  <c:v>1689.9533051218446</c:v>
                </c:pt>
                <c:pt idx="6785">
                  <c:v>1737.3777907485774</c:v>
                </c:pt>
                <c:pt idx="6786">
                  <c:v>1755.61797752809</c:v>
                </c:pt>
                <c:pt idx="6787">
                  <c:v>1798.4824164599445</c:v>
                </c:pt>
                <c:pt idx="6788">
                  <c:v>1878.7392382898004</c:v>
                </c:pt>
                <c:pt idx="6789">
                  <c:v>1913.3955931708742</c:v>
                </c:pt>
                <c:pt idx="6790">
                  <c:v>1896.0674157303372</c:v>
                </c:pt>
                <c:pt idx="6791">
                  <c:v>1907.9235371370203</c:v>
                </c:pt>
                <c:pt idx="6792">
                  <c:v>1875.0912009338981</c:v>
                </c:pt>
                <c:pt idx="6793">
                  <c:v>1832.226762002043</c:v>
                </c:pt>
                <c:pt idx="6794">
                  <c:v>1803.9544724937984</c:v>
                </c:pt>
                <c:pt idx="6795">
                  <c:v>1787.5383043922373</c:v>
                </c:pt>
                <c:pt idx="6796">
                  <c:v>1733.7297533926749</c:v>
                </c:pt>
                <c:pt idx="6797">
                  <c:v>1768.3861082737487</c:v>
                </c:pt>
                <c:pt idx="6798">
                  <c:v>1924.3397052385819</c:v>
                </c:pt>
                <c:pt idx="6799">
                  <c:v>2121.3337224573179</c:v>
                </c:pt>
                <c:pt idx="6800">
                  <c:v>2114.0376477455129</c:v>
                </c:pt>
                <c:pt idx="6801">
                  <c:v>2041.0769006274627</c:v>
                </c:pt>
                <c:pt idx="6802">
                  <c:v>1870.5311542390195</c:v>
                </c:pt>
                <c:pt idx="6803">
                  <c:v>1907.9235371370203</c:v>
                </c:pt>
                <c:pt idx="6804">
                  <c:v>1891.5073690354593</c:v>
                </c:pt>
                <c:pt idx="6805">
                  <c:v>1671.7131183423319</c:v>
                </c:pt>
                <c:pt idx="6806">
                  <c:v>1595.1043338683789</c:v>
                </c:pt>
                <c:pt idx="6807">
                  <c:v>1652.5609222238438</c:v>
                </c:pt>
                <c:pt idx="6808">
                  <c:v>1565.008025682183</c:v>
                </c:pt>
                <c:pt idx="6809">
                  <c:v>1593.2803151904277</c:v>
                </c:pt>
                <c:pt idx="6810">
                  <c:v>1688.1292864438933</c:v>
                </c:pt>
                <c:pt idx="6811">
                  <c:v>1793.9223697650666</c:v>
                </c:pt>
                <c:pt idx="6812">
                  <c:v>1811.2505472056039</c:v>
                </c:pt>
                <c:pt idx="6813">
                  <c:v>1841.3468553917992</c:v>
                </c:pt>
                <c:pt idx="6814">
                  <c:v>1810.338537866628</c:v>
                </c:pt>
                <c:pt idx="6815">
                  <c:v>1706.3694732234062</c:v>
                </c:pt>
                <c:pt idx="6816">
                  <c:v>1641.6168101561361</c:v>
                </c:pt>
                <c:pt idx="6817">
                  <c:v>1608.7844739530135</c:v>
                </c:pt>
                <c:pt idx="6818">
                  <c:v>1532.1756894790603</c:v>
                </c:pt>
                <c:pt idx="6819">
                  <c:v>1473.8070917846201</c:v>
                </c:pt>
                <c:pt idx="6820">
                  <c:v>1469.2470450897417</c:v>
                </c:pt>
                <c:pt idx="6821">
                  <c:v>1461.9509703779365</c:v>
                </c:pt>
                <c:pt idx="6822">
                  <c:v>1595.1043338683789</c:v>
                </c:pt>
                <c:pt idx="6823">
                  <c:v>1652.5609222238438</c:v>
                </c:pt>
                <c:pt idx="6824">
                  <c:v>1592.3683058514523</c:v>
                </c:pt>
                <c:pt idx="6825">
                  <c:v>1582.33620312272</c:v>
                </c:pt>
                <c:pt idx="6826">
                  <c:v>1692.6893331387714</c:v>
                </c:pt>
                <c:pt idx="6827">
                  <c:v>1694.5133518167227</c:v>
                </c:pt>
                <c:pt idx="6828">
                  <c:v>1697.24937983365</c:v>
                </c:pt>
                <c:pt idx="6829">
                  <c:v>1726.4336786808699</c:v>
                </c:pt>
                <c:pt idx="6830">
                  <c:v>1715.4895666131622</c:v>
                </c:pt>
                <c:pt idx="6831">
                  <c:v>1736.465781409602</c:v>
                </c:pt>
                <c:pt idx="6832">
                  <c:v>1718.2255946300893</c:v>
                </c:pt>
                <c:pt idx="6833">
                  <c:v>1734.6417627316503</c:v>
                </c:pt>
                <c:pt idx="6834">
                  <c:v>1775.6821829855537</c:v>
                </c:pt>
                <c:pt idx="6835">
                  <c:v>1821.2826499343353</c:v>
                </c:pt>
                <c:pt idx="6836">
                  <c:v>1796.6583977819935</c:v>
                </c:pt>
                <c:pt idx="6837">
                  <c:v>1824.930687290238</c:v>
                </c:pt>
                <c:pt idx="6838">
                  <c:v>1836.7868086969215</c:v>
                </c:pt>
                <c:pt idx="6839">
                  <c:v>1683.5692397490154</c:v>
                </c:pt>
                <c:pt idx="6840">
                  <c:v>1611.5205019699401</c:v>
                </c:pt>
                <c:pt idx="6841">
                  <c:v>1612.432511308916</c:v>
                </c:pt>
                <c:pt idx="6842">
                  <c:v>1561.3599883262807</c:v>
                </c:pt>
                <c:pt idx="6843">
                  <c:v>1563.1840070042322</c:v>
                </c:pt>
                <c:pt idx="6844">
                  <c:v>1514.8475120385235</c:v>
                </c:pt>
                <c:pt idx="6845">
                  <c:v>1536.7357361739387</c:v>
                </c:pt>
                <c:pt idx="6846">
                  <c:v>1713.6655479352112</c:v>
                </c:pt>
                <c:pt idx="6847">
                  <c:v>1722.7856413249669</c:v>
                </c:pt>
                <c:pt idx="6848">
                  <c:v>1750.1459214942365</c:v>
                </c:pt>
                <c:pt idx="6849">
                  <c:v>1741.9378374434552</c:v>
                </c:pt>
                <c:pt idx="6850">
                  <c:v>1772.0341456296514</c:v>
                </c:pt>
                <c:pt idx="6851">
                  <c:v>1794.8343791040422</c:v>
                </c:pt>
                <c:pt idx="6852">
                  <c:v>1789.3623230701885</c:v>
                </c:pt>
                <c:pt idx="6853">
                  <c:v>1770.2101269517004</c:v>
                </c:pt>
                <c:pt idx="6854">
                  <c:v>1712.7535385962353</c:v>
                </c:pt>
                <c:pt idx="6855">
                  <c:v>1709.1055012403331</c:v>
                </c:pt>
                <c:pt idx="6856">
                  <c:v>1709.1055012403331</c:v>
                </c:pt>
                <c:pt idx="6857">
                  <c:v>1693.6013424777468</c:v>
                </c:pt>
                <c:pt idx="6858">
                  <c:v>1707.2814825623818</c:v>
                </c:pt>
                <c:pt idx="6859">
                  <c:v>1891.5073690354593</c:v>
                </c:pt>
                <c:pt idx="6860">
                  <c:v>2099.4454983219025</c:v>
                </c:pt>
                <c:pt idx="6861">
                  <c:v>2134.1018532029775</c:v>
                </c:pt>
                <c:pt idx="6862">
                  <c:v>2064.7891434408289</c:v>
                </c:pt>
                <c:pt idx="6863">
                  <c:v>2076.645264847512</c:v>
                </c:pt>
                <c:pt idx="6864">
                  <c:v>2058.4050780679991</c:v>
                </c:pt>
                <c:pt idx="6865">
                  <c:v>2063.8771341018537</c:v>
                </c:pt>
                <c:pt idx="6866">
                  <c:v>2065.7011527798045</c:v>
                </c:pt>
                <c:pt idx="6867">
                  <c:v>2066.6131621187806</c:v>
                </c:pt>
                <c:pt idx="6868">
                  <c:v>2041.0769006274627</c:v>
                </c:pt>
                <c:pt idx="6869">
                  <c:v>2094.8854516270248</c:v>
                </c:pt>
                <c:pt idx="6870">
                  <c:v>2199.7665256092223</c:v>
                </c:pt>
                <c:pt idx="6871">
                  <c:v>2295.527506201664</c:v>
                </c:pt>
                <c:pt idx="6872">
                  <c:v>2315.5917116591277</c:v>
                </c:pt>
                <c:pt idx="6873">
                  <c:v>2268.1672260323949</c:v>
                </c:pt>
                <c:pt idx="6874">
                  <c:v>2239.8949365241506</c:v>
                </c:pt>
                <c:pt idx="6875">
                  <c:v>2234.4228804902964</c:v>
                </c:pt>
                <c:pt idx="6876">
                  <c:v>2223.4787684225889</c:v>
                </c:pt>
                <c:pt idx="6877">
                  <c:v>2254.4870859477605</c:v>
                </c:pt>
                <c:pt idx="6878">
                  <c:v>2226.2147964395158</c:v>
                </c:pt>
                <c:pt idx="6879">
                  <c:v>2277.2873194221506</c:v>
                </c:pt>
                <c:pt idx="6880">
                  <c:v>2219.8307310666864</c:v>
                </c:pt>
                <c:pt idx="6881">
                  <c:v>2223.4787684225889</c:v>
                </c:pt>
                <c:pt idx="6882">
                  <c:v>2206.1505909820521</c:v>
                </c:pt>
                <c:pt idx="6883">
                  <c:v>2228.038815117467</c:v>
                </c:pt>
                <c:pt idx="6884">
                  <c:v>2230.7748431343939</c:v>
                </c:pt>
                <c:pt idx="6885">
                  <c:v>2244.4549832190287</c:v>
                </c:pt>
                <c:pt idx="6886">
                  <c:v>2166.0221800671238</c:v>
                </c:pt>
                <c:pt idx="6887">
                  <c:v>2027.3967605428281</c:v>
                </c:pt>
                <c:pt idx="6888">
                  <c:v>1935.2838173062892</c:v>
                </c:pt>
                <c:pt idx="6889">
                  <c:v>1930.7237706114115</c:v>
                </c:pt>
                <c:pt idx="6890">
                  <c:v>1921.6036772216546</c:v>
                </c:pt>
                <c:pt idx="6891">
                  <c:v>1946.2279293739969</c:v>
                </c:pt>
                <c:pt idx="6892">
                  <c:v>1914.3076025098501</c:v>
                </c:pt>
                <c:pt idx="6893">
                  <c:v>2100.3575076608786</c:v>
                </c:pt>
                <c:pt idx="6894">
                  <c:v>2347.5120385232744</c:v>
                </c:pt>
                <c:pt idx="6895">
                  <c:v>2479.753392674741</c:v>
                </c:pt>
                <c:pt idx="6896">
                  <c:v>2726.9079235371369</c:v>
                </c:pt>
                <c:pt idx="6897">
                  <c:v>2766.1243251130895</c:v>
                </c:pt>
                <c:pt idx="6898">
                  <c:v>2740.5880636217717</c:v>
                </c:pt>
                <c:pt idx="6899">
                  <c:v>2368.4882533197147</c:v>
                </c:pt>
                <c:pt idx="6900">
                  <c:v>2300.0875528965416</c:v>
                </c:pt>
                <c:pt idx="6901">
                  <c:v>2234.4228804902964</c:v>
                </c:pt>
                <c:pt idx="6902">
                  <c:v>2193.3824602363929</c:v>
                </c:pt>
                <c:pt idx="6903">
                  <c:v>2176.9662921348317</c:v>
                </c:pt>
                <c:pt idx="6904">
                  <c:v>2200.6785349481979</c:v>
                </c:pt>
                <c:pt idx="6905">
                  <c:v>2238.9829271851745</c:v>
                </c:pt>
                <c:pt idx="6906">
                  <c:v>2247.1910112359551</c:v>
                </c:pt>
                <c:pt idx="6907">
                  <c:v>2189.7344228804905</c:v>
                </c:pt>
                <c:pt idx="6908">
                  <c:v>2185.1743761856123</c:v>
                </c:pt>
                <c:pt idx="6909">
                  <c:v>2256.3111046257118</c:v>
                </c:pt>
                <c:pt idx="6910">
                  <c:v>2157.8140960163437</c:v>
                </c:pt>
                <c:pt idx="6911">
                  <c:v>1940.7558733401431</c:v>
                </c:pt>
                <c:pt idx="6912">
                  <c:v>1891.5073690354593</c:v>
                </c:pt>
                <c:pt idx="6913">
                  <c:v>1992.7404056617543</c:v>
                </c:pt>
                <c:pt idx="6914">
                  <c:v>1974.5002188822416</c:v>
                </c:pt>
                <c:pt idx="6915">
                  <c:v>1930.7237706114115</c:v>
                </c:pt>
                <c:pt idx="6916">
                  <c:v>1954.4360134247777</c:v>
                </c:pt>
                <c:pt idx="6917">
                  <c:v>2018.2766671530719</c:v>
                </c:pt>
                <c:pt idx="6918">
                  <c:v>2221.6547497446372</c:v>
                </c:pt>
                <c:pt idx="6919">
                  <c:v>2367.5762439807386</c:v>
                </c:pt>
                <c:pt idx="6920">
                  <c:v>2407.7046548956664</c:v>
                </c:pt>
                <c:pt idx="6921">
                  <c:v>2307.3836276083471</c:v>
                </c:pt>
                <c:pt idx="6922">
                  <c:v>2286.4074128119073</c:v>
                </c:pt>
                <c:pt idx="6923">
                  <c:v>2338.3919451335182</c:v>
                </c:pt>
                <c:pt idx="6924">
                  <c:v>2302.8235809134685</c:v>
                </c:pt>
                <c:pt idx="6925">
                  <c:v>2233.5108711513208</c:v>
                </c:pt>
                <c:pt idx="6926">
                  <c:v>2163.2861520501974</c:v>
                </c:pt>
                <c:pt idx="6927">
                  <c:v>2096.7094703049761</c:v>
                </c:pt>
                <c:pt idx="6928">
                  <c:v>2067.5251714577562</c:v>
                </c:pt>
                <c:pt idx="6929">
                  <c:v>2075.7332555085368</c:v>
                </c:pt>
                <c:pt idx="6930">
                  <c:v>2089.4133955931707</c:v>
                </c:pt>
                <c:pt idx="6931">
                  <c:v>2105.8295636947323</c:v>
                </c:pt>
                <c:pt idx="6932">
                  <c:v>2081.2053115423905</c:v>
                </c:pt>
                <c:pt idx="6933">
                  <c:v>2058.4050780679995</c:v>
                </c:pt>
                <c:pt idx="6934">
                  <c:v>1883.2992849846785</c:v>
                </c:pt>
                <c:pt idx="6935">
                  <c:v>1793.0103604260912</c:v>
                </c:pt>
                <c:pt idx="6936">
                  <c:v>1711.8415292572595</c:v>
                </c:pt>
                <c:pt idx="6937">
                  <c:v>1661.6810156136</c:v>
                </c:pt>
                <c:pt idx="6938">
                  <c:v>1645.2648475120386</c:v>
                </c:pt>
                <c:pt idx="6939">
                  <c:v>1639.7927914781847</c:v>
                </c:pt>
                <c:pt idx="6940">
                  <c:v>1644.352838173063</c:v>
                </c:pt>
                <c:pt idx="6941">
                  <c:v>1663.5050342915515</c:v>
                </c:pt>
                <c:pt idx="6942">
                  <c:v>1807.6025098497007</c:v>
                </c:pt>
                <c:pt idx="6943">
                  <c:v>1979.0602655771197</c:v>
                </c:pt>
                <c:pt idx="6944">
                  <c:v>1963.5561068145339</c:v>
                </c:pt>
                <c:pt idx="6945">
                  <c:v>1929.8117612724357</c:v>
                </c:pt>
                <c:pt idx="6946">
                  <c:v>1936.195826645265</c:v>
                </c:pt>
                <c:pt idx="6947">
                  <c:v>1955.3480227637535</c:v>
                </c:pt>
                <c:pt idx="6948">
                  <c:v>1917.9556398657523</c:v>
                </c:pt>
                <c:pt idx="6949">
                  <c:v>1901.5394717641911</c:v>
                </c:pt>
                <c:pt idx="6950">
                  <c:v>1918.8676492047284</c:v>
                </c:pt>
                <c:pt idx="6951">
                  <c:v>1901.5394717641911</c:v>
                </c:pt>
                <c:pt idx="6952">
                  <c:v>1947.1399387129727</c:v>
                </c:pt>
                <c:pt idx="6953">
                  <c:v>2033.7808259156573</c:v>
                </c:pt>
                <c:pt idx="6954">
                  <c:v>2045.6369473223408</c:v>
                </c:pt>
                <c:pt idx="6955">
                  <c:v>2050.1969940172189</c:v>
                </c:pt>
                <c:pt idx="6956">
                  <c:v>2041.0769006274627</c:v>
                </c:pt>
                <c:pt idx="6957">
                  <c:v>2067.5251714577557</c:v>
                </c:pt>
                <c:pt idx="6958">
                  <c:v>1958.9960601196558</c:v>
                </c:pt>
                <c:pt idx="6959">
                  <c:v>1885.1233036626295</c:v>
                </c:pt>
                <c:pt idx="6960">
                  <c:v>1817.634612578433</c:v>
                </c:pt>
                <c:pt idx="6961">
                  <c:v>1802.1304538158472</c:v>
                </c:pt>
                <c:pt idx="6962">
                  <c:v>1755.61797752809</c:v>
                </c:pt>
                <c:pt idx="6963">
                  <c:v>1748.321902816285</c:v>
                </c:pt>
                <c:pt idx="6964">
                  <c:v>1670.801109003356</c:v>
                </c:pt>
                <c:pt idx="6965">
                  <c:v>1712.7535385962353</c:v>
                </c:pt>
                <c:pt idx="6966">
                  <c:v>1813.0745658835549</c:v>
                </c:pt>
                <c:pt idx="6967">
                  <c:v>1814.8985845615061</c:v>
                </c:pt>
                <c:pt idx="6968">
                  <c:v>1912.027579162411</c:v>
                </c:pt>
                <c:pt idx="6969">
                  <c:v>1936.195826645265</c:v>
                </c:pt>
                <c:pt idx="6970">
                  <c:v>1892.4193783744347</c:v>
                </c:pt>
                <c:pt idx="6971">
                  <c:v>1861.8670655187509</c:v>
                </c:pt>
                <c:pt idx="6972">
                  <c:v>1762.0020429009196</c:v>
                </c:pt>
                <c:pt idx="6973">
                  <c:v>1613.3445206478916</c:v>
                </c:pt>
                <c:pt idx="6974">
                  <c:v>1502.5353859623524</c:v>
                </c:pt>
                <c:pt idx="6975">
                  <c:v>1511.1994746826206</c:v>
                </c:pt>
                <c:pt idx="6976">
                  <c:v>1540.3837735298412</c:v>
                </c:pt>
                <c:pt idx="6977">
                  <c:v>1615.1685393258429</c:v>
                </c:pt>
                <c:pt idx="6978">
                  <c:v>1609.6964832919889</c:v>
                </c:pt>
                <c:pt idx="6979">
                  <c:v>1631.5847074274041</c:v>
                </c:pt>
                <c:pt idx="6980">
                  <c:v>1640.2487961476729</c:v>
                </c:pt>
                <c:pt idx="6981">
                  <c:v>1605.1364365971108</c:v>
                </c:pt>
                <c:pt idx="6982">
                  <c:v>1544.0318108857434</c:v>
                </c:pt>
                <c:pt idx="6983">
                  <c:v>1446.446811615351</c:v>
                </c:pt>
                <c:pt idx="6984">
                  <c:v>1398.1103166496428</c:v>
                </c:pt>
                <c:pt idx="6985">
                  <c:v>1331.9896395739095</c:v>
                </c:pt>
                <c:pt idx="6986">
                  <c:v>1288.669195972567</c:v>
                </c:pt>
                <c:pt idx="6987">
                  <c:v>1264.9569531592003</c:v>
                </c:pt>
                <c:pt idx="6988">
                  <c:v>1305.541368743616</c:v>
                </c:pt>
                <c:pt idx="6989">
                  <c:v>1329.2536115569824</c:v>
                </c:pt>
                <c:pt idx="6990">
                  <c:v>1403.5823726834965</c:v>
                </c:pt>
                <c:pt idx="6991">
                  <c:v>1446.9028162848385</c:v>
                </c:pt>
                <c:pt idx="6992">
                  <c:v>1469.7030497592298</c:v>
                </c:pt>
                <c:pt idx="6993">
                  <c:v>1524.4236100977676</c:v>
                </c:pt>
                <c:pt idx="6994">
                  <c:v>1545.8558295636949</c:v>
                </c:pt>
                <c:pt idx="6995">
                  <c:v>1614.712534656355</c:v>
                </c:pt>
                <c:pt idx="6996">
                  <c:v>1593.7363198599155</c:v>
                </c:pt>
                <c:pt idx="6997">
                  <c:v>1492.0472785641325</c:v>
                </c:pt>
                <c:pt idx="6998">
                  <c:v>1460.1269516999855</c:v>
                </c:pt>
                <c:pt idx="6999">
                  <c:v>1442.7987742594485</c:v>
                </c:pt>
                <c:pt idx="7000">
                  <c:v>1460.1269516999855</c:v>
                </c:pt>
                <c:pt idx="7001">
                  <c:v>1472.8950824456442</c:v>
                </c:pt>
                <c:pt idx="7002">
                  <c:v>1492.5032832336206</c:v>
                </c:pt>
                <c:pt idx="7003">
                  <c:v>1538.1037501824021</c:v>
                </c:pt>
                <c:pt idx="7004">
                  <c:v>1539.9277688603531</c:v>
                </c:pt>
                <c:pt idx="7005">
                  <c:v>1534.4557128264996</c:v>
                </c:pt>
                <c:pt idx="7006">
                  <c:v>1559.5359696483292</c:v>
                </c:pt>
                <c:pt idx="7007">
                  <c:v>1494.7833065810596</c:v>
                </c:pt>
                <c:pt idx="7008">
                  <c:v>1407.230410039399</c:v>
                </c:pt>
                <c:pt idx="7009">
                  <c:v>1402.2143586750331</c:v>
                </c:pt>
                <c:pt idx="7010">
                  <c:v>1395.3742886327157</c:v>
                </c:pt>
                <c:pt idx="7011">
                  <c:v>1396.2862979716913</c:v>
                </c:pt>
                <c:pt idx="7012">
                  <c:v>1488.39924120823</c:v>
                </c:pt>
                <c:pt idx="7013">
                  <c:v>1577.3201517583539</c:v>
                </c:pt>
                <c:pt idx="7014">
                  <c:v>1720.9616226470157</c:v>
                </c:pt>
                <c:pt idx="7015">
                  <c:v>1754.2499635196264</c:v>
                </c:pt>
                <c:pt idx="7016">
                  <c:v>1748.321902816285</c:v>
                </c:pt>
                <c:pt idx="7017">
                  <c:v>1815.354589230994</c:v>
                </c:pt>
                <c:pt idx="7018">
                  <c:v>1884.2112943236539</c:v>
                </c:pt>
                <c:pt idx="7019">
                  <c:v>1953.9800087552899</c:v>
                </c:pt>
                <c:pt idx="7020">
                  <c:v>1851.8349627900191</c:v>
                </c:pt>
                <c:pt idx="7021">
                  <c:v>1840.8908507223114</c:v>
                </c:pt>
                <c:pt idx="7022">
                  <c:v>1698.1613891726249</c:v>
                </c:pt>
                <c:pt idx="7023">
                  <c:v>1619.2725813512332</c:v>
                </c:pt>
                <c:pt idx="7024">
                  <c:v>1658.0329782576976</c:v>
                </c:pt>
                <c:pt idx="7025">
                  <c:v>1732.3617393842112</c:v>
                </c:pt>
                <c:pt idx="7026">
                  <c:v>1771.1221362906758</c:v>
                </c:pt>
                <c:pt idx="7027">
                  <c:v>1886.0353130016053</c:v>
                </c:pt>
                <c:pt idx="7028">
                  <c:v>1863.6910841967021</c:v>
                </c:pt>
                <c:pt idx="7029">
                  <c:v>1873.2671822559464</c:v>
                </c:pt>
                <c:pt idx="7030">
                  <c:v>1732.8177440536992</c:v>
                </c:pt>
                <c:pt idx="7031">
                  <c:v>1534.4557128264996</c:v>
                </c:pt>
                <c:pt idx="7032">
                  <c:v>1437.7827228950825</c:v>
                </c:pt>
                <c:pt idx="7033">
                  <c:v>1433.2226762002044</c:v>
                </c:pt>
                <c:pt idx="7034">
                  <c:v>1450.5508536407415</c:v>
                </c:pt>
                <c:pt idx="7035">
                  <c:v>1430.9426528527654</c:v>
                </c:pt>
                <c:pt idx="7036">
                  <c:v>1432.310666861229</c:v>
                </c:pt>
                <c:pt idx="7037">
                  <c:v>1547.6798482416461</c:v>
                </c:pt>
                <c:pt idx="7038">
                  <c:v>1927.9877425944842</c:v>
                </c:pt>
                <c:pt idx="7039">
                  <c:v>2021.9247045089742</c:v>
                </c:pt>
                <c:pt idx="7040">
                  <c:v>1992.2844009922665</c:v>
                </c:pt>
                <c:pt idx="7041">
                  <c:v>1965.836130161973</c:v>
                </c:pt>
                <c:pt idx="7042">
                  <c:v>1940.7558733401431</c:v>
                </c:pt>
                <c:pt idx="7043">
                  <c:v>1937.5638406537282</c:v>
                </c:pt>
                <c:pt idx="7044">
                  <c:v>1918.867649204728</c:v>
                </c:pt>
                <c:pt idx="7045">
                  <c:v>1837.2428133664091</c:v>
                </c:pt>
                <c:pt idx="7046">
                  <c:v>1823.5626732817743</c:v>
                </c:pt>
                <c:pt idx="7047">
                  <c:v>1835.4187946884579</c:v>
                </c:pt>
                <c:pt idx="7048">
                  <c:v>1875.0912009338977</c:v>
                </c:pt>
                <c:pt idx="7049">
                  <c:v>1955.8040274332409</c:v>
                </c:pt>
                <c:pt idx="7050">
                  <c:v>2078.0132788559754</c:v>
                </c:pt>
                <c:pt idx="7051">
                  <c:v>2166.0221800671238</c:v>
                </c:pt>
                <c:pt idx="7052">
                  <c:v>2220.2867357361743</c:v>
                </c:pt>
                <c:pt idx="7053">
                  <c:v>2205.238581643076</c:v>
                </c:pt>
                <c:pt idx="7054">
                  <c:v>2032.4128119071945</c:v>
                </c:pt>
                <c:pt idx="7055">
                  <c:v>1888.3153363490444</c:v>
                </c:pt>
                <c:pt idx="7056">
                  <c:v>1820.8266452648479</c:v>
                </c:pt>
                <c:pt idx="7057">
                  <c:v>1629.3046840799652</c:v>
                </c:pt>
                <c:pt idx="7058">
                  <c:v>1742.8498467824311</c:v>
                </c:pt>
                <c:pt idx="7059">
                  <c:v>1636.60075879177</c:v>
                </c:pt>
                <c:pt idx="7060">
                  <c:v>1767.0180942652855</c:v>
                </c:pt>
                <c:pt idx="7061">
                  <c:v>1939.4790602655771</c:v>
                </c:pt>
                <c:pt idx="7062">
                  <c:v>2078.925288194951</c:v>
                </c:pt>
                <c:pt idx="7063">
                  <c:v>2080.7493068729027</c:v>
                </c:pt>
                <c:pt idx="7064">
                  <c:v>1926.619728586021</c:v>
                </c:pt>
                <c:pt idx="7065">
                  <c:v>1998.6684663650956</c:v>
                </c:pt>
                <c:pt idx="7066">
                  <c:v>2003.2285130599737</c:v>
                </c:pt>
                <c:pt idx="7067">
                  <c:v>1998.6684663650956</c:v>
                </c:pt>
                <c:pt idx="7068">
                  <c:v>2002.7725083904861</c:v>
                </c:pt>
                <c:pt idx="7069">
                  <c:v>1913.851597840362</c:v>
                </c:pt>
                <c:pt idx="7070">
                  <c:v>1876.4592149423609</c:v>
                </c:pt>
                <c:pt idx="7071">
                  <c:v>1819.0026265868962</c:v>
                </c:pt>
                <c:pt idx="7072">
                  <c:v>1792.5543557566032</c:v>
                </c:pt>
                <c:pt idx="7073">
                  <c:v>1821.7386546038233</c:v>
                </c:pt>
                <c:pt idx="7074">
                  <c:v>1784.8022763753099</c:v>
                </c:pt>
                <c:pt idx="7075">
                  <c:v>1769.7541222822124</c:v>
                </c:pt>
                <c:pt idx="7076">
                  <c:v>1778.4182110024808</c:v>
                </c:pt>
                <c:pt idx="7077">
                  <c:v>1768.3861082737487</c:v>
                </c:pt>
                <c:pt idx="7078">
                  <c:v>1612.8885159784036</c:v>
                </c:pt>
                <c:pt idx="7079">
                  <c:v>1466.0550124033271</c:v>
                </c:pt>
                <c:pt idx="7080">
                  <c:v>1374.3980738362761</c:v>
                </c:pt>
                <c:pt idx="7081">
                  <c:v>1315.11746680286</c:v>
                </c:pt>
                <c:pt idx="7082">
                  <c:v>1295.9652706843717</c:v>
                </c:pt>
                <c:pt idx="7083">
                  <c:v>1308.2773967605428</c:v>
                </c:pt>
                <c:pt idx="7084">
                  <c:v>1324.2375601926165</c:v>
                </c:pt>
                <c:pt idx="7085">
                  <c:v>1478.823143148986</c:v>
                </c:pt>
                <c:pt idx="7086">
                  <c:v>1685.849263096454</c:v>
                </c:pt>
                <c:pt idx="7087">
                  <c:v>1838.1548227053845</c:v>
                </c:pt>
                <c:pt idx="7088">
                  <c:v>1782.0662483583835</c:v>
                </c:pt>
                <c:pt idx="7089">
                  <c:v>1778.4182110024808</c:v>
                </c:pt>
                <c:pt idx="7090">
                  <c:v>1771.1221362906758</c:v>
                </c:pt>
                <c:pt idx="7091">
                  <c:v>1688.1292864438933</c:v>
                </c:pt>
                <c:pt idx="7092">
                  <c:v>1649.824894206917</c:v>
                </c:pt>
                <c:pt idx="7093">
                  <c:v>1636.60075879177</c:v>
                </c:pt>
                <c:pt idx="7094">
                  <c:v>1601.9444039106963</c:v>
                </c:pt>
                <c:pt idx="7095">
                  <c:v>1585.0722311396471</c:v>
                </c:pt>
                <c:pt idx="7096">
                  <c:v>1574.5841237414272</c:v>
                </c:pt>
                <c:pt idx="7097">
                  <c:v>1580.512184444769</c:v>
                </c:pt>
                <c:pt idx="7098">
                  <c:v>1655.7529549102585</c:v>
                </c:pt>
                <c:pt idx="7099">
                  <c:v>1699.9854078505764</c:v>
                </c:pt>
                <c:pt idx="7100">
                  <c:v>1712.7535385962353</c:v>
                </c:pt>
                <c:pt idx="7101">
                  <c:v>1701.8094265285276</c:v>
                </c:pt>
                <c:pt idx="7102">
                  <c:v>1619.728586020721</c:v>
                </c:pt>
                <c:pt idx="7103">
                  <c:v>1518.9515540639138</c:v>
                </c:pt>
                <c:pt idx="7104">
                  <c:v>1408.5984240478622</c:v>
                </c:pt>
                <c:pt idx="7105">
                  <c:v>1376.6780971837152</c:v>
                </c:pt>
                <c:pt idx="7106">
                  <c:v>1356.1578870567635</c:v>
                </c:pt>
                <c:pt idx="7107">
                  <c:v>1369.838027141398</c:v>
                </c:pt>
                <c:pt idx="7108">
                  <c:v>1399.934335327594</c:v>
                </c:pt>
                <c:pt idx="7109">
                  <c:v>1483.3831898438641</c:v>
                </c:pt>
                <c:pt idx="7110">
                  <c:v>1679.0091930541369</c:v>
                </c:pt>
                <c:pt idx="7111">
                  <c:v>1774.3141689770905</c:v>
                </c:pt>
                <c:pt idx="7112">
                  <c:v>1818.5466219174084</c:v>
                </c:pt>
                <c:pt idx="7113">
                  <c:v>1907.4675324675325</c:v>
                </c:pt>
                <c:pt idx="7114">
                  <c:v>1862.7790748577268</c:v>
                </c:pt>
                <c:pt idx="7115">
                  <c:v>1815.354589230994</c:v>
                </c:pt>
                <c:pt idx="7116">
                  <c:v>1707.7374872318694</c:v>
                </c:pt>
                <c:pt idx="7117">
                  <c:v>1633.4087261053553</c:v>
                </c:pt>
                <c:pt idx="7118">
                  <c:v>1565.9200350211586</c:v>
                </c:pt>
                <c:pt idx="7119">
                  <c:v>1534.4557128264996</c:v>
                </c:pt>
                <c:pt idx="7120">
                  <c:v>1528.9836567926457</c:v>
                </c:pt>
                <c:pt idx="7121">
                  <c:v>1616.5365533343063</c:v>
                </c:pt>
                <c:pt idx="7122">
                  <c:v>1685.849263096454</c:v>
                </c:pt>
                <c:pt idx="7123">
                  <c:v>1757.441996206041</c:v>
                </c:pt>
                <c:pt idx="7124">
                  <c:v>1767.9301036042609</c:v>
                </c:pt>
                <c:pt idx="7125">
                  <c:v>1756.5299868670656</c:v>
                </c:pt>
                <c:pt idx="7126">
                  <c:v>1732.8177440536992</c:v>
                </c:pt>
                <c:pt idx="7127">
                  <c:v>1613.3445206478916</c:v>
                </c:pt>
                <c:pt idx="7128">
                  <c:v>1504.3594046403036</c:v>
                </c:pt>
                <c:pt idx="7129">
                  <c:v>1494.7833065810596</c:v>
                </c:pt>
                <c:pt idx="7130">
                  <c:v>1508.4634466656939</c:v>
                </c:pt>
                <c:pt idx="7131">
                  <c:v>1474.2630964541079</c:v>
                </c:pt>
                <c:pt idx="7132">
                  <c:v>1548.5918575806218</c:v>
                </c:pt>
                <c:pt idx="7133">
                  <c:v>1677.1851743761856</c:v>
                </c:pt>
                <c:pt idx="7134">
                  <c:v>1907.0115277980447</c:v>
                </c:pt>
                <c:pt idx="7135">
                  <c:v>2110.3896103896104</c:v>
                </c:pt>
                <c:pt idx="7136">
                  <c:v>2118.597694440391</c:v>
                </c:pt>
                <c:pt idx="7137">
                  <c:v>2090.3254049321467</c:v>
                </c:pt>
                <c:pt idx="7138">
                  <c:v>2029.2207792207791</c:v>
                </c:pt>
                <c:pt idx="7139">
                  <c:v>1953.5240040858018</c:v>
                </c:pt>
                <c:pt idx="7140">
                  <c:v>1891.5073690354593</c:v>
                </c:pt>
                <c:pt idx="7141">
                  <c:v>1841.3468553917992</c:v>
                </c:pt>
                <c:pt idx="7142">
                  <c:v>1764.738070917846</c:v>
                </c:pt>
                <c:pt idx="7143">
                  <c:v>1749.2339121552607</c:v>
                </c:pt>
                <c:pt idx="7144">
                  <c:v>1725.5216693418943</c:v>
                </c:pt>
                <c:pt idx="7145">
                  <c:v>1747.4098934773092</c:v>
                </c:pt>
                <c:pt idx="7146">
                  <c:v>1751.9699401721873</c:v>
                </c:pt>
                <c:pt idx="7147">
                  <c:v>1744.6738654603826</c:v>
                </c:pt>
                <c:pt idx="7148">
                  <c:v>1679.0091930541373</c:v>
                </c:pt>
                <c:pt idx="7149">
                  <c:v>1674.4491463592587</c:v>
                </c:pt>
                <c:pt idx="7150">
                  <c:v>1641.6168101561361</c:v>
                </c:pt>
                <c:pt idx="7151">
                  <c:v>1572.3041003939882</c:v>
                </c:pt>
                <c:pt idx="7152">
                  <c:v>1483.8391945133519</c:v>
                </c:pt>
                <c:pt idx="7153">
                  <c:v>1523.0555960893039</c:v>
                </c:pt>
                <c:pt idx="7154">
                  <c:v>1480.1911571574494</c:v>
                </c:pt>
                <c:pt idx="7155">
                  <c:v>1468.3350357507663</c:v>
                </c:pt>
                <c:pt idx="7156">
                  <c:v>1461.9509703779368</c:v>
                </c:pt>
                <c:pt idx="7157">
                  <c:v>1518.4955493944258</c:v>
                </c:pt>
                <c:pt idx="7158">
                  <c:v>1717.3135852911134</c:v>
                </c:pt>
                <c:pt idx="7159">
                  <c:v>1866.8831168831168</c:v>
                </c:pt>
                <c:pt idx="7160">
                  <c:v>1867.7951262220927</c:v>
                </c:pt>
                <c:pt idx="7161">
                  <c:v>1975.4122282212172</c:v>
                </c:pt>
                <c:pt idx="7162">
                  <c:v>1988.1803589668757</c:v>
                </c:pt>
                <c:pt idx="7163">
                  <c:v>2041.9889099664385</c:v>
                </c:pt>
                <c:pt idx="7164">
                  <c:v>2104.0055450167811</c:v>
                </c:pt>
                <c:pt idx="7165">
                  <c:v>2219.830731066686</c:v>
                </c:pt>
                <c:pt idx="7166">
                  <c:v>2012.8046111192182</c:v>
                </c:pt>
                <c:pt idx="7167">
                  <c:v>1860.4990515102877</c:v>
                </c:pt>
                <c:pt idx="7168">
                  <c:v>1772.0341456296514</c:v>
                </c:pt>
                <c:pt idx="7169">
                  <c:v>1772.0341456296514</c:v>
                </c:pt>
                <c:pt idx="7170">
                  <c:v>1728.2576973588211</c:v>
                </c:pt>
                <c:pt idx="7171">
                  <c:v>1714.5775572741866</c:v>
                </c:pt>
                <c:pt idx="7172">
                  <c:v>1751.9699401721875</c:v>
                </c:pt>
                <c:pt idx="7173">
                  <c:v>1971.7641908653145</c:v>
                </c:pt>
                <c:pt idx="7174">
                  <c:v>1938.0198453232163</c:v>
                </c:pt>
                <c:pt idx="7175">
                  <c:v>1865.0590982051658</c:v>
                </c:pt>
                <c:pt idx="7176">
                  <c:v>1828.5787246461405</c:v>
                </c:pt>
                <c:pt idx="7177">
                  <c:v>1763.8260615788706</c:v>
                </c:pt>
                <c:pt idx="7178">
                  <c:v>1751.9699401721875</c:v>
                </c:pt>
                <c:pt idx="7179">
                  <c:v>1751.9699401721875</c:v>
                </c:pt>
                <c:pt idx="7180">
                  <c:v>1829.4907339851161</c:v>
                </c:pt>
                <c:pt idx="7181">
                  <c:v>1939.8438640011677</c:v>
                </c:pt>
                <c:pt idx="7182">
                  <c:v>2041.0769006274627</c:v>
                </c:pt>
                <c:pt idx="7183">
                  <c:v>2046.5489566613167</c:v>
                </c:pt>
                <c:pt idx="7184">
                  <c:v>2161.4621333722457</c:v>
                </c:pt>
                <c:pt idx="7185">
                  <c:v>2219.830731066686</c:v>
                </c:pt>
                <c:pt idx="7186">
                  <c:v>2429.5928790310813</c:v>
                </c:pt>
                <c:pt idx="7187">
                  <c:v>2533.5619436743027</c:v>
                </c:pt>
                <c:pt idx="7188">
                  <c:v>2558.1861958266454</c:v>
                </c:pt>
                <c:pt idx="7189">
                  <c:v>2603.786662775427</c:v>
                </c:pt>
                <c:pt idx="7190">
                  <c:v>2624.7628775718672</c:v>
                </c:pt>
                <c:pt idx="7191">
                  <c:v>2393.112505472056</c:v>
                </c:pt>
                <c:pt idx="7192">
                  <c:v>2461.5132058952281</c:v>
                </c:pt>
                <c:pt idx="7193">
                  <c:v>2939.4060995184595</c:v>
                </c:pt>
                <c:pt idx="7194">
                  <c:v>2903.8377352984094</c:v>
                </c:pt>
                <c:pt idx="7195">
                  <c:v>3084.4155844155844</c:v>
                </c:pt>
                <c:pt idx="7196">
                  <c:v>2926.6379687728004</c:v>
                </c:pt>
                <c:pt idx="7197">
                  <c:v>2820.8448854516269</c:v>
                </c:pt>
                <c:pt idx="7198">
                  <c:v>2665.8032978257693</c:v>
                </c:pt>
                <c:pt idx="7199">
                  <c:v>2512.5857288778639</c:v>
                </c:pt>
                <c:pt idx="7200">
                  <c:v>2446.009047132643</c:v>
                </c:pt>
                <c:pt idx="7201">
                  <c:v>2415.9127389464466</c:v>
                </c:pt>
                <c:pt idx="7202">
                  <c:v>2429.5928790310813</c:v>
                </c:pt>
                <c:pt idx="7203">
                  <c:v>2409.5286735736181</c:v>
                </c:pt>
                <c:pt idx="7204">
                  <c:v>2487.0494673865464</c:v>
                </c:pt>
                <c:pt idx="7205">
                  <c:v>2653.9471764190866</c:v>
                </c:pt>
                <c:pt idx="7206">
                  <c:v>2807.164745366993</c:v>
                </c:pt>
                <c:pt idx="7207">
                  <c:v>2809.9007733839198</c:v>
                </c:pt>
                <c:pt idx="7208">
                  <c:v>2871.0966000291842</c:v>
                </c:pt>
                <c:pt idx="7209">
                  <c:v>2810.1743761856123</c:v>
                </c:pt>
                <c:pt idx="7210">
                  <c:v>2559.0070042317234</c:v>
                </c:pt>
                <c:pt idx="7211">
                  <c:v>2538.0307894352836</c:v>
                </c:pt>
                <c:pt idx="7212">
                  <c:v>2528.1810885743475</c:v>
                </c:pt>
                <c:pt idx="7213">
                  <c:v>2545.5092660148844</c:v>
                </c:pt>
                <c:pt idx="7214">
                  <c:v>2617.3756019261641</c:v>
                </c:pt>
                <c:pt idx="7215">
                  <c:v>2652.3967605428279</c:v>
                </c:pt>
                <c:pt idx="7216">
                  <c:v>2645.9214942361014</c:v>
                </c:pt>
                <c:pt idx="7217">
                  <c:v>2681.398657522253</c:v>
                </c:pt>
                <c:pt idx="7218">
                  <c:v>2686.232307018824</c:v>
                </c:pt>
                <c:pt idx="7219">
                  <c:v>2747.9753392674743</c:v>
                </c:pt>
                <c:pt idx="7220">
                  <c:v>2777.6156427841825</c:v>
                </c:pt>
                <c:pt idx="7221">
                  <c:v>2740.5880636217717</c:v>
                </c:pt>
                <c:pt idx="7222">
                  <c:v>2600.5034291551146</c:v>
                </c:pt>
                <c:pt idx="7223">
                  <c:v>2515.3217568947907</c:v>
                </c:pt>
                <c:pt idx="7224">
                  <c:v>2505.1984532321612</c:v>
                </c:pt>
                <c:pt idx="7225">
                  <c:v>2471.6365095578576</c:v>
                </c:pt>
                <c:pt idx="7226">
                  <c:v>2483.401430030644</c:v>
                </c:pt>
                <c:pt idx="7227">
                  <c:v>2514.4097475558151</c:v>
                </c:pt>
                <c:pt idx="7228">
                  <c:v>2603.0570553042467</c:v>
                </c:pt>
                <c:pt idx="7229">
                  <c:v>2870.1845906902095</c:v>
                </c:pt>
                <c:pt idx="7230">
                  <c:v>2974.8832628046116</c:v>
                </c:pt>
                <c:pt idx="7231">
                  <c:v>3004.2499635196268</c:v>
                </c:pt>
                <c:pt idx="7232">
                  <c:v>3017.8389026703635</c:v>
                </c:pt>
                <c:pt idx="7233">
                  <c:v>3017.8389026703635</c:v>
                </c:pt>
                <c:pt idx="7234">
                  <c:v>2953.998248942069</c:v>
                </c:pt>
                <c:pt idx="7235">
                  <c:v>2922.0779220779223</c:v>
                </c:pt>
                <c:pt idx="7236">
                  <c:v>2914.7818473661173</c:v>
                </c:pt>
                <c:pt idx="7237">
                  <c:v>2893.805632569678</c:v>
                </c:pt>
                <c:pt idx="7238">
                  <c:v>2941.2301181964108</c:v>
                </c:pt>
                <c:pt idx="7239">
                  <c:v>3011.4548372975341</c:v>
                </c:pt>
                <c:pt idx="7240">
                  <c:v>3095.3596964832923</c:v>
                </c:pt>
                <c:pt idx="7241">
                  <c:v>3146.4322194659276</c:v>
                </c:pt>
                <c:pt idx="7242">
                  <c:v>3144.6082007879763</c:v>
                </c:pt>
                <c:pt idx="7243">
                  <c:v>3182.9125930249529</c:v>
                </c:pt>
                <c:pt idx="7244">
                  <c:v>3207.5368451772952</c:v>
                </c:pt>
                <c:pt idx="7245">
                  <c:v>3176.5285276521231</c:v>
                </c:pt>
                <c:pt idx="7246">
                  <c:v>2981.3585291113377</c:v>
                </c:pt>
                <c:pt idx="7247">
                  <c:v>2845.4691376039696</c:v>
                </c:pt>
                <c:pt idx="7248">
                  <c:v>2754.2682037064064</c:v>
                </c:pt>
                <c:pt idx="7249">
                  <c:v>2779.8044651977234</c:v>
                </c:pt>
                <c:pt idx="7250">
                  <c:v>2787.1005399095288</c:v>
                </c:pt>
                <c:pt idx="7251">
                  <c:v>2834.5250255362612</c:v>
                </c:pt>
                <c:pt idx="7252">
                  <c:v>2862.7973150445059</c:v>
                </c:pt>
                <c:pt idx="7253">
                  <c:v>3064.3513789581207</c:v>
                </c:pt>
                <c:pt idx="7254">
                  <c:v>3073.4714723478774</c:v>
                </c:pt>
                <c:pt idx="7255">
                  <c:v>3136.4001167371953</c:v>
                </c:pt>
                <c:pt idx="7256">
                  <c:v>3163.7603969064644</c:v>
                </c:pt>
                <c:pt idx="7257">
                  <c:v>3130.9280607033415</c:v>
                </c:pt>
                <c:pt idx="7258">
                  <c:v>3081.6795563986575</c:v>
                </c:pt>
                <c:pt idx="7259">
                  <c:v>3099.9197431781704</c:v>
                </c:pt>
                <c:pt idx="7260">
                  <c:v>3039.7271268057789</c:v>
                </c:pt>
                <c:pt idx="7261">
                  <c:v>3019.6629213483147</c:v>
                </c:pt>
                <c:pt idx="7262">
                  <c:v>2973.1504450605576</c:v>
                </c:pt>
                <c:pt idx="7263">
                  <c:v>2936.6700715015327</c:v>
                </c:pt>
                <c:pt idx="7264">
                  <c:v>3036.0790894498759</c:v>
                </c:pt>
                <c:pt idx="7265">
                  <c:v>3128.1920326864147</c:v>
                </c:pt>
                <c:pt idx="7266">
                  <c:v>3186.5606303808554</c:v>
                </c:pt>
                <c:pt idx="7267">
                  <c:v>3250.4012841091489</c:v>
                </c:pt>
                <c:pt idx="7268">
                  <c:v>3344.3382460236394</c:v>
                </c:pt>
                <c:pt idx="7269">
                  <c:v>3292.3537137020285</c:v>
                </c:pt>
                <c:pt idx="7270">
                  <c:v>3134.576098059244</c:v>
                </c:pt>
                <c:pt idx="7271">
                  <c:v>3014.190865314461</c:v>
                </c:pt>
                <c:pt idx="7272">
                  <c:v>2960.3823143148988</c:v>
                </c:pt>
                <c:pt idx="7273">
                  <c:v>2808.0767547059686</c:v>
                </c:pt>
                <c:pt idx="7274">
                  <c:v>2792.572595943383</c:v>
                </c:pt>
                <c:pt idx="7275">
                  <c:v>2869.1813804173357</c:v>
                </c:pt>
                <c:pt idx="7276">
                  <c:v>2891.0696045527511</c:v>
                </c:pt>
                <c:pt idx="7277">
                  <c:v>2963.1183423318257</c:v>
                </c:pt>
                <c:pt idx="7278">
                  <c:v>2990.4786225010944</c:v>
                </c:pt>
                <c:pt idx="7279">
                  <c:v>3038.8151174668033</c:v>
                </c:pt>
                <c:pt idx="7280">
                  <c:v>3002.3347439077775</c:v>
                </c:pt>
                <c:pt idx="7281">
                  <c:v>2508.0256821829857</c:v>
                </c:pt>
                <c:pt idx="7282">
                  <c:v>3468.3715161243249</c:v>
                </c:pt>
                <c:pt idx="7283">
                  <c:v>2901.101707281483</c:v>
                </c:pt>
                <c:pt idx="7284">
                  <c:v>2777.068437180797</c:v>
                </c:pt>
                <c:pt idx="7285">
                  <c:v>2628.4109149277688</c:v>
                </c:pt>
                <c:pt idx="7286">
                  <c:v>2523.5298409455713</c:v>
                </c:pt>
                <c:pt idx="7287">
                  <c:v>2586.4584853348902</c:v>
                </c:pt>
                <c:pt idx="7288">
                  <c:v>2589.194513351817</c:v>
                </c:pt>
                <c:pt idx="7289">
                  <c:v>2599.2266160805489</c:v>
                </c:pt>
                <c:pt idx="7290">
                  <c:v>2558.1861958266454</c:v>
                </c:pt>
                <c:pt idx="7291">
                  <c:v>2522.6178316065957</c:v>
                </c:pt>
                <c:pt idx="7292">
                  <c:v>2489.7854954034733</c:v>
                </c:pt>
                <c:pt idx="7293">
                  <c:v>2466.9852619290823</c:v>
                </c:pt>
                <c:pt idx="7294">
                  <c:v>2340.2159638114695</c:v>
                </c:pt>
                <c:pt idx="7295">
                  <c:v>2321.975777031957</c:v>
                </c:pt>
                <c:pt idx="7296">
                  <c:v>2272.727272727273</c:v>
                </c:pt>
                <c:pt idx="7297">
                  <c:v>2241.7189552021014</c:v>
                </c:pt>
                <c:pt idx="7298">
                  <c:v>2187.9104042025392</c:v>
                </c:pt>
                <c:pt idx="7299">
                  <c:v>2206.1505909820521</c:v>
                </c:pt>
                <c:pt idx="7300">
                  <c:v>2275.4633007441998</c:v>
                </c:pt>
                <c:pt idx="7301">
                  <c:v>2534.4739530132788</c:v>
                </c:pt>
                <c:pt idx="7302">
                  <c:v>2713.227783452503</c:v>
                </c:pt>
                <c:pt idx="7303">
                  <c:v>2810.8127827228955</c:v>
                </c:pt>
                <c:pt idx="7304">
                  <c:v>2873.8326280461115</c:v>
                </c:pt>
                <c:pt idx="7305">
                  <c:v>2887.2391653290529</c:v>
                </c:pt>
                <c:pt idx="7306">
                  <c:v>2804.3375164161685</c:v>
                </c:pt>
                <c:pt idx="7307">
                  <c:v>2736.6664234641762</c:v>
                </c:pt>
                <c:pt idx="7308">
                  <c:v>2656.8656063038084</c:v>
                </c:pt>
                <c:pt idx="7309">
                  <c:v>2686.8707135561071</c:v>
                </c:pt>
                <c:pt idx="7310">
                  <c:v>2697.1764190865315</c:v>
                </c:pt>
                <c:pt idx="7311">
                  <c:v>2635.7069896395742</c:v>
                </c:pt>
                <c:pt idx="7312">
                  <c:v>2580.5304246315486</c:v>
                </c:pt>
                <c:pt idx="7313">
                  <c:v>2593.9369619144904</c:v>
                </c:pt>
                <c:pt idx="7314">
                  <c:v>2646.7423026411798</c:v>
                </c:pt>
                <c:pt idx="7315">
                  <c:v>2683.4962790018972</c:v>
                </c:pt>
                <c:pt idx="7316">
                  <c:v>2691.0659565153946</c:v>
                </c:pt>
                <c:pt idx="7317">
                  <c:v>2734.9336057201226</c:v>
                </c:pt>
                <c:pt idx="7318">
                  <c:v>2713.6837881219908</c:v>
                </c:pt>
                <c:pt idx="7319">
                  <c:v>2720.1590544287178</c:v>
                </c:pt>
                <c:pt idx="7320">
                  <c:v>2683.4962790018972</c:v>
                </c:pt>
                <c:pt idx="7321">
                  <c:v>2624.3068729023789</c:v>
                </c:pt>
                <c:pt idx="7322">
                  <c:v>2635.7069896395742</c:v>
                </c:pt>
                <c:pt idx="7323">
                  <c:v>2619.1996206041154</c:v>
                </c:pt>
                <c:pt idx="7324">
                  <c:v>2605.0634758499928</c:v>
                </c:pt>
                <c:pt idx="7325">
                  <c:v>2699.5476433678682</c:v>
                </c:pt>
                <c:pt idx="7326">
                  <c:v>2715.3254049321467</c:v>
                </c:pt>
                <c:pt idx="7327">
                  <c:v>2718.6086385524595</c:v>
                </c:pt>
                <c:pt idx="7328">
                  <c:v>2784.9117174959874</c:v>
                </c:pt>
                <c:pt idx="7329">
                  <c:v>2822.1216985261931</c:v>
                </c:pt>
                <c:pt idx="7330">
                  <c:v>2843.7363198599155</c:v>
                </c:pt>
                <c:pt idx="7331">
                  <c:v>2847.7491609514086</c:v>
                </c:pt>
                <c:pt idx="7332">
                  <c:v>2827.137749890559</c:v>
                </c:pt>
                <c:pt idx="7333">
                  <c:v>2830.238581643076</c:v>
                </c:pt>
                <c:pt idx="7334">
                  <c:v>2764.4827083029331</c:v>
                </c:pt>
                <c:pt idx="7335">
                  <c:v>2768.4955493944262</c:v>
                </c:pt>
                <c:pt idx="7336">
                  <c:v>2746.6985261929085</c:v>
                </c:pt>
                <c:pt idx="7337">
                  <c:v>2790.2925725959435</c:v>
                </c:pt>
                <c:pt idx="7338">
                  <c:v>2846.0163432073546</c:v>
                </c:pt>
                <c:pt idx="7339">
                  <c:v>2888.2423756019266</c:v>
                </c:pt>
                <c:pt idx="7340">
                  <c:v>2899.5512914052242</c:v>
                </c:pt>
                <c:pt idx="7341">
                  <c:v>2891.7992120239319</c:v>
                </c:pt>
                <c:pt idx="7342">
                  <c:v>2771.6875820808405</c:v>
                </c:pt>
                <c:pt idx="7343">
                  <c:v>2685.4114986137456</c:v>
                </c:pt>
                <c:pt idx="7344">
                  <c:v>2619.01721873632</c:v>
                </c:pt>
                <c:pt idx="7345">
                  <c:v>2548.1540930979131</c:v>
                </c:pt>
                <c:pt idx="7346">
                  <c:v>2494.3455420983514</c:v>
                </c:pt>
                <c:pt idx="7347">
                  <c:v>2459.3243834816872</c:v>
                </c:pt>
                <c:pt idx="7348">
                  <c:v>2452.8491171749597</c:v>
                </c:pt>
                <c:pt idx="7349">
                  <c:v>2505.1984532321612</c:v>
                </c:pt>
                <c:pt idx="7350">
                  <c:v>2540.4932146505184</c:v>
                </c:pt>
                <c:pt idx="7351">
                  <c:v>2554.2645556690504</c:v>
                </c:pt>
                <c:pt idx="7352">
                  <c:v>2567.6710929519913</c:v>
                </c:pt>
                <c:pt idx="7353">
                  <c:v>2630.6909382752078</c:v>
                </c:pt>
                <c:pt idx="7354">
                  <c:v>2651.6671530716476</c:v>
                </c:pt>
                <c:pt idx="7355">
                  <c:v>2617.1019991244716</c:v>
                </c:pt>
                <c:pt idx="7356">
                  <c:v>2566.0294761418359</c:v>
                </c:pt>
                <c:pt idx="7357">
                  <c:v>2551.2549248504306</c:v>
                </c:pt>
                <c:pt idx="7358">
                  <c:v>2537.3011819641038</c:v>
                </c:pt>
                <c:pt idx="7359">
                  <c:v>2530.917116591274</c:v>
                </c:pt>
                <c:pt idx="7360">
                  <c:v>2543.9588501386256</c:v>
                </c:pt>
                <c:pt idx="7361">
                  <c:v>2547.6068874945286</c:v>
                </c:pt>
                <c:pt idx="7362">
                  <c:v>2545.7828688165769</c:v>
                </c:pt>
                <c:pt idx="7363">
                  <c:v>2578.0679994163143</c:v>
                </c:pt>
                <c:pt idx="7364">
                  <c:v>2539.67240624544</c:v>
                </c:pt>
                <c:pt idx="7365">
                  <c:v>2557.0917846198749</c:v>
                </c:pt>
                <c:pt idx="7366">
                  <c:v>2415.4567342769597</c:v>
                </c:pt>
                <c:pt idx="7367">
                  <c:v>2412.7207062600323</c:v>
                </c:pt>
                <c:pt idx="7368">
                  <c:v>2352.0720852181526</c:v>
                </c:pt>
                <c:pt idx="7369">
                  <c:v>2316.5037209981033</c:v>
                </c:pt>
                <c:pt idx="7370">
                  <c:v>2277.2873194221506</c:v>
                </c:pt>
                <c:pt idx="7371">
                  <c:v>2312.3996789727125</c:v>
                </c:pt>
                <c:pt idx="7372">
                  <c:v>2325.1678097183717</c:v>
                </c:pt>
                <c:pt idx="7373">
                  <c:v>2444.1850284546917</c:v>
                </c:pt>
                <c:pt idx="7374">
                  <c:v>2574.1463592587188</c:v>
                </c:pt>
                <c:pt idx="7375">
                  <c:v>2648.9311250547207</c:v>
                </c:pt>
                <c:pt idx="7376">
                  <c:v>2676.7474098934777</c:v>
                </c:pt>
                <c:pt idx="7377">
                  <c:v>2404.0566175397639</c:v>
                </c:pt>
                <c:pt idx="7378">
                  <c:v>2382.1683934043485</c:v>
                </c:pt>
                <c:pt idx="7379">
                  <c:v>2427.7688603531301</c:v>
                </c:pt>
                <c:pt idx="7380">
                  <c:v>2651.2111484021598</c:v>
                </c:pt>
                <c:pt idx="7381">
                  <c:v>2796.7678389026705</c:v>
                </c:pt>
                <c:pt idx="7382">
                  <c:v>2981.814533780826</c:v>
                </c:pt>
                <c:pt idx="7383">
                  <c:v>2946.2461695607767</c:v>
                </c:pt>
                <c:pt idx="7384">
                  <c:v>3012.6404494382023</c:v>
                </c:pt>
                <c:pt idx="7385">
                  <c:v>2968.4991974317822</c:v>
                </c:pt>
                <c:pt idx="7386">
                  <c:v>2943.3277396760545</c:v>
                </c:pt>
                <c:pt idx="7387">
                  <c:v>2940.4093097913319</c:v>
                </c:pt>
                <c:pt idx="7388">
                  <c:v>2938.9500948489717</c:v>
                </c:pt>
                <c:pt idx="7389">
                  <c:v>2905.5705530424639</c:v>
                </c:pt>
                <c:pt idx="7390">
                  <c:v>2712.3157741135274</c:v>
                </c:pt>
                <c:pt idx="7391">
                  <c:v>2571.0455275062018</c:v>
                </c:pt>
                <c:pt idx="7392">
                  <c:v>2550.1605136436601</c:v>
                </c:pt>
                <c:pt idx="7393">
                  <c:v>2479.2973880052532</c:v>
                </c:pt>
                <c:pt idx="7394">
                  <c:v>2598.3146067415728</c:v>
                </c:pt>
                <c:pt idx="7395">
                  <c:v>2518.0577849117176</c:v>
                </c:pt>
                <c:pt idx="7396">
                  <c:v>2568.4919013570702</c:v>
                </c:pt>
                <c:pt idx="7397">
                  <c:v>2711.3125638406536</c:v>
                </c:pt>
                <c:pt idx="7398">
                  <c:v>2754.9978111775863</c:v>
                </c:pt>
                <c:pt idx="7399">
                  <c:v>2800.415876258573</c:v>
                </c:pt>
                <c:pt idx="7400">
                  <c:v>2795.3998248942071</c:v>
                </c:pt>
                <c:pt idx="7401">
                  <c:v>2799.3214650518025</c:v>
                </c:pt>
                <c:pt idx="7402">
                  <c:v>2824.9489274770176</c:v>
                </c:pt>
                <c:pt idx="7403">
                  <c:v>2805.3407266890417</c:v>
                </c:pt>
                <c:pt idx="7404">
                  <c:v>2827.0465489566618</c:v>
                </c:pt>
                <c:pt idx="7405">
                  <c:v>2838.9938712972416</c:v>
                </c:pt>
                <c:pt idx="7406">
                  <c:v>2912.1370202830876</c:v>
                </c:pt>
                <c:pt idx="7407">
                  <c:v>2960.0175105793082</c:v>
                </c:pt>
                <c:pt idx="7408">
                  <c:v>2933.204436013425</c:v>
                </c:pt>
                <c:pt idx="7409">
                  <c:v>2989.1106084926309</c:v>
                </c:pt>
                <c:pt idx="7410">
                  <c:v>3066.2665985699696</c:v>
                </c:pt>
                <c:pt idx="7411">
                  <c:v>3093.0796731358537</c:v>
                </c:pt>
                <c:pt idx="7412">
                  <c:v>3093.9916824748288</c:v>
                </c:pt>
                <c:pt idx="7413">
                  <c:v>3108.4014300306435</c:v>
                </c:pt>
                <c:pt idx="7414">
                  <c:v>2916.6058660440685</c:v>
                </c:pt>
                <c:pt idx="7415">
                  <c:v>2816.0112359550562</c:v>
                </c:pt>
                <c:pt idx="7416">
                  <c:v>2736.4840215963814</c:v>
                </c:pt>
                <c:pt idx="7417">
                  <c:v>2722.2566759083616</c:v>
                </c:pt>
                <c:pt idx="7418">
                  <c:v>2685.4114986137456</c:v>
                </c:pt>
                <c:pt idx="7419">
                  <c:v>2704.0164891288491</c:v>
                </c:pt>
                <c:pt idx="7420">
                  <c:v>2737.2136290675621</c:v>
                </c:pt>
                <c:pt idx="7421">
                  <c:v>2882.1319130307893</c:v>
                </c:pt>
                <c:pt idx="7422">
                  <c:v>2943.9661462133377</c:v>
                </c:pt>
                <c:pt idx="7423">
                  <c:v>3033.2518604990523</c:v>
                </c:pt>
                <c:pt idx="7424">
                  <c:v>3050.9448416751784</c:v>
                </c:pt>
                <c:pt idx="7425">
                  <c:v>3011.5460382314322</c:v>
                </c:pt>
                <c:pt idx="7426">
                  <c:v>2999.8723186925436</c:v>
                </c:pt>
                <c:pt idx="7427">
                  <c:v>2997.1362906756167</c:v>
                </c:pt>
                <c:pt idx="7428">
                  <c:v>2974.8832628046116</c:v>
                </c:pt>
                <c:pt idx="7429">
                  <c:v>2926.5467678389027</c:v>
                </c:pt>
                <c:pt idx="7430">
                  <c:v>2884.5943382460232</c:v>
                </c:pt>
                <c:pt idx="7431">
                  <c:v>2974.518459069021</c:v>
                </c:pt>
                <c:pt idx="7432">
                  <c:v>3095.4508974171895</c:v>
                </c:pt>
                <c:pt idx="7433">
                  <c:v>3164.946009047133</c:v>
                </c:pt>
                <c:pt idx="7434">
                  <c:v>3135.4881073982201</c:v>
                </c:pt>
                <c:pt idx="7435">
                  <c:v>3161.2067707573328</c:v>
                </c:pt>
                <c:pt idx="7436">
                  <c:v>3133.3904859185759</c:v>
                </c:pt>
                <c:pt idx="7437">
                  <c:v>3128.2832336203123</c:v>
                </c:pt>
                <c:pt idx="7438">
                  <c:v>2933.75164161681</c:v>
                </c:pt>
                <c:pt idx="7439">
                  <c:v>2807.9855537720705</c:v>
                </c:pt>
                <c:pt idx="7440">
                  <c:v>2783.7261053553193</c:v>
                </c:pt>
                <c:pt idx="7441">
                  <c:v>2859.7876842258866</c:v>
                </c:pt>
                <c:pt idx="7442">
                  <c:v>2877.8454691376041</c:v>
                </c:pt>
                <c:pt idx="7443">
                  <c:v>2927.6411790456737</c:v>
                </c:pt>
                <c:pt idx="7444">
                  <c:v>3043.2839632277837</c:v>
                </c:pt>
                <c:pt idx="7445">
                  <c:v>3249.4892747701742</c:v>
                </c:pt>
                <c:pt idx="7446">
                  <c:v>3282.3216109732966</c:v>
                </c:pt>
                <c:pt idx="7447">
                  <c:v>3289.4352838173063</c:v>
                </c:pt>
                <c:pt idx="7448">
                  <c:v>3583.2846928352551</c:v>
                </c:pt>
                <c:pt idx="7449">
                  <c:v>3557.7484313439372</c:v>
                </c:pt>
                <c:pt idx="7450">
                  <c:v>3537.6842258864735</c:v>
                </c:pt>
                <c:pt idx="7451">
                  <c:v>3557.7484313439372</c:v>
                </c:pt>
                <c:pt idx="7452">
                  <c:v>3399.0588063621772</c:v>
                </c:pt>
                <c:pt idx="7453">
                  <c:v>3342.5142273456881</c:v>
                </c:pt>
                <c:pt idx="7454">
                  <c:v>3389.9387129724219</c:v>
                </c:pt>
                <c:pt idx="7455">
                  <c:v>3395.4107690062747</c:v>
                </c:pt>
                <c:pt idx="7456">
                  <c:v>3408.1788997519334</c:v>
                </c:pt>
                <c:pt idx="7457">
                  <c:v>3438.2752079381294</c:v>
                </c:pt>
                <c:pt idx="7458">
                  <c:v>3484.787684225887</c:v>
                </c:pt>
                <c:pt idx="7459">
                  <c:v>3483.8756748869105</c:v>
                </c:pt>
                <c:pt idx="7460">
                  <c:v>3471.1075441412522</c:v>
                </c:pt>
                <c:pt idx="7461">
                  <c:v>3449.2193200058368</c:v>
                </c:pt>
                <c:pt idx="7462">
                  <c:v>3237.6331533634907</c:v>
                </c:pt>
                <c:pt idx="7463">
                  <c:v>3074.3834816868525</c:v>
                </c:pt>
                <c:pt idx="7464">
                  <c:v>2852.7652123157745</c:v>
                </c:pt>
                <c:pt idx="7465">
                  <c:v>2777.9804465197726</c:v>
                </c:pt>
                <c:pt idx="7466">
                  <c:v>2718.6998394863567</c:v>
                </c:pt>
                <c:pt idx="7467">
                  <c:v>2793.4846052823582</c:v>
                </c:pt>
                <c:pt idx="7468">
                  <c:v>2839.0850722311397</c:v>
                </c:pt>
                <c:pt idx="7469">
                  <c:v>2978.6225010944117</c:v>
                </c:pt>
                <c:pt idx="7470">
                  <c:v>3080.7675470596823</c:v>
                </c:pt>
                <c:pt idx="7471">
                  <c:v>3217.568947906027</c:v>
                </c:pt>
                <c:pt idx="7472">
                  <c:v>3343.4262366846638</c:v>
                </c:pt>
                <c:pt idx="7473">
                  <c:v>3111.7758645848535</c:v>
                </c:pt>
                <c:pt idx="7474">
                  <c:v>2999.5987158908506</c:v>
                </c:pt>
                <c:pt idx="7475">
                  <c:v>2953.9982489420699</c:v>
                </c:pt>
                <c:pt idx="7476">
                  <c:v>2928.4619874507512</c:v>
                </c:pt>
                <c:pt idx="7477">
                  <c:v>2898.3656792645561</c:v>
                </c:pt>
                <c:pt idx="7478">
                  <c:v>2893.805632569678</c:v>
                </c:pt>
                <c:pt idx="7479">
                  <c:v>2943.9661462133377</c:v>
                </c:pt>
                <c:pt idx="7480">
                  <c:v>2953.0862396030934</c:v>
                </c:pt>
                <c:pt idx="7481">
                  <c:v>2920.253903399971</c:v>
                </c:pt>
                <c:pt idx="7482">
                  <c:v>2943.0541368743616</c:v>
                </c:pt>
                <c:pt idx="7483">
                  <c:v>2934.8460528235814</c:v>
                </c:pt>
                <c:pt idx="7484">
                  <c:v>2886.5095578578726</c:v>
                </c:pt>
                <c:pt idx="7485">
                  <c:v>2735.1160075879175</c:v>
                </c:pt>
                <c:pt idx="7486">
                  <c:v>2542.6820370640598</c:v>
                </c:pt>
                <c:pt idx="7487">
                  <c:v>2483.401430030644</c:v>
                </c:pt>
                <c:pt idx="7488">
                  <c:v>2378.520356048446</c:v>
                </c:pt>
                <c:pt idx="7489">
                  <c:v>2314.679702320152</c:v>
                </c:pt>
                <c:pt idx="7490">
                  <c:v>2337.4799357945426</c:v>
                </c:pt>
                <c:pt idx="7491">
                  <c:v>2349.3360572012261</c:v>
                </c:pt>
                <c:pt idx="7492">
                  <c:v>2429.5928790310813</c:v>
                </c:pt>
                <c:pt idx="7493">
                  <c:v>2995.9506785349481</c:v>
                </c:pt>
                <c:pt idx="7494">
                  <c:v>2997.7746972128994</c:v>
                </c:pt>
                <c:pt idx="7495">
                  <c:v>2967.6783890267038</c:v>
                </c:pt>
                <c:pt idx="7496">
                  <c:v>3006.894790602656</c:v>
                </c:pt>
                <c:pt idx="7497">
                  <c:v>3047.0232015175839</c:v>
                </c:pt>
                <c:pt idx="7498">
                  <c:v>2572.7783452502558</c:v>
                </c:pt>
                <c:pt idx="7499">
                  <c:v>2391.2884867941057</c:v>
                </c:pt>
                <c:pt idx="7500">
                  <c:v>2363.9282066248361</c:v>
                </c:pt>
                <c:pt idx="7501">
                  <c:v>2549.9781117758653</c:v>
                </c:pt>
                <c:pt idx="7502">
                  <c:v>2554.5381584707434</c:v>
                </c:pt>
                <c:pt idx="7503">
                  <c:v>2478.8413833357654</c:v>
                </c:pt>
                <c:pt idx="7504">
                  <c:v>2447.8330658105938</c:v>
                </c:pt>
                <c:pt idx="7505">
                  <c:v>2421.3847949803007</c:v>
                </c:pt>
                <c:pt idx="7506">
                  <c:v>2407.7046548956664</c:v>
                </c:pt>
                <c:pt idx="7507">
                  <c:v>2411.3526922515684</c:v>
                </c:pt>
                <c:pt idx="7508">
                  <c:v>2424.1208229972276</c:v>
                </c:pt>
                <c:pt idx="7509">
                  <c:v>2359.368159929958</c:v>
                </c:pt>
                <c:pt idx="7510">
                  <c:v>2232.5988618123451</c:v>
                </c:pt>
                <c:pt idx="7511">
                  <c:v>2130.4538158470746</c:v>
                </c:pt>
                <c:pt idx="7512">
                  <c:v>2054.757040712097</c:v>
                </c:pt>
                <c:pt idx="7513">
                  <c:v>2078.4692835254637</c:v>
                </c:pt>
                <c:pt idx="7514">
                  <c:v>2090.3254049321467</c:v>
                </c:pt>
                <c:pt idx="7515">
                  <c:v>2078.4692835254637</c:v>
                </c:pt>
                <c:pt idx="7516">
                  <c:v>2074.8212461695607</c:v>
                </c:pt>
                <c:pt idx="7517">
                  <c:v>2141.397927914782</c:v>
                </c:pt>
                <c:pt idx="7518">
                  <c:v>2135.0138625419522</c:v>
                </c:pt>
                <c:pt idx="7519">
                  <c:v>2136.8378812199039</c:v>
                </c:pt>
                <c:pt idx="7520">
                  <c:v>2180.6143294907342</c:v>
                </c:pt>
                <c:pt idx="7521">
                  <c:v>2269.9912447103461</c:v>
                </c:pt>
                <c:pt idx="7522">
                  <c:v>2280.9353567780536</c:v>
                </c:pt>
                <c:pt idx="7523">
                  <c:v>2277.2873194221506</c:v>
                </c:pt>
                <c:pt idx="7524">
                  <c:v>2241.7189552021014</c:v>
                </c:pt>
                <c:pt idx="7525">
                  <c:v>2257.2231139646869</c:v>
                </c:pt>
                <c:pt idx="7526">
                  <c:v>2263.6071793375168</c:v>
                </c:pt>
                <c:pt idx="7527">
                  <c:v>2267.2552166934188</c:v>
                </c:pt>
                <c:pt idx="7528">
                  <c:v>2260.8711513205899</c:v>
                </c:pt>
                <c:pt idx="7529">
                  <c:v>2269.0792353713705</c:v>
                </c:pt>
                <c:pt idx="7530">
                  <c:v>2283.6713847949804</c:v>
                </c:pt>
                <c:pt idx="7531">
                  <c:v>2316.5037209981033</c:v>
                </c:pt>
                <c:pt idx="7532">
                  <c:v>2333.8318984386401</c:v>
                </c:pt>
                <c:pt idx="7533">
                  <c:v>2359.368159929958</c:v>
                </c:pt>
                <c:pt idx="7534">
                  <c:v>2353.8961038961043</c:v>
                </c:pt>
                <c:pt idx="7535">
                  <c:v>2290.9674595067854</c:v>
                </c:pt>
                <c:pt idx="7536">
                  <c:v>2288.2314314898586</c:v>
                </c:pt>
                <c:pt idx="7537">
                  <c:v>2290.0554501678098</c:v>
                </c:pt>
                <c:pt idx="7538">
                  <c:v>2273.6392820662486</c:v>
                </c:pt>
                <c:pt idx="7539">
                  <c:v>2246.2790018969795</c:v>
                </c:pt>
                <c:pt idx="7540">
                  <c:v>2302.8235809134685</c:v>
                </c:pt>
                <c:pt idx="7541">
                  <c:v>2527.1778783014743</c:v>
                </c:pt>
                <c:pt idx="7542">
                  <c:v>2799.868670655188</c:v>
                </c:pt>
                <c:pt idx="7543">
                  <c:v>2946.7021742302645</c:v>
                </c:pt>
                <c:pt idx="7544">
                  <c:v>2967.6783890267038</c:v>
                </c:pt>
                <c:pt idx="7545">
                  <c:v>2953.0862396030939</c:v>
                </c:pt>
                <c:pt idx="7546">
                  <c:v>2953.998248942069</c:v>
                </c:pt>
                <c:pt idx="7547">
                  <c:v>2895.6296512476292</c:v>
                </c:pt>
                <c:pt idx="7548">
                  <c:v>2926.6379687728004</c:v>
                </c:pt>
                <c:pt idx="7549">
                  <c:v>2912.0458193491904</c:v>
                </c:pt>
                <c:pt idx="7550">
                  <c:v>2912.9578286881656</c:v>
                </c:pt>
                <c:pt idx="7551">
                  <c:v>2951.2622209251426</c:v>
                </c:pt>
                <c:pt idx="7552">
                  <c:v>2871.9174084342626</c:v>
                </c:pt>
                <c:pt idx="7553">
                  <c:v>2940.3181088574347</c:v>
                </c:pt>
                <c:pt idx="7554">
                  <c:v>2833.613016197286</c:v>
                </c:pt>
                <c:pt idx="7555">
                  <c:v>2879.2134831460676</c:v>
                </c:pt>
                <c:pt idx="7556">
                  <c:v>2898.3656792645561</c:v>
                </c:pt>
                <c:pt idx="7557">
                  <c:v>2846.3811469429452</c:v>
                </c:pt>
                <c:pt idx="7558">
                  <c:v>2663.9792791478189</c:v>
                </c:pt>
                <c:pt idx="7559">
                  <c:v>2486.1374580475708</c:v>
                </c:pt>
                <c:pt idx="7560">
                  <c:v>2454.2171311834236</c:v>
                </c:pt>
                <c:pt idx="7561">
                  <c:v>2438.7129724208376</c:v>
                </c:pt>
                <c:pt idx="7562">
                  <c:v>2427.7688603531301</c:v>
                </c:pt>
                <c:pt idx="7563">
                  <c:v>2425.0328323362032</c:v>
                </c:pt>
                <c:pt idx="7564">
                  <c:v>2465.1612432511311</c:v>
                </c:pt>
                <c:pt idx="7565">
                  <c:v>2597.4025974025976</c:v>
                </c:pt>
                <c:pt idx="7566">
                  <c:v>2788.0125492485045</c:v>
                </c:pt>
                <c:pt idx="7567">
                  <c:v>2849.1171749598716</c:v>
                </c:pt>
                <c:pt idx="7568">
                  <c:v>2879.2134831460676</c:v>
                </c:pt>
                <c:pt idx="7569">
                  <c:v>2847.7491609514086</c:v>
                </c:pt>
                <c:pt idx="7570">
                  <c:v>2888.3335765358238</c:v>
                </c:pt>
                <c:pt idx="7571">
                  <c:v>2837.2610535531885</c:v>
                </c:pt>
                <c:pt idx="7572">
                  <c:v>2734.2039982489423</c:v>
                </c:pt>
                <c:pt idx="7573">
                  <c:v>2637.9870129870128</c:v>
                </c:pt>
                <c:pt idx="7574">
                  <c:v>2571.4103312417919</c:v>
                </c:pt>
                <c:pt idx="7575">
                  <c:v>2657.1392091055013</c:v>
                </c:pt>
                <c:pt idx="7576">
                  <c:v>2653.035167080111</c:v>
                </c:pt>
                <c:pt idx="7577">
                  <c:v>2670.3633445206474</c:v>
                </c:pt>
                <c:pt idx="7578">
                  <c:v>2685.8675032832334</c:v>
                </c:pt>
                <c:pt idx="7579">
                  <c:v>2658.9632277834521</c:v>
                </c:pt>
                <c:pt idx="7580">
                  <c:v>2665.3472931562824</c:v>
                </c:pt>
                <c:pt idx="7581">
                  <c:v>2580.5304246315486</c:v>
                </c:pt>
                <c:pt idx="7582">
                  <c:v>2359.368159929958</c:v>
                </c:pt>
                <c:pt idx="7583">
                  <c:v>2250.3830439223698</c:v>
                </c:pt>
                <c:pt idx="7584">
                  <c:v>2123.6137458047569</c:v>
                </c:pt>
                <c:pt idx="7585">
                  <c:v>2095.3414562965127</c:v>
                </c:pt>
                <c:pt idx="7586">
                  <c:v>2090.3254049321467</c:v>
                </c:pt>
                <c:pt idx="7587">
                  <c:v>2059.7730920764629</c:v>
                </c:pt>
                <c:pt idx="7588">
                  <c:v>2101.2695169998542</c:v>
                </c:pt>
                <c:pt idx="7589">
                  <c:v>2266.3432073544436</c:v>
                </c:pt>
                <c:pt idx="7590">
                  <c:v>2499.8175981322051</c:v>
                </c:pt>
                <c:pt idx="7591">
                  <c:v>2608.3467094703051</c:v>
                </c:pt>
                <c:pt idx="7592">
                  <c:v>2659.4192324529404</c:v>
                </c:pt>
                <c:pt idx="7593">
                  <c:v>2636.6189989785498</c:v>
                </c:pt>
                <c:pt idx="7594">
                  <c:v>2570.9543265723046</c:v>
                </c:pt>
                <c:pt idx="7595">
                  <c:v>2475.1933459798629</c:v>
                </c:pt>
                <c:pt idx="7596">
                  <c:v>2356.6321319130311</c:v>
                </c:pt>
                <c:pt idx="7597">
                  <c:v>2280.023347439078</c:v>
                </c:pt>
                <c:pt idx="7598">
                  <c:v>2149.6060119655626</c:v>
                </c:pt>
                <c:pt idx="7599">
                  <c:v>2120.4217131183423</c:v>
                </c:pt>
                <c:pt idx="7600">
                  <c:v>2361.1921786079092</c:v>
                </c:pt>
                <c:pt idx="7601">
                  <c:v>2348.4240478622501</c:v>
                </c:pt>
                <c:pt idx="7602">
                  <c:v>2346.6000291842988</c:v>
                </c:pt>
                <c:pt idx="7603">
                  <c:v>2321.0637676929814</c:v>
                </c:pt>
                <c:pt idx="7604">
                  <c:v>2332.0078797606889</c:v>
                </c:pt>
                <c:pt idx="7605">
                  <c:v>2269.9912447103461</c:v>
                </c:pt>
                <c:pt idx="7606">
                  <c:v>1987.2683496279003</c:v>
                </c:pt>
                <c:pt idx="7607">
                  <c:v>1852.2909674595069</c:v>
                </c:pt>
                <c:pt idx="7608">
                  <c:v>1723.697650663943</c:v>
                </c:pt>
                <c:pt idx="7609">
                  <c:v>1720.9616226470157</c:v>
                </c:pt>
                <c:pt idx="7610">
                  <c:v>1710.0175105793085</c:v>
                </c:pt>
                <c:pt idx="7611">
                  <c:v>1701.8094265285281</c:v>
                </c:pt>
                <c:pt idx="7612">
                  <c:v>1686.3052677659423</c:v>
                </c:pt>
                <c:pt idx="7613">
                  <c:v>1714.5775572741866</c:v>
                </c:pt>
                <c:pt idx="7614">
                  <c:v>1876.9152196118491</c:v>
                </c:pt>
                <c:pt idx="7615">
                  <c:v>1896.979425069313</c:v>
                </c:pt>
                <c:pt idx="7616">
                  <c:v>2026.4847512038523</c:v>
                </c:pt>
                <c:pt idx="7617">
                  <c:v>2010.0685831022909</c:v>
                </c:pt>
                <c:pt idx="7618">
                  <c:v>1991.3723916532906</c:v>
                </c:pt>
                <c:pt idx="7619">
                  <c:v>2001.8604990515105</c:v>
                </c:pt>
                <c:pt idx="7620">
                  <c:v>2017.3646578140961</c:v>
                </c:pt>
                <c:pt idx="7621">
                  <c:v>1931.6357799503864</c:v>
                </c:pt>
                <c:pt idx="7622">
                  <c:v>1907.4675324675325</c:v>
                </c:pt>
                <c:pt idx="7623">
                  <c:v>1869.1631402305559</c:v>
                </c:pt>
                <c:pt idx="7624">
                  <c:v>1904.6403035167084</c:v>
                </c:pt>
                <c:pt idx="7625">
                  <c:v>1989.639573909237</c:v>
                </c:pt>
                <c:pt idx="7626">
                  <c:v>2122.7017364657813</c:v>
                </c:pt>
                <c:pt idx="7627">
                  <c:v>2221.6547497446377</c:v>
                </c:pt>
                <c:pt idx="7628">
                  <c:v>2335.1999124471035</c:v>
                </c:pt>
                <c:pt idx="7629">
                  <c:v>2392.6565008025686</c:v>
                </c:pt>
                <c:pt idx="7630">
                  <c:v>2290.5114548372976</c:v>
                </c:pt>
                <c:pt idx="7631">
                  <c:v>2165.1101707281487</c:v>
                </c:pt>
                <c:pt idx="7632">
                  <c:v>2071.629213483146</c:v>
                </c:pt>
                <c:pt idx="7633">
                  <c:v>2057.4930687290239</c:v>
                </c:pt>
                <c:pt idx="7634">
                  <c:v>2107.1975777031962</c:v>
                </c:pt>
                <c:pt idx="7635">
                  <c:v>2180.6143294907338</c:v>
                </c:pt>
                <c:pt idx="7636">
                  <c:v>2257.2231139646869</c:v>
                </c:pt>
                <c:pt idx="7637">
                  <c:v>2400.4085801838614</c:v>
                </c:pt>
                <c:pt idx="7638">
                  <c:v>2625.2188822413545</c:v>
                </c:pt>
                <c:pt idx="7639">
                  <c:v>2847.7491609514086</c:v>
                </c:pt>
                <c:pt idx="7640">
                  <c:v>2978.2576973588211</c:v>
                </c:pt>
                <c:pt idx="7641">
                  <c:v>3048.3912155260473</c:v>
                </c:pt>
                <c:pt idx="7642">
                  <c:v>3004.1587625857287</c:v>
                </c:pt>
                <c:pt idx="7643">
                  <c:v>2867.8133664088718</c:v>
                </c:pt>
                <c:pt idx="7644">
                  <c:v>2894.7176419086531</c:v>
                </c:pt>
                <c:pt idx="7645">
                  <c:v>2808.0767547059681</c:v>
                </c:pt>
                <c:pt idx="7646">
                  <c:v>2804.4287173500661</c:v>
                </c:pt>
                <c:pt idx="7647">
                  <c:v>2828.5969648329201</c:v>
                </c:pt>
                <c:pt idx="7648">
                  <c:v>2849.5731796293594</c:v>
                </c:pt>
                <c:pt idx="7649">
                  <c:v>2992.3026411790461</c:v>
                </c:pt>
                <c:pt idx="7650">
                  <c:v>3100.7405515832484</c:v>
                </c:pt>
                <c:pt idx="7651">
                  <c:v>3023.7669633737046</c:v>
                </c:pt>
                <c:pt idx="7652">
                  <c:v>2922.5339267474105</c:v>
                </c:pt>
                <c:pt idx="7653">
                  <c:v>2896.6328615205025</c:v>
                </c:pt>
                <c:pt idx="7654">
                  <c:v>2838.9938712972416</c:v>
                </c:pt>
                <c:pt idx="7655">
                  <c:v>2763.8443017656505</c:v>
                </c:pt>
                <c:pt idx="7656">
                  <c:v>2594.6665693856703</c:v>
                </c:pt>
                <c:pt idx="7657">
                  <c:v>2597.8586020720859</c:v>
                </c:pt>
                <c:pt idx="7658">
                  <c:v>2552.2581351233043</c:v>
                </c:pt>
                <c:pt idx="7659">
                  <c:v>2546.3300744199619</c:v>
                </c:pt>
                <c:pt idx="7660">
                  <c:v>2543.594046403035</c:v>
                </c:pt>
                <c:pt idx="7661">
                  <c:v>2630.6909382752078</c:v>
                </c:pt>
                <c:pt idx="7662">
                  <c:v>2617.9228075295496</c:v>
                </c:pt>
                <c:pt idx="7663">
                  <c:v>2518.0577849117176</c:v>
                </c:pt>
                <c:pt idx="7664">
                  <c:v>2603.786662775427</c:v>
                </c:pt>
                <c:pt idx="7665">
                  <c:v>2636.6189989785498</c:v>
                </c:pt>
                <c:pt idx="7666">
                  <c:v>2754.7242083758942</c:v>
                </c:pt>
                <c:pt idx="7667">
                  <c:v>2790.7485772654313</c:v>
                </c:pt>
                <c:pt idx="7668">
                  <c:v>2759.2842550707724</c:v>
                </c:pt>
                <c:pt idx="7669">
                  <c:v>2790.2925725959435</c:v>
                </c:pt>
                <c:pt idx="7670">
                  <c:v>2746.5161243251132</c:v>
                </c:pt>
                <c:pt idx="7671">
                  <c:v>2777.5244418502848</c:v>
                </c:pt>
                <c:pt idx="7672">
                  <c:v>2794.8526192908216</c:v>
                </c:pt>
                <c:pt idx="7673">
                  <c:v>2835.8930395447251</c:v>
                </c:pt>
                <c:pt idx="7674">
                  <c:v>2868.2693710783601</c:v>
                </c:pt>
                <c:pt idx="7675">
                  <c:v>2828.5969648329201</c:v>
                </c:pt>
                <c:pt idx="7676">
                  <c:v>2824.4929228075302</c:v>
                </c:pt>
                <c:pt idx="7677">
                  <c:v>2804.8847220195539</c:v>
                </c:pt>
                <c:pt idx="7678">
                  <c:v>2601.0506347585001</c:v>
                </c:pt>
                <c:pt idx="7679">
                  <c:v>2425.0328323362032</c:v>
                </c:pt>
                <c:pt idx="7680">
                  <c:v>2412.3559025244422</c:v>
                </c:pt>
                <c:pt idx="7681">
                  <c:v>2342.9519918283963</c:v>
                </c:pt>
                <c:pt idx="7682">
                  <c:v>2282.7593754560053</c:v>
                </c:pt>
                <c:pt idx="7683">
                  <c:v>2270.4472493798339</c:v>
                </c:pt>
                <c:pt idx="7684">
                  <c:v>2270.9032540493217</c:v>
                </c:pt>
                <c:pt idx="7685">
                  <c:v>2315.5917116591272</c:v>
                </c:pt>
                <c:pt idx="7686">
                  <c:v>2254.0310812782727</c:v>
                </c:pt>
                <c:pt idx="7687">
                  <c:v>2232.1428571428573</c:v>
                </c:pt>
                <c:pt idx="7688">
                  <c:v>2238.5269225156862</c:v>
                </c:pt>
                <c:pt idx="7689">
                  <c:v>2221.6547497446372</c:v>
                </c:pt>
                <c:pt idx="7690">
                  <c:v>2031.9568072377062</c:v>
                </c:pt>
                <c:pt idx="7691">
                  <c:v>2229.8628337954183</c:v>
                </c:pt>
                <c:pt idx="7692">
                  <c:v>2258.1351233036626</c:v>
                </c:pt>
                <c:pt idx="7693">
                  <c:v>2260.4151466511016</c:v>
                </c:pt>
                <c:pt idx="7694">
                  <c:v>2222.5667590836133</c:v>
                </c:pt>
                <c:pt idx="7695">
                  <c:v>2210.1634320735443</c:v>
                </c:pt>
                <c:pt idx="7696">
                  <c:v>2254.4870859477601</c:v>
                </c:pt>
                <c:pt idx="7697">
                  <c:v>2384.9044214212754</c:v>
                </c:pt>
                <c:pt idx="7698">
                  <c:v>2483.8574347001318</c:v>
                </c:pt>
                <c:pt idx="7699">
                  <c:v>2594.2105647161834</c:v>
                </c:pt>
                <c:pt idx="7700">
                  <c:v>2605.6106814533782</c:v>
                </c:pt>
                <c:pt idx="7701">
                  <c:v>2597.4025974025976</c:v>
                </c:pt>
                <c:pt idx="7702">
                  <c:v>2446.9210564716182</c:v>
                </c:pt>
                <c:pt idx="7703">
                  <c:v>2333.8318984386401</c:v>
                </c:pt>
                <c:pt idx="7704">
                  <c:v>2295.5275062016635</c:v>
                </c:pt>
                <c:pt idx="7705">
                  <c:v>2272.727272727273</c:v>
                </c:pt>
                <c:pt idx="7706">
                  <c:v>2213.9026703633444</c:v>
                </c:pt>
                <c:pt idx="7707">
                  <c:v>2232.5988618123451</c:v>
                </c:pt>
                <c:pt idx="7708">
                  <c:v>2265.4311980154675</c:v>
                </c:pt>
                <c:pt idx="7709">
                  <c:v>2266.799212023931</c:v>
                </c:pt>
                <c:pt idx="7710">
                  <c:v>2637.4398073836278</c:v>
                </c:pt>
                <c:pt idx="7711">
                  <c:v>2793.940609951846</c:v>
                </c:pt>
                <c:pt idx="7712">
                  <c:v>2869.1813804173357</c:v>
                </c:pt>
                <c:pt idx="7713">
                  <c:v>2931.1980154676785</c:v>
                </c:pt>
                <c:pt idx="7714">
                  <c:v>2874.6534364511895</c:v>
                </c:pt>
                <c:pt idx="7715">
                  <c:v>2784.364511892602</c:v>
                </c:pt>
                <c:pt idx="7716">
                  <c:v>2624.7628775718667</c:v>
                </c:pt>
                <c:pt idx="7717">
                  <c:v>2503.4656354881076</c:v>
                </c:pt>
                <c:pt idx="7718">
                  <c:v>2406.7926455566903</c:v>
                </c:pt>
                <c:pt idx="7719">
                  <c:v>2383.0804027433242</c:v>
                </c:pt>
                <c:pt idx="7720">
                  <c:v>2301.9115715744933</c:v>
                </c:pt>
                <c:pt idx="7721">
                  <c:v>2479.753392674741</c:v>
                </c:pt>
                <c:pt idx="7722">
                  <c:v>2544.5060557420111</c:v>
                </c:pt>
                <c:pt idx="7723">
                  <c:v>2509.849700860937</c:v>
                </c:pt>
                <c:pt idx="7724">
                  <c:v>2427.7688603531305</c:v>
                </c:pt>
                <c:pt idx="7725">
                  <c:v>2371.2242813366411</c:v>
                </c:pt>
                <c:pt idx="7726">
                  <c:v>2210.7106376769298</c:v>
                </c:pt>
                <c:pt idx="7727">
                  <c:v>2104.0055450167811</c:v>
                </c:pt>
                <c:pt idx="7728">
                  <c:v>2102.1815263388298</c:v>
                </c:pt>
                <c:pt idx="7729">
                  <c:v>2080.2933022034144</c:v>
                </c:pt>
                <c:pt idx="7730">
                  <c:v>2034.6928352546336</c:v>
                </c:pt>
                <c:pt idx="7731">
                  <c:v>2055.6690500510726</c:v>
                </c:pt>
                <c:pt idx="7732">
                  <c:v>2041.0769006274627</c:v>
                </c:pt>
                <c:pt idx="7733">
                  <c:v>2123.1577411352696</c:v>
                </c:pt>
                <c:pt idx="7734">
                  <c:v>2329.271851743762</c:v>
                </c:pt>
                <c:pt idx="7735">
                  <c:v>2405.8806362177152</c:v>
                </c:pt>
                <c:pt idx="7736">
                  <c:v>2391.2884867941048</c:v>
                </c:pt>
                <c:pt idx="7737">
                  <c:v>2433.2409163869834</c:v>
                </c:pt>
                <c:pt idx="7738">
                  <c:v>2424.1208229972276</c:v>
                </c:pt>
                <c:pt idx="7739">
                  <c:v>2431.4168977090326</c:v>
                </c:pt>
                <c:pt idx="7740">
                  <c:v>2404.0566175397639</c:v>
                </c:pt>
                <c:pt idx="7741">
                  <c:v>2380.8003793958851</c:v>
                </c:pt>
                <c:pt idx="7742">
                  <c:v>2381.7123887348607</c:v>
                </c:pt>
                <c:pt idx="7743">
                  <c:v>2345.6880198453232</c:v>
                </c:pt>
                <c:pt idx="7744">
                  <c:v>2428.6808696921057</c:v>
                </c:pt>
                <c:pt idx="7745">
                  <c:v>2466.0732525901067</c:v>
                </c:pt>
                <c:pt idx="7746">
                  <c:v>2466.5292572595945</c:v>
                </c:pt>
                <c:pt idx="7747">
                  <c:v>2478.3853786662776</c:v>
                </c:pt>
                <c:pt idx="7748">
                  <c:v>2503.4656354881076</c:v>
                </c:pt>
                <c:pt idx="7749">
                  <c:v>2505.7456588355462</c:v>
                </c:pt>
                <c:pt idx="7750">
                  <c:v>2437.3449584123741</c:v>
                </c:pt>
                <c:pt idx="7751">
                  <c:v>2342.4959871589085</c:v>
                </c:pt>
                <c:pt idx="7752">
                  <c:v>2271.3592587188095</c:v>
                </c:pt>
                <c:pt idx="7753">
                  <c:v>2240.8069458631257</c:v>
                </c:pt>
                <c:pt idx="7754">
                  <c:v>2250.0182401867796</c:v>
                </c:pt>
                <c:pt idx="7755">
                  <c:v>2240.8069458631257</c:v>
                </c:pt>
                <c:pt idx="7756">
                  <c:v>2257.2231139646869</c:v>
                </c:pt>
                <c:pt idx="7757">
                  <c:v>2431.4168977090326</c:v>
                </c:pt>
                <c:pt idx="7758">
                  <c:v>2534.9299576827671</c:v>
                </c:pt>
                <c:pt idx="7759">
                  <c:v>2557.7301911571576</c:v>
                </c:pt>
                <c:pt idx="7760">
                  <c:v>2570.9543265723041</c:v>
                </c:pt>
                <c:pt idx="7761">
                  <c:v>2750.620166350504</c:v>
                </c:pt>
                <c:pt idx="7762">
                  <c:v>2719.6118488253323</c:v>
                </c:pt>
                <c:pt idx="7763">
                  <c:v>2687.6915219611856</c:v>
                </c:pt>
                <c:pt idx="7764">
                  <c:v>2660.3312417919165</c:v>
                </c:pt>
                <c:pt idx="7765">
                  <c:v>2663.0672698088429</c:v>
                </c:pt>
                <c:pt idx="7766">
                  <c:v>2641.1790456734284</c:v>
                </c:pt>
                <c:pt idx="7767">
                  <c:v>2643.9150736903553</c:v>
                </c:pt>
                <c:pt idx="7768">
                  <c:v>2683.1314752663066</c:v>
                </c:pt>
                <c:pt idx="7769">
                  <c:v>2688.6035313001607</c:v>
                </c:pt>
                <c:pt idx="7770">
                  <c:v>2739.676054282796</c:v>
                </c:pt>
                <c:pt idx="7771">
                  <c:v>2743.3240916386985</c:v>
                </c:pt>
                <c:pt idx="7772">
                  <c:v>2721.4358675032831</c:v>
                </c:pt>
                <c:pt idx="7773">
                  <c:v>2711.4037647745508</c:v>
                </c:pt>
                <c:pt idx="7774">
                  <c:v>2558.1861958266454</c:v>
                </c:pt>
                <c:pt idx="7775">
                  <c:v>2429.5928790310813</c:v>
                </c:pt>
                <c:pt idx="7776">
                  <c:v>2364.8402159638117</c:v>
                </c:pt>
                <c:pt idx="7777">
                  <c:v>2311.0316649642491</c:v>
                </c:pt>
                <c:pt idx="7778">
                  <c:v>2294.6154968626884</c:v>
                </c:pt>
                <c:pt idx="7779">
                  <c:v>2293.7034875237123</c:v>
                </c:pt>
                <c:pt idx="7780">
                  <c:v>2295.5275062016635</c:v>
                </c:pt>
                <c:pt idx="7781">
                  <c:v>2462.4252152342042</c:v>
                </c:pt>
                <c:pt idx="7782">
                  <c:v>2654.8591857580623</c:v>
                </c:pt>
                <c:pt idx="7783">
                  <c:v>2730.5559608930394</c:v>
                </c:pt>
                <c:pt idx="7784">
                  <c:v>2860.0612870275795</c:v>
                </c:pt>
                <c:pt idx="7785">
                  <c:v>3089.4316357799503</c:v>
                </c:pt>
                <c:pt idx="7786">
                  <c:v>3058.8793229242669</c:v>
                </c:pt>
                <c:pt idx="7787">
                  <c:v>2982.726543119802</c:v>
                </c:pt>
                <c:pt idx="7788">
                  <c:v>2924.8139500948491</c:v>
                </c:pt>
                <c:pt idx="7789">
                  <c:v>2797.5886473077485</c:v>
                </c:pt>
                <c:pt idx="7790">
                  <c:v>2694.9875966729901</c:v>
                </c:pt>
                <c:pt idx="7791">
                  <c:v>2677.6594192324533</c:v>
                </c:pt>
                <c:pt idx="7792">
                  <c:v>2695.0787976068873</c:v>
                </c:pt>
                <c:pt idx="7793">
                  <c:v>2778.3452502553628</c:v>
                </c:pt>
                <c:pt idx="7794">
                  <c:v>2723.7158908507222</c:v>
                </c:pt>
                <c:pt idx="7795">
                  <c:v>2796.2206332992855</c:v>
                </c:pt>
                <c:pt idx="7796">
                  <c:v>2803.8815117466802</c:v>
                </c:pt>
                <c:pt idx="7797">
                  <c:v>2851.8532029767985</c:v>
                </c:pt>
                <c:pt idx="7798">
                  <c:v>2687.6915219611847</c:v>
                </c:pt>
                <c:pt idx="7799">
                  <c:v>2644.3710783598426</c:v>
                </c:pt>
                <c:pt idx="7800">
                  <c:v>2607.8907048008173</c:v>
                </c:pt>
                <c:pt idx="7801">
                  <c:v>2587.3704946738653</c:v>
                </c:pt>
                <c:pt idx="7802">
                  <c:v>2570.0423172333285</c:v>
                </c:pt>
                <c:pt idx="7803">
                  <c:v>2594.2105647161825</c:v>
                </c:pt>
                <c:pt idx="7804">
                  <c:v>2661.6992558003799</c:v>
                </c:pt>
                <c:pt idx="7805">
                  <c:v>2993.2146505180212</c:v>
                </c:pt>
                <c:pt idx="7806">
                  <c:v>3077.1195097037794</c:v>
                </c:pt>
                <c:pt idx="7807">
                  <c:v>3185.192616372392</c:v>
                </c:pt>
                <c:pt idx="7808">
                  <c:v>3213.0089012111489</c:v>
                </c:pt>
                <c:pt idx="7809">
                  <c:v>3223.9530132788559</c:v>
                </c:pt>
                <c:pt idx="7810">
                  <c:v>3243.1052093973444</c:v>
                </c:pt>
                <c:pt idx="7811">
                  <c:v>3275.9375456004673</c:v>
                </c:pt>
                <c:pt idx="7812">
                  <c:v>3315.153947176419</c:v>
                </c:pt>
                <c:pt idx="7813">
                  <c:v>3390.850722311397</c:v>
                </c:pt>
                <c:pt idx="7814">
                  <c:v>3455.6033853786666</c:v>
                </c:pt>
                <c:pt idx="7815">
                  <c:v>3504.8518896833502</c:v>
                </c:pt>
                <c:pt idx="7816">
                  <c:v>3618.8530570553044</c:v>
                </c:pt>
                <c:pt idx="7817">
                  <c:v>3664.4535240040859</c:v>
                </c:pt>
                <c:pt idx="7818">
                  <c:v>3594.2288049029626</c:v>
                </c:pt>
                <c:pt idx="7819">
                  <c:v>3558.6604406829128</c:v>
                </c:pt>
                <c:pt idx="7820">
                  <c:v>3567.7805340726691</c:v>
                </c:pt>
                <c:pt idx="7821">
                  <c:v>3500.2918429884721</c:v>
                </c:pt>
                <c:pt idx="7822">
                  <c:v>3287.7936670071504</c:v>
                </c:pt>
                <c:pt idx="7823">
                  <c:v>3161.9363782285131</c:v>
                </c:pt>
                <c:pt idx="7824">
                  <c:v>3045.1991828396331</c:v>
                </c:pt>
                <c:pt idx="7825">
                  <c:v>2946.7021742302645</c:v>
                </c:pt>
                <c:pt idx="7826">
                  <c:v>2946.7021742302645</c:v>
                </c:pt>
                <c:pt idx="7827">
                  <c:v>2947.6141835692401</c:v>
                </c:pt>
                <c:pt idx="7828">
                  <c:v>3000.5107252298262</c:v>
                </c:pt>
                <c:pt idx="7829">
                  <c:v>3223.9530132788559</c:v>
                </c:pt>
                <c:pt idx="7830">
                  <c:v>3226.6890412957832</c:v>
                </c:pt>
                <c:pt idx="7831">
                  <c:v>3275.0255362614917</c:v>
                </c:pt>
                <c:pt idx="7832">
                  <c:v>3321.5380125492488</c:v>
                </c:pt>
                <c:pt idx="7833">
                  <c:v>3380.8186195826647</c:v>
                </c:pt>
                <c:pt idx="7834">
                  <c:v>3440.0992266160815</c:v>
                </c:pt>
                <c:pt idx="7835">
                  <c:v>3484.787684225887</c:v>
                </c:pt>
                <c:pt idx="7836">
                  <c:v>3484.787684225887</c:v>
                </c:pt>
                <c:pt idx="7837">
                  <c:v>3507.5879177002776</c:v>
                </c:pt>
                <c:pt idx="7838">
                  <c:v>3505.7638990223268</c:v>
                </c:pt>
                <c:pt idx="7839">
                  <c:v>3550.4523566321327</c:v>
                </c:pt>
                <c:pt idx="7840">
                  <c:v>3598.7888515978407</c:v>
                </c:pt>
                <c:pt idx="7841">
                  <c:v>3648.0373559025247</c:v>
                </c:pt>
                <c:pt idx="7842">
                  <c:v>3638.9172625127685</c:v>
                </c:pt>
                <c:pt idx="7843">
                  <c:v>3679.957682766672</c:v>
                </c:pt>
                <c:pt idx="7844">
                  <c:v>3676.309645410769</c:v>
                </c:pt>
                <c:pt idx="7845">
                  <c:v>3683.6057201225749</c:v>
                </c:pt>
                <c:pt idx="7846">
                  <c:v>3579.6366554793526</c:v>
                </c:pt>
                <c:pt idx="7847">
                  <c:v>3600.6128702757924</c:v>
                </c:pt>
                <c:pt idx="7848">
                  <c:v>3583.2846928352551</c:v>
                </c:pt>
                <c:pt idx="7849">
                  <c:v>3569.6045527506208</c:v>
                </c:pt>
                <c:pt idx="7850">
                  <c:v>3459.2514227345687</c:v>
                </c:pt>
                <c:pt idx="7851">
                  <c:v>3494.8197869546193</c:v>
                </c:pt>
                <c:pt idx="7852">
                  <c:v>3495.731796293594</c:v>
                </c:pt>
                <c:pt idx="7853">
                  <c:v>3590.5807675470601</c:v>
                </c:pt>
                <c:pt idx="7854">
                  <c:v>3627.0611411060859</c:v>
                </c:pt>
                <c:pt idx="7855">
                  <c:v>3639.8292718517441</c:v>
                </c:pt>
                <c:pt idx="7856">
                  <c:v>3610.6449730045233</c:v>
                </c:pt>
                <c:pt idx="7857">
                  <c:v>3644.3893185466222</c:v>
                </c:pt>
                <c:pt idx="7858">
                  <c:v>3732.8542244272589</c:v>
                </c:pt>
                <c:pt idx="7859">
                  <c:v>3757.4784765796007</c:v>
                </c:pt>
                <c:pt idx="7860">
                  <c:v>3768.4225886473077</c:v>
                </c:pt>
                <c:pt idx="7861">
                  <c:v>3783.0147380709177</c:v>
                </c:pt>
                <c:pt idx="7862">
                  <c:v>3772.0706260032107</c:v>
                </c:pt>
                <c:pt idx="7863">
                  <c:v>3682.6937107835984</c:v>
                </c:pt>
                <c:pt idx="7864">
                  <c:v>3696.3738508682336</c:v>
                </c:pt>
                <c:pt idx="7865">
                  <c:v>3756.5664672406251</c:v>
                </c:pt>
                <c:pt idx="7866">
                  <c:v>3823.1431489858455</c:v>
                </c:pt>
                <c:pt idx="7867">
                  <c:v>3901.5759521377499</c:v>
                </c:pt>
                <c:pt idx="7868">
                  <c:v>3912.5200642054579</c:v>
                </c:pt>
                <c:pt idx="7869">
                  <c:v>3888.8078213920908</c:v>
                </c:pt>
                <c:pt idx="7870">
                  <c:v>3853.239457172042</c:v>
                </c:pt>
                <c:pt idx="7871">
                  <c:v>3851.4154384940903</c:v>
                </c:pt>
                <c:pt idx="7872">
                  <c:v>3824.0551583248221</c:v>
                </c:pt>
                <c:pt idx="7873">
                  <c:v>3887.8958120531156</c:v>
                </c:pt>
                <c:pt idx="7874">
                  <c:v>3744.7103458339416</c:v>
                </c:pt>
                <c:pt idx="7875">
                  <c:v>3741.0623084780391</c:v>
                </c:pt>
                <c:pt idx="7876">
                  <c:v>3746.5343645118928</c:v>
                </c:pt>
                <c:pt idx="7877">
                  <c:v>3785.750766087845</c:v>
                </c:pt>
                <c:pt idx="7878">
                  <c:v>3881.5117466802863</c:v>
                </c:pt>
                <c:pt idx="7879">
                  <c:v>3920.728148256238</c:v>
                </c:pt>
                <c:pt idx="7880">
                  <c:v>3932.5842696629225</c:v>
                </c:pt>
                <c:pt idx="7881">
                  <c:v>3928.0242229680434</c:v>
                </c:pt>
                <c:pt idx="7882">
                  <c:v>3891.543849409019</c:v>
                </c:pt>
                <c:pt idx="7883">
                  <c:v>3772.0706260032107</c:v>
                </c:pt>
                <c:pt idx="7884">
                  <c:v>3760.2145045965271</c:v>
                </c:pt>
                <c:pt idx="7885">
                  <c:v>3745.6223551729172</c:v>
                </c:pt>
                <c:pt idx="7886">
                  <c:v>3749.2703925288197</c:v>
                </c:pt>
                <c:pt idx="7887">
                  <c:v>3801.2549248504306</c:v>
                </c:pt>
                <c:pt idx="7888">
                  <c:v>3895.191886764921</c:v>
                </c:pt>
                <c:pt idx="7889">
                  <c:v>3922.5521669341897</c:v>
                </c:pt>
                <c:pt idx="7890">
                  <c:v>3818.5831022909674</c:v>
                </c:pt>
                <c:pt idx="7891">
                  <c:v>3836.8232890704803</c:v>
                </c:pt>
                <c:pt idx="7892">
                  <c:v>3686.3417481395009</c:v>
                </c:pt>
                <c:pt idx="7893">
                  <c:v>3707.3179629359402</c:v>
                </c:pt>
                <c:pt idx="7894">
                  <c:v>3457.4274040566174</c:v>
                </c:pt>
                <c:pt idx="7895">
                  <c:v>3323.3620312272001</c:v>
                </c:pt>
                <c:pt idx="7896">
                  <c:v>3219.3929665839778</c:v>
                </c:pt>
                <c:pt idx="7897">
                  <c:v>3203.8888078213927</c:v>
                </c:pt>
                <c:pt idx="7898">
                  <c:v>3169.2324529403181</c:v>
                </c:pt>
                <c:pt idx="7899">
                  <c:v>3210.2728731942216</c:v>
                </c:pt>
                <c:pt idx="7900">
                  <c:v>3269.5534802276375</c:v>
                </c:pt>
                <c:pt idx="7901">
                  <c:v>3519.4440391069602</c:v>
                </c:pt>
                <c:pt idx="7902">
                  <c:v>3555.9244126659855</c:v>
                </c:pt>
                <c:pt idx="7903">
                  <c:v>3684.5177294615501</c:v>
                </c:pt>
                <c:pt idx="7904">
                  <c:v>3667.1895520210132</c:v>
                </c:pt>
                <c:pt idx="7905">
                  <c:v>3627.9731504450606</c:v>
                </c:pt>
                <c:pt idx="7906">
                  <c:v>3547.7163286152054</c:v>
                </c:pt>
                <c:pt idx="7907">
                  <c:v>3496.6438056325701</c:v>
                </c:pt>
                <c:pt idx="7908">
                  <c:v>3497.5558149715457</c:v>
                </c:pt>
                <c:pt idx="7909">
                  <c:v>3507.5879177002776</c:v>
                </c:pt>
                <c:pt idx="7910">
                  <c:v>3549.5403472931566</c:v>
                </c:pt>
                <c:pt idx="7911">
                  <c:v>3578.724646140377</c:v>
                </c:pt>
                <c:pt idx="7912">
                  <c:v>3540.4202539034009</c:v>
                </c:pt>
                <c:pt idx="7913">
                  <c:v>3542.2442725813517</c:v>
                </c:pt>
                <c:pt idx="7914">
                  <c:v>3552.2763753100835</c:v>
                </c:pt>
                <c:pt idx="7915">
                  <c:v>3535.8602072085218</c:v>
                </c:pt>
                <c:pt idx="7916">
                  <c:v>3557.7484313439372</c:v>
                </c:pt>
                <c:pt idx="7917">
                  <c:v>3573.2525901065228</c:v>
                </c:pt>
                <c:pt idx="7918">
                  <c:v>3399.9708157011528</c:v>
                </c:pt>
                <c:pt idx="7919">
                  <c:v>3275.9375456004677</c:v>
                </c:pt>
                <c:pt idx="7920">
                  <c:v>3143.6961914490007</c:v>
                </c:pt>
                <c:pt idx="7921">
                  <c:v>3105.3917992120241</c:v>
                </c:pt>
                <c:pt idx="7922">
                  <c:v>3108.127827228951</c:v>
                </c:pt>
                <c:pt idx="7923">
                  <c:v>3092.6236684663654</c:v>
                </c:pt>
                <c:pt idx="7924">
                  <c:v>3144.6082007879763</c:v>
                </c:pt>
                <c:pt idx="7925">
                  <c:v>3360.754414125201</c:v>
                </c:pt>
                <c:pt idx="7926">
                  <c:v>3417.2989931416896</c:v>
                </c:pt>
                <c:pt idx="7927">
                  <c:v>3461.987450751496</c:v>
                </c:pt>
                <c:pt idx="7928">
                  <c:v>3509.4119363782293</c:v>
                </c:pt>
                <c:pt idx="7929">
                  <c:v>3455.785787246462</c:v>
                </c:pt>
                <c:pt idx="7930">
                  <c:v>3406.537282941777</c:v>
                </c:pt>
                <c:pt idx="7931">
                  <c:v>3378.2649934335327</c:v>
                </c:pt>
                <c:pt idx="7932">
                  <c:v>3385.8346709470306</c:v>
                </c:pt>
                <c:pt idx="7933">
                  <c:v>3401.1564278418214</c:v>
                </c:pt>
                <c:pt idx="7934">
                  <c:v>3363.5816430760256</c:v>
                </c:pt>
                <c:pt idx="7935">
                  <c:v>3348.07748431344</c:v>
                </c:pt>
                <c:pt idx="7936">
                  <c:v>3444.841675178754</c:v>
                </c:pt>
                <c:pt idx="7937">
                  <c:v>3593.7728002334748</c:v>
                </c:pt>
                <c:pt idx="7938">
                  <c:v>3523.4568801984542</c:v>
                </c:pt>
                <c:pt idx="7939">
                  <c:v>3464.2674740989346</c:v>
                </c:pt>
                <c:pt idx="7940">
                  <c:v>3501.9334597986285</c:v>
                </c:pt>
                <c:pt idx="7941">
                  <c:v>3438.4576098059247</c:v>
                </c:pt>
                <c:pt idx="7942">
                  <c:v>3114.0558879322925</c:v>
                </c:pt>
                <c:pt idx="7943">
                  <c:v>2990.9346271705822</c:v>
                </c:pt>
                <c:pt idx="7944">
                  <c:v>2977.3456880198455</c:v>
                </c:pt>
                <c:pt idx="7945">
                  <c:v>2910.0393988034439</c:v>
                </c:pt>
                <c:pt idx="7946">
                  <c:v>2919.7066977965856</c:v>
                </c:pt>
                <c:pt idx="7947">
                  <c:v>2930.4684079964977</c:v>
                </c:pt>
                <c:pt idx="7948">
                  <c:v>2974.8832628046116</c:v>
                </c:pt>
                <c:pt idx="7949">
                  <c:v>3185.5574201079817</c:v>
                </c:pt>
                <c:pt idx="7950">
                  <c:v>3246.7532467532469</c:v>
                </c:pt>
                <c:pt idx="7951">
                  <c:v>3289.526484751204</c:v>
                </c:pt>
                <c:pt idx="7952">
                  <c:v>3087.1516124325112</c:v>
                </c:pt>
                <c:pt idx="7953">
                  <c:v>3233.0731066686126</c:v>
                </c:pt>
                <c:pt idx="7954">
                  <c:v>3181.0885743470017</c:v>
                </c:pt>
                <c:pt idx="7955">
                  <c:v>3150.9922661608057</c:v>
                </c:pt>
                <c:pt idx="7956">
                  <c:v>3113.5998832628043</c:v>
                </c:pt>
                <c:pt idx="7957">
                  <c:v>3159.2003502115858</c:v>
                </c:pt>
                <c:pt idx="7958">
                  <c:v>3169.2324529403181</c:v>
                </c:pt>
                <c:pt idx="7959">
                  <c:v>3223.0410039398812</c:v>
                </c:pt>
                <c:pt idx="7960">
                  <c:v>3239.4571720414419</c:v>
                </c:pt>
                <c:pt idx="7961">
                  <c:v>3234.8971253465638</c:v>
                </c:pt>
                <c:pt idx="7962">
                  <c:v>3192.0326864147096</c:v>
                </c:pt>
                <c:pt idx="7963">
                  <c:v>3169.2324529403181</c:v>
                </c:pt>
                <c:pt idx="7964">
                  <c:v>3097.1837151612435</c:v>
                </c:pt>
                <c:pt idx="7965">
                  <c:v>3078.9435283817311</c:v>
                </c:pt>
                <c:pt idx="7966">
                  <c:v>2850.9411936378233</c:v>
                </c:pt>
                <c:pt idx="7967">
                  <c:v>2741.5000729607473</c:v>
                </c:pt>
                <c:pt idx="7968">
                  <c:v>2752.4441850284552</c:v>
                </c:pt>
                <c:pt idx="7969">
                  <c:v>2667.6273165037214</c:v>
                </c:pt>
                <c:pt idx="7970">
                  <c:v>2639.3550269954762</c:v>
                </c:pt>
                <c:pt idx="7971">
                  <c:v>2671.2753538596235</c:v>
                </c:pt>
                <c:pt idx="7972">
                  <c:v>2692.2515686560637</c:v>
                </c:pt>
                <c:pt idx="7973">
                  <c:v>2922.9899314168979</c:v>
                </c:pt>
                <c:pt idx="7974">
                  <c:v>3109.9518459069022</c:v>
                </c:pt>
                <c:pt idx="7975">
                  <c:v>3093.535677805341</c:v>
                </c:pt>
                <c:pt idx="7976">
                  <c:v>3133.6640887202684</c:v>
                </c:pt>
                <c:pt idx="7977">
                  <c:v>3140.9601634320738</c:v>
                </c:pt>
                <c:pt idx="7978">
                  <c:v>3045.1991828396322</c:v>
                </c:pt>
                <c:pt idx="7979">
                  <c:v>2992.3026411790456</c:v>
                </c:pt>
                <c:pt idx="7980">
                  <c:v>2974.0624543995332</c:v>
                </c:pt>
                <c:pt idx="7981">
                  <c:v>2975.8864730774844</c:v>
                </c:pt>
                <c:pt idx="7982">
                  <c:v>2962.2063329928501</c:v>
                </c:pt>
                <c:pt idx="7983">
                  <c:v>2989.5666131621192</c:v>
                </c:pt>
                <c:pt idx="7984">
                  <c:v>2982.2705384503142</c:v>
                </c:pt>
                <c:pt idx="7985">
                  <c:v>2994.1266598569973</c:v>
                </c:pt>
                <c:pt idx="7986">
                  <c:v>3002.3347439077775</c:v>
                </c:pt>
                <c:pt idx="7987">
                  <c:v>3028.7830147380714</c:v>
                </c:pt>
                <c:pt idx="7988">
                  <c:v>3270.4654895666135</c:v>
                </c:pt>
                <c:pt idx="7989">
                  <c:v>3296.9137603969066</c:v>
                </c:pt>
                <c:pt idx="7990">
                  <c:v>3258.6093681599305</c:v>
                </c:pt>
                <c:pt idx="7991">
                  <c:v>3253.1373121260763</c:v>
                </c:pt>
                <c:pt idx="7992">
                  <c:v>3230.3370786516857</c:v>
                </c:pt>
                <c:pt idx="7993">
                  <c:v>3105.3917992120241</c:v>
                </c:pt>
                <c:pt idx="7994">
                  <c:v>3172.8804902962211</c:v>
                </c:pt>
                <c:pt idx="7995">
                  <c:v>3229.4250693127096</c:v>
                </c:pt>
                <c:pt idx="7996">
                  <c:v>3156.4643221946599</c:v>
                </c:pt>
                <c:pt idx="7997">
                  <c:v>3245.8412374142708</c:v>
                </c:pt>
                <c:pt idx="7998">
                  <c:v>3180.1765650080256</c:v>
                </c:pt>
                <c:pt idx="7999">
                  <c:v>3161.024368889538</c:v>
                </c:pt>
                <c:pt idx="8000">
                  <c:v>3240.3691813804176</c:v>
                </c:pt>
                <c:pt idx="8001">
                  <c:v>3372.6105355318837</c:v>
                </c:pt>
                <c:pt idx="8002">
                  <c:v>3389.9387129724209</c:v>
                </c:pt>
                <c:pt idx="8003">
                  <c:v>3413.6509557857871</c:v>
                </c:pt>
                <c:pt idx="8004">
                  <c:v>3430.9791332263244</c:v>
                </c:pt>
                <c:pt idx="8005">
                  <c:v>3316.9779658543712</c:v>
                </c:pt>
                <c:pt idx="8006">
                  <c:v>3331.5701152779811</c:v>
                </c:pt>
                <c:pt idx="8007">
                  <c:v>3441.0112359550562</c:v>
                </c:pt>
                <c:pt idx="8008">
                  <c:v>3472.9315628192039</c:v>
                </c:pt>
                <c:pt idx="8009">
                  <c:v>3506.6759083613019</c:v>
                </c:pt>
                <c:pt idx="8010">
                  <c:v>3530.3881511746686</c:v>
                </c:pt>
                <c:pt idx="8011">
                  <c:v>3563.220487377791</c:v>
                </c:pt>
                <c:pt idx="8012">
                  <c:v>3609.7329636655486</c:v>
                </c:pt>
                <c:pt idx="8013">
                  <c:v>3581.4606741573034</c:v>
                </c:pt>
                <c:pt idx="8014">
                  <c:v>3398.146797023202</c:v>
                </c:pt>
                <c:pt idx="8015">
                  <c:v>3266.8174522107106</c:v>
                </c:pt>
                <c:pt idx="8016">
                  <c:v>3211.1848825331977</c:v>
                </c:pt>
                <c:pt idx="8017">
                  <c:v>3144.6082007879763</c:v>
                </c:pt>
                <c:pt idx="8018">
                  <c:v>3099.9197431781704</c:v>
                </c:pt>
                <c:pt idx="8019">
                  <c:v>3102.6557711950973</c:v>
                </c:pt>
                <c:pt idx="8020">
                  <c:v>3102.6557711950973</c:v>
                </c:pt>
                <c:pt idx="8021">
                  <c:v>3197.5047424485629</c:v>
                </c:pt>
                <c:pt idx="8022">
                  <c:v>3171.968480957245</c:v>
                </c:pt>
                <c:pt idx="8023">
                  <c:v>3180.1765650080256</c:v>
                </c:pt>
                <c:pt idx="8024">
                  <c:v>3265.9054428717354</c:v>
                </c:pt>
                <c:pt idx="8025">
                  <c:v>3327.9220779220786</c:v>
                </c:pt>
                <c:pt idx="8026">
                  <c:v>3373.5225448708593</c:v>
                </c:pt>
                <c:pt idx="8027">
                  <c:v>3320.6260032102732</c:v>
                </c:pt>
                <c:pt idx="8028">
                  <c:v>3283.2336203122723</c:v>
                </c:pt>
                <c:pt idx="8029">
                  <c:v>3215.7449292280758</c:v>
                </c:pt>
                <c:pt idx="8030">
                  <c:v>3208.4488545162708</c:v>
                </c:pt>
                <c:pt idx="8031">
                  <c:v>3234.8971253465638</c:v>
                </c:pt>
                <c:pt idx="8032">
                  <c:v>3285.0576389902235</c:v>
                </c:pt>
                <c:pt idx="8033">
                  <c:v>3358.0183861082746</c:v>
                </c:pt>
                <c:pt idx="8034">
                  <c:v>3419.1230118196418</c:v>
                </c:pt>
                <c:pt idx="8035">
                  <c:v>3446.4832919889104</c:v>
                </c:pt>
                <c:pt idx="8036">
                  <c:v>3462.8994600904712</c:v>
                </c:pt>
                <c:pt idx="8037">
                  <c:v>3398.1467970232015</c:v>
                </c:pt>
                <c:pt idx="8038">
                  <c:v>3394.4987596673</c:v>
                </c:pt>
                <c:pt idx="8039">
                  <c:v>3329.7460966000294</c:v>
                </c:pt>
                <c:pt idx="8040">
                  <c:v>3197.5047424485629</c:v>
                </c:pt>
                <c:pt idx="8041">
                  <c:v>3078.9435283817311</c:v>
                </c:pt>
                <c:pt idx="8042">
                  <c:v>3007.8067999416317</c:v>
                </c:pt>
                <c:pt idx="8043">
                  <c:v>3000.5107252298262</c:v>
                </c:pt>
                <c:pt idx="8044">
                  <c:v>3036.0790894498759</c:v>
                </c:pt>
                <c:pt idx="8045">
                  <c:v>3097.1837151612435</c:v>
                </c:pt>
                <c:pt idx="8046">
                  <c:v>3264.9934335327594</c:v>
                </c:pt>
                <c:pt idx="8047">
                  <c:v>3280.4975922953454</c:v>
                </c:pt>
                <c:pt idx="8048">
                  <c:v>3378.0825915657374</c:v>
                </c:pt>
                <c:pt idx="8049">
                  <c:v>3461.987450751496</c:v>
                </c:pt>
                <c:pt idx="8050">
                  <c:v>3438.2752079381294</c:v>
                </c:pt>
                <c:pt idx="8051">
                  <c:v>3275.9375456004673</c:v>
                </c:pt>
                <c:pt idx="8052">
                  <c:v>3255.8733401430031</c:v>
                </c:pt>
                <c:pt idx="8053">
                  <c:v>3196.5927331095872</c:v>
                </c:pt>
                <c:pt idx="8054">
                  <c:v>3393.5867503283239</c:v>
                </c:pt>
                <c:pt idx="8055">
                  <c:v>3351.6343207354448</c:v>
                </c:pt>
                <c:pt idx="8056">
                  <c:v>3270.4654895666131</c:v>
                </c:pt>
                <c:pt idx="8057">
                  <c:v>3326.0980592441265</c:v>
                </c:pt>
                <c:pt idx="8058">
                  <c:v>3327.010068583103</c:v>
                </c:pt>
                <c:pt idx="8059">
                  <c:v>3320.6260032102732</c:v>
                </c:pt>
                <c:pt idx="8060">
                  <c:v>3275.9375456004673</c:v>
                </c:pt>
                <c:pt idx="8061">
                  <c:v>3244.01721873632</c:v>
                </c:pt>
                <c:pt idx="8062">
                  <c:v>3055.2312855683645</c:v>
                </c:pt>
                <c:pt idx="8063">
                  <c:v>2972.2384357215819</c:v>
                </c:pt>
                <c:pt idx="8064">
                  <c:v>2912.9578286881665</c:v>
                </c:pt>
                <c:pt idx="8065">
                  <c:v>2878.301473807092</c:v>
                </c:pt>
                <c:pt idx="8066">
                  <c:v>2854.5892309937258</c:v>
                </c:pt>
                <c:pt idx="8067">
                  <c:v>2831.7889975193348</c:v>
                </c:pt>
                <c:pt idx="8068">
                  <c:v>2898.3656792645561</c:v>
                </c:pt>
                <c:pt idx="8069">
                  <c:v>3088.0636217714873</c:v>
                </c:pt>
                <c:pt idx="8070">
                  <c:v>3138.224135415147</c:v>
                </c:pt>
                <c:pt idx="8071">
                  <c:v>3184.7366117029042</c:v>
                </c:pt>
                <c:pt idx="8072">
                  <c:v>3255.8733401430031</c:v>
                </c:pt>
                <c:pt idx="8073">
                  <c:v>3278.6735736173941</c:v>
                </c:pt>
                <c:pt idx="8074">
                  <c:v>3247.665256092223</c:v>
                </c:pt>
                <c:pt idx="8075">
                  <c:v>3256.7853494819792</c:v>
                </c:pt>
                <c:pt idx="8076">
                  <c:v>3283.2336203122723</c:v>
                </c:pt>
                <c:pt idx="8077">
                  <c:v>3256.7853494819788</c:v>
                </c:pt>
                <c:pt idx="8078">
                  <c:v>3240.3691813804176</c:v>
                </c:pt>
                <c:pt idx="8079">
                  <c:v>3338.8661899897857</c:v>
                </c:pt>
                <c:pt idx="8080">
                  <c:v>3340.6902086677374</c:v>
                </c:pt>
                <c:pt idx="8081">
                  <c:v>3347.9862833795423</c:v>
                </c:pt>
                <c:pt idx="8082">
                  <c:v>3454.6913760396906</c:v>
                </c:pt>
                <c:pt idx="8083">
                  <c:v>3535.8602072085218</c:v>
                </c:pt>
                <c:pt idx="8084">
                  <c:v>3520.3560484459363</c:v>
                </c:pt>
                <c:pt idx="8085">
                  <c:v>3518.5320297679855</c:v>
                </c:pt>
                <c:pt idx="8086">
                  <c:v>3414.5629651247632</c:v>
                </c:pt>
                <c:pt idx="8087">
                  <c:v>3279.5855829563693</c:v>
                </c:pt>
                <c:pt idx="8088">
                  <c:v>3118.1599299576833</c:v>
                </c:pt>
                <c:pt idx="8089">
                  <c:v>2955.8222676200207</c:v>
                </c:pt>
                <c:pt idx="8090">
                  <c:v>2891.9816138917267</c:v>
                </c:pt>
                <c:pt idx="8091">
                  <c:v>2846.3811469429452</c:v>
                </c:pt>
                <c:pt idx="8092">
                  <c:v>2855.5012403327014</c:v>
                </c:pt>
                <c:pt idx="8093">
                  <c:v>2867.3573617393849</c:v>
                </c:pt>
                <c:pt idx="8094">
                  <c:v>2867.357361739384</c:v>
                </c:pt>
                <c:pt idx="8095">
                  <c:v>2888.3335765358238</c:v>
                </c:pt>
                <c:pt idx="8096">
                  <c:v>2896.5416605866048</c:v>
                </c:pt>
                <c:pt idx="8097">
                  <c:v>2839.0850722311397</c:v>
                </c:pt>
                <c:pt idx="8098">
                  <c:v>2760.6522690792353</c:v>
                </c:pt>
                <c:pt idx="8099">
                  <c:v>2626.586896249818</c:v>
                </c:pt>
                <c:pt idx="8100">
                  <c:v>2548.1540930979131</c:v>
                </c:pt>
                <c:pt idx="8101">
                  <c:v>2487.0494673865464</c:v>
                </c:pt>
                <c:pt idx="8102">
                  <c:v>2493.4335327593753</c:v>
                </c:pt>
                <c:pt idx="8103">
                  <c:v>2578.2504012841096</c:v>
                </c:pt>
                <c:pt idx="8104">
                  <c:v>2650.2991390631842</c:v>
                </c:pt>
                <c:pt idx="8105">
                  <c:v>2694.0755873340145</c:v>
                </c:pt>
                <c:pt idx="8106">
                  <c:v>2728.7319422150881</c:v>
                </c:pt>
                <c:pt idx="8107">
                  <c:v>2792.572595943383</c:v>
                </c:pt>
                <c:pt idx="8108">
                  <c:v>2800.7806799941636</c:v>
                </c:pt>
                <c:pt idx="8109">
                  <c:v>2781.6284838756751</c:v>
                </c:pt>
                <c:pt idx="8110">
                  <c:v>2642.0910550124031</c:v>
                </c:pt>
                <c:pt idx="8111">
                  <c:v>2517.145775572742</c:v>
                </c:pt>
                <c:pt idx="8112">
                  <c:v>2489.7854954034733</c:v>
                </c:pt>
                <c:pt idx="8113">
                  <c:v>2467.8972712680584</c:v>
                </c:pt>
                <c:pt idx="8114">
                  <c:v>2377.6083467094704</c:v>
                </c:pt>
                <c:pt idx="8115">
                  <c:v>2370.3122719976659</c:v>
                </c:pt>
                <c:pt idx="8116">
                  <c:v>2379.4323653874217</c:v>
                </c:pt>
                <c:pt idx="8117">
                  <c:v>2518.9697942506932</c:v>
                </c:pt>
                <c:pt idx="8118">
                  <c:v>2684.0434846052826</c:v>
                </c:pt>
                <c:pt idx="8119">
                  <c:v>2757.9162410623089</c:v>
                </c:pt>
                <c:pt idx="8120">
                  <c:v>2705.0196994017215</c:v>
                </c:pt>
                <c:pt idx="8121">
                  <c:v>2699.5476433678682</c:v>
                </c:pt>
                <c:pt idx="8122">
                  <c:v>2710.4917554355757</c:v>
                </c:pt>
                <c:pt idx="8123">
                  <c:v>2678.5714285714289</c:v>
                </c:pt>
                <c:pt idx="8124">
                  <c:v>2705.9317087406976</c:v>
                </c:pt>
                <c:pt idx="8125">
                  <c:v>2510.7617101999126</c:v>
                </c:pt>
                <c:pt idx="8126">
                  <c:v>2496.1695607763022</c:v>
                </c:pt>
                <c:pt idx="8127">
                  <c:v>2672.1873631985995</c:v>
                </c:pt>
                <c:pt idx="8128">
                  <c:v>2767.9483437910408</c:v>
                </c:pt>
                <c:pt idx="8129">
                  <c:v>2780.7164745366995</c:v>
                </c:pt>
                <c:pt idx="8130">
                  <c:v>2698.6356340288926</c:v>
                </c:pt>
                <c:pt idx="8131">
                  <c:v>2798.9566613162119</c:v>
                </c:pt>
                <c:pt idx="8132">
                  <c:v>2820.8448854516273</c:v>
                </c:pt>
                <c:pt idx="8133">
                  <c:v>2784.3645118926015</c:v>
                </c:pt>
                <c:pt idx="8134">
                  <c:v>2543.594046403035</c:v>
                </c:pt>
                <c:pt idx="8135">
                  <c:v>2426.8568510141545</c:v>
                </c:pt>
                <c:pt idx="8136">
                  <c:v>2394.9365241500077</c:v>
                </c:pt>
                <c:pt idx="8137">
                  <c:v>2375.7843280315192</c:v>
                </c:pt>
                <c:pt idx="8138">
                  <c:v>2366.664234641763</c:v>
                </c:pt>
                <c:pt idx="8139">
                  <c:v>2340.2159638114695</c:v>
                </c:pt>
                <c:pt idx="8140">
                  <c:v>2328.3598424047864</c:v>
                </c:pt>
                <c:pt idx="8141">
                  <c:v>2455.1291405223988</c:v>
                </c:pt>
                <c:pt idx="8142">
                  <c:v>2583.7224573179633</c:v>
                </c:pt>
                <c:pt idx="8143">
                  <c:v>2646.6511017072817</c:v>
                </c:pt>
                <c:pt idx="8144">
                  <c:v>2620.2028308769886</c:v>
                </c:pt>
                <c:pt idx="8145">
                  <c:v>2907.4857726543123</c:v>
                </c:pt>
                <c:pt idx="8146">
                  <c:v>2852.7652123157745</c:v>
                </c:pt>
                <c:pt idx="8147">
                  <c:v>2757.0042317233333</c:v>
                </c:pt>
                <c:pt idx="8148">
                  <c:v>2788.0125492485045</c:v>
                </c:pt>
                <c:pt idx="8149">
                  <c:v>2864.6213337224581</c:v>
                </c:pt>
                <c:pt idx="8150">
                  <c:v>2872.8294177732382</c:v>
                </c:pt>
                <c:pt idx="8151">
                  <c:v>2841.8211002480671</c:v>
                </c:pt>
                <c:pt idx="8152">
                  <c:v>2788.9245585874801</c:v>
                </c:pt>
                <c:pt idx="8153">
                  <c:v>2713.227783452503</c:v>
                </c:pt>
                <c:pt idx="8154">
                  <c:v>2625.6748869108424</c:v>
                </c:pt>
                <c:pt idx="8155">
                  <c:v>2529.0018969794255</c:v>
                </c:pt>
                <c:pt idx="8156">
                  <c:v>2634.7949803005986</c:v>
                </c:pt>
                <c:pt idx="8157">
                  <c:v>2632.0589522836717</c:v>
                </c:pt>
                <c:pt idx="8158">
                  <c:v>2352.9840945571286</c:v>
                </c:pt>
                <c:pt idx="8159">
                  <c:v>2307.3836276083471</c:v>
                </c:pt>
                <c:pt idx="8160">
                  <c:v>2252.6630672698088</c:v>
                </c:pt>
                <c:pt idx="8161">
                  <c:v>2243.5429738800526</c:v>
                </c:pt>
                <c:pt idx="8162">
                  <c:v>2268.1672260323949</c:v>
                </c:pt>
                <c:pt idx="8163">
                  <c:v>2196.1184882533198</c:v>
                </c:pt>
                <c:pt idx="8164">
                  <c:v>2232.5988618123451</c:v>
                </c:pt>
                <c:pt idx="8165">
                  <c:v>2299.175543557566</c:v>
                </c:pt>
                <c:pt idx="8166">
                  <c:v>2332.9198890996645</c:v>
                </c:pt>
                <c:pt idx="8167">
                  <c:v>2372.1362906756171</c:v>
                </c:pt>
                <c:pt idx="8168">
                  <c:v>2369.4002626586898</c:v>
                </c:pt>
                <c:pt idx="8169">
                  <c:v>2476.1053553188385</c:v>
                </c:pt>
                <c:pt idx="8170">
                  <c:v>2580.0744199620603</c:v>
                </c:pt>
                <c:pt idx="8171">
                  <c:v>2715.9638114694299</c:v>
                </c:pt>
                <c:pt idx="8172">
                  <c:v>2767.9483437910408</c:v>
                </c:pt>
                <c:pt idx="8173">
                  <c:v>2773.420399824895</c:v>
                </c:pt>
                <c:pt idx="8174">
                  <c:v>2843.6451189260183</c:v>
                </c:pt>
                <c:pt idx="8175">
                  <c:v>2832.7010068583104</c:v>
                </c:pt>
                <c:pt idx="8176">
                  <c:v>2831.7889975193348</c:v>
                </c:pt>
                <c:pt idx="8177">
                  <c:v>2826.316941485481</c:v>
                </c:pt>
                <c:pt idx="8178">
                  <c:v>2779.8044651977239</c:v>
                </c:pt>
                <c:pt idx="8179">
                  <c:v>2766.1243251130895</c:v>
                </c:pt>
                <c:pt idx="8180">
                  <c:v>2736.9400262658692</c:v>
                </c:pt>
                <c:pt idx="8181">
                  <c:v>2753.3561943674304</c:v>
                </c:pt>
                <c:pt idx="8182">
                  <c:v>2646.6511017072817</c:v>
                </c:pt>
                <c:pt idx="8183">
                  <c:v>2583.7224573179633</c:v>
                </c:pt>
                <c:pt idx="8184">
                  <c:v>2562.7462425215235</c:v>
                </c:pt>
                <c:pt idx="8185">
                  <c:v>2513.4977382168395</c:v>
                </c:pt>
                <c:pt idx="8186">
                  <c:v>2462.4252152342042</c:v>
                </c:pt>
                <c:pt idx="8187">
                  <c:v>2472.457317962936</c:v>
                </c:pt>
                <c:pt idx="8188">
                  <c:v>2525.3538596235226</c:v>
                </c:pt>
                <c:pt idx="8189">
                  <c:v>2692.2515686560632</c:v>
                </c:pt>
                <c:pt idx="8190">
                  <c:v>2740.5880636217717</c:v>
                </c:pt>
                <c:pt idx="8191">
                  <c:v>2780.7164745366999</c:v>
                </c:pt>
                <c:pt idx="8192">
                  <c:v>2816.2848387567492</c:v>
                </c:pt>
                <c:pt idx="8193">
                  <c:v>2938.4940901794835</c:v>
                </c:pt>
                <c:pt idx="8194">
                  <c:v>3046.1111921786078</c:v>
                </c:pt>
                <c:pt idx="8195">
                  <c:v>3107.2158178899754</c:v>
                </c:pt>
                <c:pt idx="8196">
                  <c:v>3197.5047424485629</c:v>
                </c:pt>
                <c:pt idx="8197">
                  <c:v>3150.9922661608057</c:v>
                </c:pt>
                <c:pt idx="8198">
                  <c:v>3139.1361447541226</c:v>
                </c:pt>
                <c:pt idx="8199">
                  <c:v>3110.8638552458783</c:v>
                </c:pt>
                <c:pt idx="8200">
                  <c:v>3093.5356778053415</c:v>
                </c:pt>
                <c:pt idx="8201">
                  <c:v>3092.6236684663654</c:v>
                </c:pt>
                <c:pt idx="8202">
                  <c:v>3145.520210126952</c:v>
                </c:pt>
                <c:pt idx="8203">
                  <c:v>3200.2407704654893</c:v>
                </c:pt>
                <c:pt idx="8204">
                  <c:v>3153.7282941777326</c:v>
                </c:pt>
                <c:pt idx="8205">
                  <c:v>2979.5345104333869</c:v>
                </c:pt>
                <c:pt idx="8206">
                  <c:v>2715.0518021304538</c:v>
                </c:pt>
                <c:pt idx="8207">
                  <c:v>2473.3693273019121</c:v>
                </c:pt>
                <c:pt idx="8208">
                  <c:v>2332.9198890996645</c:v>
                </c:pt>
                <c:pt idx="8209">
                  <c:v>2307.3836276083471</c:v>
                </c:pt>
                <c:pt idx="8210">
                  <c:v>2299.175543557566</c:v>
                </c:pt>
                <c:pt idx="8211">
                  <c:v>2259.0471326426382</c:v>
                </c:pt>
                <c:pt idx="8212">
                  <c:v>2284.5833941339561</c:v>
                </c:pt>
                <c:pt idx="8213">
                  <c:v>2345.6880198453232</c:v>
                </c:pt>
                <c:pt idx="8214">
                  <c:v>2556.3621771486942</c:v>
                </c:pt>
                <c:pt idx="8215">
                  <c:v>2583.7224573179633</c:v>
                </c:pt>
                <c:pt idx="8216">
                  <c:v>2644.8270830293304</c:v>
                </c:pt>
                <c:pt idx="8217">
                  <c:v>2682.2194659273309</c:v>
                </c:pt>
                <c:pt idx="8218">
                  <c:v>2693.1635779950388</c:v>
                </c:pt>
                <c:pt idx="8219">
                  <c:v>2700.4596527068438</c:v>
                </c:pt>
                <c:pt idx="8220">
                  <c:v>2709.5797460966005</c:v>
                </c:pt>
                <c:pt idx="8221">
                  <c:v>2707.7557274186493</c:v>
                </c:pt>
                <c:pt idx="8222">
                  <c:v>2705.0196994017219</c:v>
                </c:pt>
                <c:pt idx="8223">
                  <c:v>2689.5155406391359</c:v>
                </c:pt>
                <c:pt idx="8224">
                  <c:v>2718.6998394863567</c:v>
                </c:pt>
                <c:pt idx="8225">
                  <c:v>2751.5321756894796</c:v>
                </c:pt>
                <c:pt idx="8226">
                  <c:v>2738.7640449438204</c:v>
                </c:pt>
                <c:pt idx="8227">
                  <c:v>2758.8282504012845</c:v>
                </c:pt>
                <c:pt idx="8228">
                  <c:v>2784.364511892602</c:v>
                </c:pt>
                <c:pt idx="8229">
                  <c:v>2754.2682037064064</c:v>
                </c:pt>
                <c:pt idx="8230">
                  <c:v>2555.4501678097186</c:v>
                </c:pt>
                <c:pt idx="8231">
                  <c:v>2445.0970377936674</c:v>
                </c:pt>
                <c:pt idx="8232">
                  <c:v>2380.3443747263973</c:v>
                </c:pt>
                <c:pt idx="8233">
                  <c:v>2389.4644681161535</c:v>
                </c:pt>
                <c:pt idx="8234">
                  <c:v>2385.816430760251</c:v>
                </c:pt>
                <c:pt idx="8235">
                  <c:v>2381.2563840653734</c:v>
                </c:pt>
                <c:pt idx="8236">
                  <c:v>2380.3443747263973</c:v>
                </c:pt>
                <c:pt idx="8237">
                  <c:v>2621.1148402159643</c:v>
                </c:pt>
                <c:pt idx="8238">
                  <c:v>2922.9899314168979</c:v>
                </c:pt>
                <c:pt idx="8239">
                  <c:v>3129.1040420253908</c:v>
                </c:pt>
                <c:pt idx="8240">
                  <c:v>3384.4666569385672</c:v>
                </c:pt>
                <c:pt idx="8241">
                  <c:v>3574.164599445498</c:v>
                </c:pt>
                <c:pt idx="8242">
                  <c:v>3663.5415146651103</c:v>
                </c:pt>
                <c:pt idx="8243">
                  <c:v>3844.1193637822848</c:v>
                </c:pt>
                <c:pt idx="8244">
                  <c:v>3850.5034291551156</c:v>
                </c:pt>
                <c:pt idx="8245">
                  <c:v>3758.3904859185764</c:v>
                </c:pt>
                <c:pt idx="8246">
                  <c:v>3578.724646140377</c:v>
                </c:pt>
                <c:pt idx="8247">
                  <c:v>3512.1479643951557</c:v>
                </c:pt>
                <c:pt idx="8248">
                  <c:v>3484.787684225887</c:v>
                </c:pt>
                <c:pt idx="8249">
                  <c:v>3658.9814679702331</c:v>
                </c:pt>
                <c:pt idx="8250">
                  <c:v>3585.1087115132063</c:v>
                </c:pt>
                <c:pt idx="8251">
                  <c:v>3716.4380563256973</c:v>
                </c:pt>
                <c:pt idx="8252">
                  <c:v>3751.0944112067705</c:v>
                </c:pt>
                <c:pt idx="8253">
                  <c:v>3699.10987888516</c:v>
                </c:pt>
                <c:pt idx="8254">
                  <c:v>3440.0992266160806</c:v>
                </c:pt>
                <c:pt idx="8255">
                  <c:v>3402.7068437180801</c:v>
                </c:pt>
                <c:pt idx="8256">
                  <c:v>3382.6426382606164</c:v>
                </c:pt>
                <c:pt idx="8257">
                  <c:v>3368.9624981759821</c:v>
                </c:pt>
                <c:pt idx="8258">
                  <c:v>3288.705676346126</c:v>
                </c:pt>
                <c:pt idx="8259">
                  <c:v>3330.6581059390051</c:v>
                </c:pt>
                <c:pt idx="8260">
                  <c:v>3482.0516562089606</c:v>
                </c:pt>
                <c:pt idx="8261">
                  <c:v>3606.0849263096461</c:v>
                </c:pt>
                <c:pt idx="8262">
                  <c:v>3681.7817014446227</c:v>
                </c:pt>
                <c:pt idx="8263">
                  <c:v>3720.0860936815998</c:v>
                </c:pt>
                <c:pt idx="8264">
                  <c:v>3856.887494527944</c:v>
                </c:pt>
                <c:pt idx="8265">
                  <c:v>3921.6401575952141</c:v>
                </c:pt>
                <c:pt idx="8266">
                  <c:v>3803.9909528673579</c:v>
                </c:pt>
                <c:pt idx="8267">
                  <c:v>3618.8530570553044</c:v>
                </c:pt>
                <c:pt idx="8268">
                  <c:v>3528.5641324967173</c:v>
                </c:pt>
                <c:pt idx="8269">
                  <c:v>3461.987450751496</c:v>
                </c:pt>
                <c:pt idx="8270">
                  <c:v>3432.8031519042752</c:v>
                </c:pt>
                <c:pt idx="8271">
                  <c:v>3419.1230118196418</c:v>
                </c:pt>
                <c:pt idx="8272">
                  <c:v>3359.8424047862254</c:v>
                </c:pt>
                <c:pt idx="8273">
                  <c:v>3378.0825915657374</c:v>
                </c:pt>
                <c:pt idx="8274">
                  <c:v>3377.1705822267627</c:v>
                </c:pt>
                <c:pt idx="8275">
                  <c:v>3381.7306289216399</c:v>
                </c:pt>
                <c:pt idx="8276">
                  <c:v>3345.2502553626155</c:v>
                </c:pt>
                <c:pt idx="8277">
                  <c:v>3329.7460966000294</c:v>
                </c:pt>
                <c:pt idx="8278">
                  <c:v>3177.4405369910996</c:v>
                </c:pt>
                <c:pt idx="8279">
                  <c:v>3104.4797898730485</c:v>
                </c:pt>
                <c:pt idx="8280">
                  <c:v>3076.2075003648042</c:v>
                </c:pt>
                <c:pt idx="8281">
                  <c:v>3096.2717058222679</c:v>
                </c:pt>
                <c:pt idx="8282">
                  <c:v>3097.1837151612435</c:v>
                </c:pt>
                <c:pt idx="8283">
                  <c:v>3102.6557711950973</c:v>
                </c:pt>
                <c:pt idx="8284">
                  <c:v>3280.4975922953454</c:v>
                </c:pt>
                <c:pt idx="8285">
                  <c:v>3625.2371224281342</c:v>
                </c:pt>
                <c:pt idx="8286">
                  <c:v>3793.9588501386252</c:v>
                </c:pt>
                <c:pt idx="8287">
                  <c:v>3852.3274478330663</c:v>
                </c:pt>
                <c:pt idx="8288">
                  <c:v>3942.6163723916534</c:v>
                </c:pt>
                <c:pt idx="8289">
                  <c:v>3896.1038961038962</c:v>
                </c:pt>
                <c:pt idx="8290">
                  <c:v>3809.4630089012112</c:v>
                </c:pt>
                <c:pt idx="8291">
                  <c:v>3667.1895520210132</c:v>
                </c:pt>
                <c:pt idx="8292">
                  <c:v>3611.5569823434994</c:v>
                </c:pt>
                <c:pt idx="8293">
                  <c:v>3506.6759083613019</c:v>
                </c:pt>
                <c:pt idx="8294">
                  <c:v>3570.5165620895959</c:v>
                </c:pt>
                <c:pt idx="8295">
                  <c:v>3537.6842258864735</c:v>
                </c:pt>
                <c:pt idx="8296">
                  <c:v>3582.372683496279</c:v>
                </c:pt>
                <c:pt idx="8297">
                  <c:v>3581.4606741573043</c:v>
                </c:pt>
                <c:pt idx="8298">
                  <c:v>3583.2846928352551</c:v>
                </c:pt>
                <c:pt idx="8299">
                  <c:v>3602.4368889537432</c:v>
                </c:pt>
                <c:pt idx="8300">
                  <c:v>3555.0124033270108</c:v>
                </c:pt>
                <c:pt idx="8301">
                  <c:v>3430.9791332263244</c:v>
                </c:pt>
                <c:pt idx="8302">
                  <c:v>3255.8733401430031</c:v>
                </c:pt>
                <c:pt idx="8303">
                  <c:v>3168.320443601343</c:v>
                </c:pt>
                <c:pt idx="8304">
                  <c:v>2889.2455858747999</c:v>
                </c:pt>
                <c:pt idx="8305">
                  <c:v>2860.9732963665547</c:v>
                </c:pt>
                <c:pt idx="8306">
                  <c:v>2864.6213337224581</c:v>
                </c:pt>
                <c:pt idx="8307">
                  <c:v>2888.3335765358238</c:v>
                </c:pt>
                <c:pt idx="8308">
                  <c:v>2907.4857726543123</c:v>
                </c:pt>
                <c:pt idx="8309">
                  <c:v>3156.4643221946599</c:v>
                </c:pt>
                <c:pt idx="8310">
                  <c:v>3201.1527798044654</c:v>
                </c:pt>
                <c:pt idx="8311">
                  <c:v>3397.2347876842264</c:v>
                </c:pt>
                <c:pt idx="8312">
                  <c:v>3447.395301327886</c:v>
                </c:pt>
                <c:pt idx="8313">
                  <c:v>3415.4749744637388</c:v>
                </c:pt>
                <c:pt idx="8314">
                  <c:v>3385.3786662775428</c:v>
                </c:pt>
                <c:pt idx="8315">
                  <c:v>3415.4749744637388</c:v>
                </c:pt>
                <c:pt idx="8316">
                  <c:v>3404.5308623960309</c:v>
                </c:pt>
                <c:pt idx="8317">
                  <c:v>3399.0588063621781</c:v>
                </c:pt>
                <c:pt idx="8318">
                  <c:v>3358.9303954472493</c:v>
                </c:pt>
                <c:pt idx="8319">
                  <c:v>3298.7377790748583</c:v>
                </c:pt>
                <c:pt idx="8320">
                  <c:v>3358.9303954472493</c:v>
                </c:pt>
                <c:pt idx="8321">
                  <c:v>3254.9613308040275</c:v>
                </c:pt>
                <c:pt idx="8322">
                  <c:v>3313.3299284984687</c:v>
                </c:pt>
                <c:pt idx="8323">
                  <c:v>3273.20151758354</c:v>
                </c:pt>
                <c:pt idx="8324">
                  <c:v>3236.7211440245151</c:v>
                </c:pt>
                <c:pt idx="8325">
                  <c:v>3203.8888078213927</c:v>
                </c:pt>
                <c:pt idx="8326">
                  <c:v>3054.3192762293888</c:v>
                </c:pt>
                <c:pt idx="8327">
                  <c:v>2972.2384357215819</c:v>
                </c:pt>
                <c:pt idx="8328">
                  <c:v>2946.7021742302645</c:v>
                </c:pt>
                <c:pt idx="8329">
                  <c:v>2954.9102582810447</c:v>
                </c:pt>
                <c:pt idx="8330">
                  <c:v>2956.7342769589959</c:v>
                </c:pt>
                <c:pt idx="8331">
                  <c:v>2970.4144170436311</c:v>
                </c:pt>
                <c:pt idx="8332">
                  <c:v>3003.2467532467535</c:v>
                </c:pt>
                <c:pt idx="8333">
                  <c:v>3084.4155844155844</c:v>
                </c:pt>
                <c:pt idx="8334">
                  <c:v>3064.3513789581207</c:v>
                </c:pt>
                <c:pt idx="8335">
                  <c:v>3117.2479206187077</c:v>
                </c:pt>
                <c:pt idx="8336">
                  <c:v>3163.7603969064644</c:v>
                </c:pt>
                <c:pt idx="8337">
                  <c:v>3181.0885743470017</c:v>
                </c:pt>
                <c:pt idx="8338">
                  <c:v>3283.2336203122723</c:v>
                </c:pt>
                <c:pt idx="8339">
                  <c:v>3316.9779658543703</c:v>
                </c:pt>
                <c:pt idx="8340">
                  <c:v>3354.3703487523712</c:v>
                </c:pt>
                <c:pt idx="8341">
                  <c:v>3331.5701152779811</c:v>
                </c:pt>
                <c:pt idx="8342">
                  <c:v>3319.7139938712976</c:v>
                </c:pt>
                <c:pt idx="8343">
                  <c:v>3332.4821246169558</c:v>
                </c:pt>
                <c:pt idx="8344">
                  <c:v>3367.1384794980299</c:v>
                </c:pt>
                <c:pt idx="8345">
                  <c:v>3376.2585728877866</c:v>
                </c:pt>
                <c:pt idx="8346">
                  <c:v>3372.6105355318846</c:v>
                </c:pt>
                <c:pt idx="8347">
                  <c:v>3349.8103020574927</c:v>
                </c:pt>
                <c:pt idx="8348">
                  <c:v>3345.2502553626155</c:v>
                </c:pt>
                <c:pt idx="8349">
                  <c:v>3255.8733401430031</c:v>
                </c:pt>
                <c:pt idx="8350">
                  <c:v>3058.8793229242669</c:v>
                </c:pt>
                <c:pt idx="8351">
                  <c:v>2986.8305851451923</c:v>
                </c:pt>
                <c:pt idx="8352">
                  <c:v>2921.1659127389466</c:v>
                </c:pt>
                <c:pt idx="8353">
                  <c:v>2873.7414271122138</c:v>
                </c:pt>
                <c:pt idx="8354">
                  <c:v>2873.7414271122138</c:v>
                </c:pt>
                <c:pt idx="8355">
                  <c:v>2883.7735298409457</c:v>
                </c:pt>
                <c:pt idx="8356">
                  <c:v>2975.8864730774844</c:v>
                </c:pt>
                <c:pt idx="8357">
                  <c:v>3034.2550707719251</c:v>
                </c:pt>
                <c:pt idx="8358">
                  <c:v>3065.2633882970958</c:v>
                </c:pt>
                <c:pt idx="8359">
                  <c:v>3015.1028746534362</c:v>
                </c:pt>
                <c:pt idx="8360">
                  <c:v>3009.6308186195829</c:v>
                </c:pt>
                <c:pt idx="8361">
                  <c:v>3101.7437618561216</c:v>
                </c:pt>
                <c:pt idx="8362">
                  <c:v>3166.4964249233913</c:v>
                </c:pt>
                <c:pt idx="8363">
                  <c:v>3209.3608638552464</c:v>
                </c:pt>
                <c:pt idx="8364">
                  <c:v>3222.1289946009047</c:v>
                </c:pt>
                <c:pt idx="8365">
                  <c:v>3203.8888078213927</c:v>
                </c:pt>
                <c:pt idx="8366">
                  <c:v>3206.6248358383195</c:v>
                </c:pt>
                <c:pt idx="8367">
                  <c:v>3220.3049759229539</c:v>
                </c:pt>
                <c:pt idx="8368">
                  <c:v>3195.6807237706116</c:v>
                </c:pt>
                <c:pt idx="8369">
                  <c:v>3228.5130599737345</c:v>
                </c:pt>
                <c:pt idx="8370">
                  <c:v>3231.2490879906613</c:v>
                </c:pt>
                <c:pt idx="8371">
                  <c:v>3319.7139938712976</c:v>
                </c:pt>
                <c:pt idx="8372">
                  <c:v>3250.4012841091489</c:v>
                </c:pt>
                <c:pt idx="8373">
                  <c:v>3225.7770319568081</c:v>
                </c:pt>
                <c:pt idx="8374">
                  <c:v>2989.5666131621192</c:v>
                </c:pt>
                <c:pt idx="8375">
                  <c:v>2909.3097913322631</c:v>
                </c:pt>
                <c:pt idx="8376">
                  <c:v>2792.5725959433826</c:v>
                </c:pt>
                <c:pt idx="8377">
                  <c:v>2744.2361009776741</c:v>
                </c:pt>
                <c:pt idx="8378">
                  <c:v>2732.3799795709906</c:v>
                </c:pt>
                <c:pt idx="8379">
                  <c:v>2776.1564278418209</c:v>
                </c:pt>
                <c:pt idx="8380">
                  <c:v>2836.3490442142129</c:v>
                </c:pt>
                <c:pt idx="8381">
                  <c:v>3073.4714723478774</c:v>
                </c:pt>
                <c:pt idx="8382">
                  <c:v>3146.4322194659276</c:v>
                </c:pt>
                <c:pt idx="8383">
                  <c:v>3145.520210126952</c:v>
                </c:pt>
                <c:pt idx="8384">
                  <c:v>3283.2336203122723</c:v>
                </c:pt>
                <c:pt idx="8385">
                  <c:v>3036.0790894498759</c:v>
                </c:pt>
                <c:pt idx="8386">
                  <c:v>3175.6165183131475</c:v>
                </c:pt>
                <c:pt idx="8387">
                  <c:v>3147.3442288049032</c:v>
                </c:pt>
                <c:pt idx="8388">
                  <c:v>3106.3038085509997</c:v>
                </c:pt>
                <c:pt idx="8389">
                  <c:v>3032.4310520939734</c:v>
                </c:pt>
                <c:pt idx="8390">
                  <c:v>3000.5107252298262</c:v>
                </c:pt>
                <c:pt idx="8391">
                  <c:v>2933.9340434846058</c:v>
                </c:pt>
                <c:pt idx="8392">
                  <c:v>3020.5749306872908</c:v>
                </c:pt>
                <c:pt idx="8393">
                  <c:v>3034.2550707719247</c:v>
                </c:pt>
                <c:pt idx="8394">
                  <c:v>3035.1670801109003</c:v>
                </c:pt>
                <c:pt idx="8395">
                  <c:v>3060.7033416022182</c:v>
                </c:pt>
                <c:pt idx="8396">
                  <c:v>3064.3513789581207</c:v>
                </c:pt>
                <c:pt idx="8397">
                  <c:v>3052.495257551438</c:v>
                </c:pt>
                <c:pt idx="8398">
                  <c:v>2926.6379687728004</c:v>
                </c:pt>
                <c:pt idx="8399">
                  <c:v>2735.1160075879175</c:v>
                </c:pt>
                <c:pt idx="8400">
                  <c:v>2634.7949803005981</c:v>
                </c:pt>
                <c:pt idx="8401">
                  <c:v>2565.4822705384504</c:v>
                </c:pt>
                <c:pt idx="8402">
                  <c:v>2517.145775572742</c:v>
                </c:pt>
                <c:pt idx="8403">
                  <c:v>2508.9376915219618</c:v>
                </c:pt>
                <c:pt idx="8404">
                  <c:v>2518.0577849117176</c:v>
                </c:pt>
                <c:pt idx="8405">
                  <c:v>2687.6915219611847</c:v>
                </c:pt>
                <c:pt idx="8406">
                  <c:v>2743.3240916386985</c:v>
                </c:pt>
                <c:pt idx="8407">
                  <c:v>2799.868670655188</c:v>
                </c:pt>
                <c:pt idx="8408">
                  <c:v>2886.5095578578726</c:v>
                </c:pt>
                <c:pt idx="8409">
                  <c:v>2948.5261929082158</c:v>
                </c:pt>
                <c:pt idx="8410">
                  <c:v>2859.1492776886034</c:v>
                </c:pt>
                <c:pt idx="8411">
                  <c:v>2796.2206332992855</c:v>
                </c:pt>
                <c:pt idx="8412">
                  <c:v>2783.4525025536268</c:v>
                </c:pt>
                <c:pt idx="8413">
                  <c:v>2840.909090909091</c:v>
                </c:pt>
                <c:pt idx="8414">
                  <c:v>2850.9411936378228</c:v>
                </c:pt>
                <c:pt idx="8415">
                  <c:v>2864.6213337224581</c:v>
                </c:pt>
                <c:pt idx="8416">
                  <c:v>2888.3335765358242</c:v>
                </c:pt>
                <c:pt idx="8417">
                  <c:v>2922.0779220779223</c:v>
                </c:pt>
                <c:pt idx="8418">
                  <c:v>2885.5975485188969</c:v>
                </c:pt>
                <c:pt idx="8419">
                  <c:v>2907.4857726543119</c:v>
                </c:pt>
                <c:pt idx="8420">
                  <c:v>2870.0933897563118</c:v>
                </c:pt>
                <c:pt idx="8421">
                  <c:v>2833.613016197286</c:v>
                </c:pt>
                <c:pt idx="8422">
                  <c:v>2825.4049321465054</c:v>
                </c:pt>
                <c:pt idx="8423">
                  <c:v>2643.9150736903553</c:v>
                </c:pt>
                <c:pt idx="8424">
                  <c:v>2561.8342331825479</c:v>
                </c:pt>
                <c:pt idx="8425">
                  <c:v>2557.2741864876698</c:v>
                </c:pt>
                <c:pt idx="8426">
                  <c:v>2552.7141397927912</c:v>
                </c:pt>
                <c:pt idx="8427">
                  <c:v>2554.5381584707434</c:v>
                </c:pt>
                <c:pt idx="8428">
                  <c:v>2544.5060557420111</c:v>
                </c:pt>
                <c:pt idx="8429">
                  <c:v>2622.0268495549399</c:v>
                </c:pt>
                <c:pt idx="8430">
                  <c:v>2770.6843718079676</c:v>
                </c:pt>
                <c:pt idx="8431">
                  <c:v>2808.9887640449442</c:v>
                </c:pt>
                <c:pt idx="8432">
                  <c:v>2860.0612870275795</c:v>
                </c:pt>
                <c:pt idx="8433">
                  <c:v>2872.8294177732382</c:v>
                </c:pt>
                <c:pt idx="8434">
                  <c:v>2864.6213337224572</c:v>
                </c:pt>
                <c:pt idx="8435">
                  <c:v>2810.812782722895</c:v>
                </c:pt>
                <c:pt idx="8436">
                  <c:v>2829.0529695024079</c:v>
                </c:pt>
                <c:pt idx="8437">
                  <c:v>2699.5476433678682</c:v>
                </c:pt>
                <c:pt idx="8438">
                  <c:v>2560.9222238435723</c:v>
                </c:pt>
                <c:pt idx="8439">
                  <c:v>2568.2182985553773</c:v>
                </c:pt>
                <c:pt idx="8440">
                  <c:v>2722.3478768422592</c:v>
                </c:pt>
                <c:pt idx="8441">
                  <c:v>2774.3324091638706</c:v>
                </c:pt>
                <c:pt idx="8442">
                  <c:v>3067.087406975048</c:v>
                </c:pt>
                <c:pt idx="8443">
                  <c:v>3207.5368451772952</c:v>
                </c:pt>
                <c:pt idx="8444">
                  <c:v>3184.7366117029046</c:v>
                </c:pt>
                <c:pt idx="8445">
                  <c:v>3088.0636217714873</c:v>
                </c:pt>
                <c:pt idx="8446">
                  <c:v>2834.5250255362616</c:v>
                </c:pt>
                <c:pt idx="8447">
                  <c:v>2766.1243251130895</c:v>
                </c:pt>
                <c:pt idx="8448">
                  <c:v>2713.227783452503</c:v>
                </c:pt>
                <c:pt idx="8449">
                  <c:v>2732.3799795709915</c:v>
                </c:pt>
                <c:pt idx="8450">
                  <c:v>2698.6356340288926</c:v>
                </c:pt>
                <c:pt idx="8451">
                  <c:v>2720.523858164308</c:v>
                </c:pt>
                <c:pt idx="8452">
                  <c:v>2770.6843718079672</c:v>
                </c:pt>
                <c:pt idx="8453">
                  <c:v>2933.9340434846058</c:v>
                </c:pt>
                <c:pt idx="8454">
                  <c:v>3027.8710053990958</c:v>
                </c:pt>
                <c:pt idx="8455">
                  <c:v>2992.3026411790461</c:v>
                </c:pt>
                <c:pt idx="8456">
                  <c:v>2992.3026411790461</c:v>
                </c:pt>
                <c:pt idx="8457">
                  <c:v>3232.161097329637</c:v>
                </c:pt>
                <c:pt idx="8458">
                  <c:v>3188.3846490588066</c:v>
                </c:pt>
                <c:pt idx="8459">
                  <c:v>3169.2324529403181</c:v>
                </c:pt>
                <c:pt idx="8460">
                  <c:v>3139.1361447541226</c:v>
                </c:pt>
                <c:pt idx="8461">
                  <c:v>3109.9518459069022</c:v>
                </c:pt>
                <c:pt idx="8462">
                  <c:v>3130.0160513643659</c:v>
                </c:pt>
                <c:pt idx="8463">
                  <c:v>3113.5998832628052</c:v>
                </c:pt>
                <c:pt idx="8464">
                  <c:v>3142.7841821100251</c:v>
                </c:pt>
                <c:pt idx="8465">
                  <c:v>3405.442871735007</c:v>
                </c:pt>
                <c:pt idx="8466">
                  <c:v>3422.7710491755433</c:v>
                </c:pt>
                <c:pt idx="8467">
                  <c:v>3479.3156281920328</c:v>
                </c:pt>
                <c:pt idx="8468">
                  <c:v>3398.146797023202</c:v>
                </c:pt>
                <c:pt idx="8469">
                  <c:v>3380.8186195826647</c:v>
                </c:pt>
                <c:pt idx="8470">
                  <c:v>3161.9363782285136</c:v>
                </c:pt>
                <c:pt idx="8471">
                  <c:v>3063.4393696191451</c:v>
                </c:pt>
                <c:pt idx="8472">
                  <c:v>2957.646286297972</c:v>
                </c:pt>
                <c:pt idx="8473">
                  <c:v>2841.8211002480671</c:v>
                </c:pt>
                <c:pt idx="8474">
                  <c:v>2787.1005399095288</c:v>
                </c:pt>
                <c:pt idx="8475">
                  <c:v>2773.420399824895</c:v>
                </c:pt>
                <c:pt idx="8476">
                  <c:v>2779.8044651977239</c:v>
                </c:pt>
                <c:pt idx="8477">
                  <c:v>2929.3739967897272</c:v>
                </c:pt>
                <c:pt idx="8478">
                  <c:v>2996.8626878739242</c:v>
                </c:pt>
                <c:pt idx="8479">
                  <c:v>3012.3668466365098</c:v>
                </c:pt>
                <c:pt idx="8480">
                  <c:v>3089.8876404494385</c:v>
                </c:pt>
                <c:pt idx="8481">
                  <c:v>3120.8959579746102</c:v>
                </c:pt>
                <c:pt idx="8482">
                  <c:v>3078.9435283817311</c:v>
                </c:pt>
                <c:pt idx="8483">
                  <c:v>3092.6236684663654</c:v>
                </c:pt>
                <c:pt idx="8484">
                  <c:v>3110.8638552458783</c:v>
                </c:pt>
                <c:pt idx="8485">
                  <c:v>3127.2800233474391</c:v>
                </c:pt>
                <c:pt idx="8486">
                  <c:v>3153.7282941777326</c:v>
                </c:pt>
                <c:pt idx="8487">
                  <c:v>3175.6165183131475</c:v>
                </c:pt>
                <c:pt idx="8488">
                  <c:v>3191.1206770757335</c:v>
                </c:pt>
                <c:pt idx="8489">
                  <c:v>3233.9851160075882</c:v>
                </c:pt>
                <c:pt idx="8490">
                  <c:v>3232.161097329637</c:v>
                </c:pt>
                <c:pt idx="8491">
                  <c:v>3209.3608638552464</c:v>
                </c:pt>
                <c:pt idx="8492">
                  <c:v>3240.3691813804176</c:v>
                </c:pt>
                <c:pt idx="8493">
                  <c:v>3167.4084342623673</c:v>
                </c:pt>
                <c:pt idx="8494">
                  <c:v>3016.9268933313874</c:v>
                </c:pt>
                <c:pt idx="8495">
                  <c:v>2906.5737633153362</c:v>
                </c:pt>
                <c:pt idx="8496">
                  <c:v>2844.5571282649939</c:v>
                </c:pt>
                <c:pt idx="8497">
                  <c:v>2807.1647453669925</c:v>
                </c:pt>
                <c:pt idx="8498">
                  <c:v>2740.5880636217717</c:v>
                </c:pt>
                <c:pt idx="8499">
                  <c:v>2730.5559608930394</c:v>
                </c:pt>
                <c:pt idx="8500">
                  <c:v>2804.4287173500661</c:v>
                </c:pt>
                <c:pt idx="8501">
                  <c:v>2841.8211002480671</c:v>
                </c:pt>
                <c:pt idx="8502">
                  <c:v>2922.9899314168979</c:v>
                </c:pt>
                <c:pt idx="8503">
                  <c:v>2945.7901648912884</c:v>
                </c:pt>
                <c:pt idx="8504">
                  <c:v>3010.5428279585585</c:v>
                </c:pt>
                <c:pt idx="8505">
                  <c:v>3085.3275937545604</c:v>
                </c:pt>
                <c:pt idx="8506">
                  <c:v>3173.7924996351962</c:v>
                </c:pt>
                <c:pt idx="8507">
                  <c:v>3185.6486210418798</c:v>
                </c:pt>
                <c:pt idx="8508">
                  <c:v>3195.6807237706116</c:v>
                </c:pt>
                <c:pt idx="8509">
                  <c:v>3216.6569385670509</c:v>
                </c:pt>
                <c:pt idx="8510">
                  <c:v>3150.0802568218301</c:v>
                </c:pt>
                <c:pt idx="8511">
                  <c:v>3202.9767984824171</c:v>
                </c:pt>
                <c:pt idx="8512">
                  <c:v>3161.9363782285131</c:v>
                </c:pt>
                <c:pt idx="8513">
                  <c:v>3180.1765650080265</c:v>
                </c:pt>
                <c:pt idx="8514">
                  <c:v>3140.0481540930982</c:v>
                </c:pt>
                <c:pt idx="8515">
                  <c:v>3132.7520793812928</c:v>
                </c:pt>
                <c:pt idx="8516">
                  <c:v>3059.7913322632426</c:v>
                </c:pt>
                <c:pt idx="8517">
                  <c:v>3042.4631548227057</c:v>
                </c:pt>
                <c:pt idx="8518">
                  <c:v>2910.2218006712392</c:v>
                </c:pt>
                <c:pt idx="8519">
                  <c:v>2819.0208667736765</c:v>
                </c:pt>
                <c:pt idx="8520">
                  <c:v>2772.5083904859184</c:v>
                </c:pt>
                <c:pt idx="8521">
                  <c:v>2758.8282504012845</c:v>
                </c:pt>
                <c:pt idx="8522">
                  <c:v>2684.9554939442578</c:v>
                </c:pt>
                <c:pt idx="8523">
                  <c:v>2623.8508682328911</c:v>
                </c:pt>
                <c:pt idx="8524">
                  <c:v>2657.5952137749891</c:v>
                </c:pt>
                <c:pt idx="8525">
                  <c:v>2765.2123157741134</c:v>
                </c:pt>
                <c:pt idx="8526">
                  <c:v>2778.8924558587482</c:v>
                </c:pt>
                <c:pt idx="8527">
                  <c:v>2725.9959141981612</c:v>
                </c:pt>
                <c:pt idx="8528">
                  <c:v>2691.3395593170876</c:v>
                </c:pt>
                <c:pt idx="8529">
                  <c:v>2643.0030643513792</c:v>
                </c:pt>
                <c:pt idx="8530">
                  <c:v>2663.0672698088429</c:v>
                </c:pt>
                <c:pt idx="8531">
                  <c:v>2710.4917554355757</c:v>
                </c:pt>
                <c:pt idx="8532">
                  <c:v>2751.5321756894796</c:v>
                </c:pt>
                <c:pt idx="8533">
                  <c:v>2746.0601196556254</c:v>
                </c:pt>
                <c:pt idx="8534">
                  <c:v>2763.3882970961627</c:v>
                </c:pt>
                <c:pt idx="8535">
                  <c:v>2744.2361009776741</c:v>
                </c:pt>
                <c:pt idx="8536">
                  <c:v>2794.3966146213338</c:v>
                </c:pt>
                <c:pt idx="8537">
                  <c:v>2816.2848387567487</c:v>
                </c:pt>
                <c:pt idx="8538">
                  <c:v>2898.3656792645561</c:v>
                </c:pt>
                <c:pt idx="8539">
                  <c:v>2985.0065664672411</c:v>
                </c:pt>
                <c:pt idx="8540">
                  <c:v>2933.9340434846058</c:v>
                </c:pt>
                <c:pt idx="8541">
                  <c:v>2847.2931562819208</c:v>
                </c:pt>
                <c:pt idx="8542">
                  <c:v>2644.8270830293304</c:v>
                </c:pt>
                <c:pt idx="8543">
                  <c:v>2536.2979716912305</c:v>
                </c:pt>
                <c:pt idx="8544">
                  <c:v>2466.9852619290823</c:v>
                </c:pt>
                <c:pt idx="8545">
                  <c:v>2422.2968043192764</c:v>
                </c:pt>
                <c:pt idx="8546">
                  <c:v>2400.4085801838614</c:v>
                </c:pt>
                <c:pt idx="8547">
                  <c:v>2394.9365241500077</c:v>
                </c:pt>
                <c:pt idx="8548">
                  <c:v>2400.4085801838614</c:v>
                </c:pt>
                <c:pt idx="8549">
                  <c:v>2516.2337662337668</c:v>
                </c:pt>
                <c:pt idx="8550">
                  <c:v>2635.7069896395742</c:v>
                </c:pt>
                <c:pt idx="8551">
                  <c:v>2659.4192324529404</c:v>
                </c:pt>
                <c:pt idx="8552">
                  <c:v>2657.5952137749891</c:v>
                </c:pt>
                <c:pt idx="8553">
                  <c:v>2682.2194659273314</c:v>
                </c:pt>
                <c:pt idx="8554">
                  <c:v>2705.9317087406976</c:v>
                </c:pt>
                <c:pt idx="8555">
                  <c:v>2698.6356340288926</c:v>
                </c:pt>
                <c:pt idx="8556">
                  <c:v>2743.3240916386985</c:v>
                </c:pt>
                <c:pt idx="8557">
                  <c:v>2742.4120822997229</c:v>
                </c:pt>
                <c:pt idx="8558">
                  <c:v>2751.5321756894796</c:v>
                </c:pt>
                <c:pt idx="8559">
                  <c:v>2731.467970232015</c:v>
                </c:pt>
                <c:pt idx="8560">
                  <c:v>2753.3561943674308</c:v>
                </c:pt>
                <c:pt idx="8561">
                  <c:v>2791.6605866044069</c:v>
                </c:pt>
                <c:pt idx="8562">
                  <c:v>2789.8365679264557</c:v>
                </c:pt>
                <c:pt idx="8563">
                  <c:v>2771.5963811469428</c:v>
                </c:pt>
                <c:pt idx="8564">
                  <c:v>2753.3561943674304</c:v>
                </c:pt>
                <c:pt idx="8565">
                  <c:v>2744.2361009776741</c:v>
                </c:pt>
                <c:pt idx="8566">
                  <c:v>2487.9614767255221</c:v>
                </c:pt>
                <c:pt idx="8567">
                  <c:v>2417.7367576243987</c:v>
                </c:pt>
                <c:pt idx="8568">
                  <c:v>2414.0887202684953</c:v>
                </c:pt>
                <c:pt idx="8569">
                  <c:v>2410.4406829125933</c:v>
                </c:pt>
                <c:pt idx="8570">
                  <c:v>2377.6083467094704</c:v>
                </c:pt>
                <c:pt idx="8571">
                  <c:v>2354.8081132350799</c:v>
                </c:pt>
                <c:pt idx="8572">
                  <c:v>2407.7046548956664</c:v>
                </c:pt>
                <c:pt idx="8573">
                  <c:v>2522.6178316065957</c:v>
                </c:pt>
                <c:pt idx="8574">
                  <c:v>2611.9947468262076</c:v>
                </c:pt>
                <c:pt idx="8575">
                  <c:v>2623.8508682328911</c:v>
                </c:pt>
                <c:pt idx="8576">
                  <c:v>2689.5155406391368</c:v>
                </c:pt>
                <c:pt idx="8577">
                  <c:v>2769.7723624689916</c:v>
                </c:pt>
                <c:pt idx="8578">
                  <c:v>2799.868670655188</c:v>
                </c:pt>
                <c:pt idx="8579">
                  <c:v>2860.0612870275795</c:v>
                </c:pt>
                <c:pt idx="8580">
                  <c:v>2869.1813804173357</c:v>
                </c:pt>
                <c:pt idx="8581">
                  <c:v>2936.6700715015327</c:v>
                </c:pt>
                <c:pt idx="8582">
                  <c:v>3022.3989493652412</c:v>
                </c:pt>
                <c:pt idx="8583">
                  <c:v>3003.2467532467535</c:v>
                </c:pt>
                <c:pt idx="8584">
                  <c:v>2994.1266598569973</c:v>
                </c:pt>
                <c:pt idx="8585">
                  <c:v>2987.742594484168</c:v>
                </c:pt>
                <c:pt idx="8586">
                  <c:v>2912.9578286881656</c:v>
                </c:pt>
                <c:pt idx="8587">
                  <c:v>2871.9174084342626</c:v>
                </c:pt>
                <c:pt idx="8588">
                  <c:v>2845.4691376039696</c:v>
                </c:pt>
                <c:pt idx="8589">
                  <c:v>2757.9162410623085</c:v>
                </c:pt>
                <c:pt idx="8590">
                  <c:v>2538.1219903691817</c:v>
                </c:pt>
                <c:pt idx="8591">
                  <c:v>2456.95315920035</c:v>
                </c:pt>
                <c:pt idx="8592">
                  <c:v>2445.0970377936669</c:v>
                </c:pt>
                <c:pt idx="8593">
                  <c:v>2461.5132058952281</c:v>
                </c:pt>
                <c:pt idx="8594">
                  <c:v>2438.7129724208376</c:v>
                </c:pt>
                <c:pt idx="8595">
                  <c:v>2448.7450751495699</c:v>
                </c:pt>
                <c:pt idx="8596">
                  <c:v>2464.2492339121559</c:v>
                </c:pt>
                <c:pt idx="8597">
                  <c:v>2577.3383919451339</c:v>
                </c:pt>
                <c:pt idx="8598">
                  <c:v>2684.0434846052826</c:v>
                </c:pt>
                <c:pt idx="8599">
                  <c:v>2687.6915219611847</c:v>
                </c:pt>
                <c:pt idx="8600">
                  <c:v>2700.4596527068438</c:v>
                </c:pt>
                <c:pt idx="8601">
                  <c:v>2736.9400262658692</c:v>
                </c:pt>
                <c:pt idx="8602">
                  <c:v>2813.5488107398219</c:v>
                </c:pt>
                <c:pt idx="8603">
                  <c:v>2915.6938567050929</c:v>
                </c:pt>
                <c:pt idx="8604">
                  <c:v>2988.6546038231431</c:v>
                </c:pt>
                <c:pt idx="8605">
                  <c:v>3072.5594630089017</c:v>
                </c:pt>
                <c:pt idx="8606">
                  <c:v>3099.0077338391948</c:v>
                </c:pt>
                <c:pt idx="8607">
                  <c:v>3099.9197431781704</c:v>
                </c:pt>
                <c:pt idx="8608">
                  <c:v>3190.2086677367579</c:v>
                </c:pt>
                <c:pt idx="8609">
                  <c:v>3202.9767984824166</c:v>
                </c:pt>
                <c:pt idx="8610">
                  <c:v>3144.6082007879763</c:v>
                </c:pt>
                <c:pt idx="8611">
                  <c:v>3147.3442288049032</c:v>
                </c:pt>
                <c:pt idx="8612">
                  <c:v>3110.8638552458783</c:v>
                </c:pt>
                <c:pt idx="8613">
                  <c:v>3032.4310520939734</c:v>
                </c:pt>
                <c:pt idx="8614">
                  <c:v>2712.3157741135269</c:v>
                </c:pt>
                <c:pt idx="8615">
                  <c:v>2660.3312417919165</c:v>
                </c:pt>
                <c:pt idx="8616">
                  <c:v>2663.0672698088429</c:v>
                </c:pt>
                <c:pt idx="8617">
                  <c:v>2645.7390923683065</c:v>
                </c:pt>
                <c:pt idx="8618">
                  <c:v>2608.3467094703051</c:v>
                </c:pt>
                <c:pt idx="8619">
                  <c:v>2652.1231577411354</c:v>
                </c:pt>
                <c:pt idx="8620">
                  <c:v>2740.5880636217717</c:v>
                </c:pt>
                <c:pt idx="8621">
                  <c:v>2870.0933897563114</c:v>
                </c:pt>
                <c:pt idx="8622">
                  <c:v>3052.4952575514376</c:v>
                </c:pt>
                <c:pt idx="8623">
                  <c:v>3130.0160513643659</c:v>
                </c:pt>
                <c:pt idx="8624">
                  <c:v>3200.2407704654902</c:v>
                </c:pt>
                <c:pt idx="8625">
                  <c:v>3214.8329198890997</c:v>
                </c:pt>
                <c:pt idx="8626">
                  <c:v>3483.8756748869105</c:v>
                </c:pt>
                <c:pt idx="8627">
                  <c:v>3569.6045527506199</c:v>
                </c:pt>
                <c:pt idx="8628">
                  <c:v>3536.7722165474975</c:v>
                </c:pt>
                <c:pt idx="8629">
                  <c:v>3546.8043192762302</c:v>
                </c:pt>
                <c:pt idx="8630">
                  <c:v>3578.724646140377</c:v>
                </c:pt>
                <c:pt idx="8631">
                  <c:v>3565.9565153947178</c:v>
                </c:pt>
                <c:pt idx="8632">
                  <c:v>3538.5962352254492</c:v>
                </c:pt>
                <c:pt idx="8633">
                  <c:v>3500.2918429884721</c:v>
                </c:pt>
                <c:pt idx="8634">
                  <c:v>3366.2264701590548</c:v>
                </c:pt>
                <c:pt idx="8635">
                  <c:v>3273.2015175835404</c:v>
                </c:pt>
                <c:pt idx="8636">
                  <c:v>3194.768714431636</c:v>
                </c:pt>
                <c:pt idx="8637">
                  <c:v>3176.5285276521231</c:v>
                </c:pt>
                <c:pt idx="8638">
                  <c:v>3154.6403035167077</c:v>
                </c:pt>
                <c:pt idx="8639">
                  <c:v>3071.6474536699261</c:v>
                </c:pt>
                <c:pt idx="8640">
                  <c:v>3016.0148839924127</c:v>
                </c:pt>
                <c:pt idx="8641">
                  <c:v>2945.7901648912884</c:v>
                </c:pt>
                <c:pt idx="8642">
                  <c:v>2891.9816138917267</c:v>
                </c:pt>
                <c:pt idx="8643">
                  <c:v>2872.8294177732382</c:v>
                </c:pt>
                <c:pt idx="8644">
                  <c:v>2964.942361009777</c:v>
                </c:pt>
                <c:pt idx="8645">
                  <c:v>3122.7199766525609</c:v>
                </c:pt>
                <c:pt idx="8646">
                  <c:v>3191.1206770757335</c:v>
                </c:pt>
                <c:pt idx="8647">
                  <c:v>3184.7366117029042</c:v>
                </c:pt>
                <c:pt idx="8648">
                  <c:v>3436.4511892601786</c:v>
                </c:pt>
                <c:pt idx="8649">
                  <c:v>3633.4452064789148</c:v>
                </c:pt>
                <c:pt idx="8650">
                  <c:v>3614.2930103604263</c:v>
                </c:pt>
                <c:pt idx="8651">
                  <c:v>3682.6937107835984</c:v>
                </c:pt>
                <c:pt idx="8652">
                  <c:v>3690.9017948343794</c:v>
                </c:pt>
                <c:pt idx="8653">
                  <c:v>3742.8863271559899</c:v>
                </c:pt>
                <c:pt idx="8654">
                  <c:v>3818.5831022909674</c:v>
                </c:pt>
                <c:pt idx="8655">
                  <c:v>3916.1681015613608</c:v>
                </c:pt>
                <c:pt idx="8656">
                  <c:v>3992.7768860353131</c:v>
                </c:pt>
                <c:pt idx="8657">
                  <c:v>4028.3452502553628</c:v>
                </c:pt>
                <c:pt idx="8658">
                  <c:v>3936.2323070188245</c:v>
                </c:pt>
                <c:pt idx="8659">
                  <c:v>3896.1038961038962</c:v>
                </c:pt>
                <c:pt idx="8660">
                  <c:v>3740.1502991390635</c:v>
                </c:pt>
                <c:pt idx="8661">
                  <c:v>3669.0135706989636</c:v>
                </c:pt>
                <c:pt idx="8662">
                  <c:v>3472.0195534802278</c:v>
                </c:pt>
                <c:pt idx="8663">
                  <c:v>3429.1551145483731</c:v>
                </c:pt>
                <c:pt idx="8664">
                  <c:v>3316.9779658543703</c:v>
                </c:pt>
                <c:pt idx="8665">
                  <c:v>3274.113526922516</c:v>
                </c:pt>
                <c:pt idx="8666">
                  <c:v>3174.7045089741719</c:v>
                </c:pt>
                <c:pt idx="8667">
                  <c:v>3204.8008171603683</c:v>
                </c:pt>
                <c:pt idx="8668">
                  <c:v>3255.8733401430031</c:v>
                </c:pt>
                <c:pt idx="8669">
                  <c:v>3404.5308623960309</c:v>
                </c:pt>
                <c:pt idx="8670">
                  <c:v>3437.3631985991542</c:v>
                </c:pt>
                <c:pt idx="8671">
                  <c:v>3445.5712826499343</c:v>
                </c:pt>
                <c:pt idx="8672">
                  <c:v>3549.5403472931566</c:v>
                </c:pt>
                <c:pt idx="8673">
                  <c:v>3634.3572158178904</c:v>
                </c:pt>
                <c:pt idx="8674">
                  <c:v>3603.3488982927188</c:v>
                </c:pt>
                <c:pt idx="8675">
                  <c:v>3703.6699255800381</c:v>
                </c:pt>
                <c:pt idx="8676">
                  <c:v>3752.0064205457461</c:v>
                </c:pt>
                <c:pt idx="8677">
                  <c:v>3785.750766087845</c:v>
                </c:pt>
                <c:pt idx="8678">
                  <c:v>3798.5188968335033</c:v>
                </c:pt>
                <c:pt idx="8679">
                  <c:v>3795.7828688165778</c:v>
                </c:pt>
                <c:pt idx="8680">
                  <c:v>3817.6710929519923</c:v>
                </c:pt>
                <c:pt idx="8681">
                  <c:v>3815.8470742740406</c:v>
                </c:pt>
                <c:pt idx="8682">
                  <c:v>3757.4784765796007</c:v>
                </c:pt>
                <c:pt idx="8683">
                  <c:v>3658.0694586312566</c:v>
                </c:pt>
                <c:pt idx="8684">
                  <c:v>3704.5819349190147</c:v>
                </c:pt>
                <c:pt idx="8685">
                  <c:v>3696.3738508682336</c:v>
                </c:pt>
                <c:pt idx="8686">
                  <c:v>3607.9089449875969</c:v>
                </c:pt>
                <c:pt idx="8687">
                  <c:v>3656.2454399533049</c:v>
                </c:pt>
                <c:pt idx="8688">
                  <c:v>3571.428571428572</c:v>
                </c:pt>
                <c:pt idx="8689">
                  <c:v>3570.5165620895959</c:v>
                </c:pt>
                <c:pt idx="8690">
                  <c:v>3550.4523566321327</c:v>
                </c:pt>
                <c:pt idx="8691">
                  <c:v>3501.2038523274482</c:v>
                </c:pt>
                <c:pt idx="8692">
                  <c:v>3541.3322632423756</c:v>
                </c:pt>
                <c:pt idx="8693">
                  <c:v>3675.3976360717938</c:v>
                </c:pt>
                <c:pt idx="8694">
                  <c:v>3706.4059535969645</c:v>
                </c:pt>
                <c:pt idx="8695">
                  <c:v>3731.9422150882829</c:v>
                </c:pt>
                <c:pt idx="8696">
                  <c:v>3675.3976360717938</c:v>
                </c:pt>
                <c:pt idx="8697">
                  <c:v>3710.0539909528675</c:v>
                </c:pt>
                <c:pt idx="8698">
                  <c:v>3763.8625419524305</c:v>
                </c:pt>
                <c:pt idx="8699">
                  <c:v>3624.3251130891585</c:v>
                </c:pt>
                <c:pt idx="8700">
                  <c:v>3644.3893185466222</c:v>
                </c:pt>
                <c:pt idx="8701">
                  <c:v>3591.4927768860352</c:v>
                </c:pt>
                <c:pt idx="8702">
                  <c:v>3427.3310958704224</c:v>
                </c:pt>
                <c:pt idx="8703">
                  <c:v>3346.1622647015911</c:v>
                </c:pt>
                <c:pt idx="8704">
                  <c:v>3371.698526192908</c:v>
                </c:pt>
                <c:pt idx="8705">
                  <c:v>3356.1943674303229</c:v>
                </c:pt>
                <c:pt idx="8706">
                  <c:v>3269.5534802276375</c:v>
                </c:pt>
                <c:pt idx="8707">
                  <c:v>3280.4975922953458</c:v>
                </c:pt>
                <c:pt idx="8708">
                  <c:v>3217.568947906027</c:v>
                </c:pt>
                <c:pt idx="8709">
                  <c:v>3130.0160513643659</c:v>
                </c:pt>
                <c:pt idx="8710">
                  <c:v>2839.0850722311397</c:v>
                </c:pt>
                <c:pt idx="8711">
                  <c:v>2646.6511017072817</c:v>
                </c:pt>
                <c:pt idx="8712">
                  <c:v>2601.0506347585001</c:v>
                </c:pt>
                <c:pt idx="8713">
                  <c:v>2559.098205165621</c:v>
                </c:pt>
                <c:pt idx="8714">
                  <c:v>2489.7854954034733</c:v>
                </c:pt>
                <c:pt idx="8715">
                  <c:v>2448.7450751495699</c:v>
                </c:pt>
                <c:pt idx="8716">
                  <c:v>2527.1778783014738</c:v>
                </c:pt>
                <c:pt idx="8717">
                  <c:v>2753.3561943674304</c:v>
                </c:pt>
                <c:pt idx="8718">
                  <c:v>2806.2527360280169</c:v>
                </c:pt>
                <c:pt idx="8719">
                  <c:v>2900.1896979425069</c:v>
                </c:pt>
                <c:pt idx="8720">
                  <c:v>2906.5737633153362</c:v>
                </c:pt>
                <c:pt idx="8721">
                  <c:v>2984.0945571282655</c:v>
                </c:pt>
                <c:pt idx="8722">
                  <c:v>2976.79848241646</c:v>
                </c:pt>
                <c:pt idx="8723">
                  <c:v>2991.39063184007</c:v>
                </c:pt>
                <c:pt idx="8724">
                  <c:v>2966.7663796877282</c:v>
                </c:pt>
                <c:pt idx="8725">
                  <c:v>2935.7580621625571</c:v>
                </c:pt>
                <c:pt idx="8726">
                  <c:v>2876.4774551291407</c:v>
                </c:pt>
                <c:pt idx="8727">
                  <c:v>2834.5250255362616</c:v>
                </c:pt>
                <c:pt idx="8728">
                  <c:v>2793.4846052823582</c:v>
                </c:pt>
                <c:pt idx="8729">
                  <c:v>2718.6998394863563</c:v>
                </c:pt>
                <c:pt idx="8730">
                  <c:v>2779.8044651977239</c:v>
                </c:pt>
                <c:pt idx="8731">
                  <c:v>2698.635634028893</c:v>
                </c:pt>
                <c:pt idx="8732">
                  <c:v>2694.9875966729901</c:v>
                </c:pt>
                <c:pt idx="8733">
                  <c:v>2644.8270830293304</c:v>
                </c:pt>
                <c:pt idx="8734">
                  <c:v>2435.0649350649351</c:v>
                </c:pt>
                <c:pt idx="8735">
                  <c:v>2425.0328323362037</c:v>
                </c:pt>
                <c:pt idx="8736">
                  <c:v>2410.4406829125933</c:v>
                </c:pt>
                <c:pt idx="8737">
                  <c:v>2407.7046548956664</c:v>
                </c:pt>
                <c:pt idx="8738">
                  <c:v>2445.0970377936674</c:v>
                </c:pt>
                <c:pt idx="8739">
                  <c:v>2438.7129724208376</c:v>
                </c:pt>
                <c:pt idx="8740">
                  <c:v>2466.9852619290823</c:v>
                </c:pt>
                <c:pt idx="8741">
                  <c:v>2696.8116153509413</c:v>
                </c:pt>
                <c:pt idx="8742">
                  <c:v>2852.7652123157741</c:v>
                </c:pt>
                <c:pt idx="8743">
                  <c:v>2859.1492776886034</c:v>
                </c:pt>
                <c:pt idx="8744">
                  <c:v>2941.2301181964108</c:v>
                </c:pt>
                <c:pt idx="8745">
                  <c:v>2940.3181088574352</c:v>
                </c:pt>
                <c:pt idx="8746">
                  <c:v>3073.4714723478774</c:v>
                </c:pt>
                <c:pt idx="8747">
                  <c:v>3125.4560046694878</c:v>
                </c:pt>
                <c:pt idx="8748">
                  <c:v>3174.7045089741719</c:v>
                </c:pt>
                <c:pt idx="8749">
                  <c:v>3225.7770319568071</c:v>
                </c:pt>
                <c:pt idx="8750">
                  <c:v>3424.595067853495</c:v>
                </c:pt>
                <c:pt idx="8751">
                  <c:v>3592.4047862250109</c:v>
                </c:pt>
                <c:pt idx="8752">
                  <c:v>3694.5498321902819</c:v>
                </c:pt>
                <c:pt idx="8753">
                  <c:v>3741.9743178170152</c:v>
                </c:pt>
                <c:pt idx="8754">
                  <c:v>3834.087261053553</c:v>
                </c:pt>
                <c:pt idx="8755">
                  <c:v>3811.2870275791624</c:v>
                </c:pt>
                <c:pt idx="8756">
                  <c:v>3809.4630089012112</c:v>
                </c:pt>
                <c:pt idx="8757">
                  <c:v>3559.572450021888</c:v>
                </c:pt>
                <c:pt idx="8758">
                  <c:v>3281.409601634321</c:v>
                </c:pt>
                <c:pt idx="8759">
                  <c:v>3010.5428279585581</c:v>
                </c:pt>
              </c:numCache>
            </c:numRef>
          </c:val>
          <c:smooth val="0"/>
          <c:extLst>
            <c:ext xmlns:c16="http://schemas.microsoft.com/office/drawing/2014/chart" uri="{C3380CC4-5D6E-409C-BE32-E72D297353CC}">
              <c16:uniqueId val="{00000000-4D81-4294-AE89-C36CB69F4AA0}"/>
            </c:ext>
          </c:extLst>
        </c:ser>
        <c:dLbls>
          <c:showLegendKey val="0"/>
          <c:showVal val="0"/>
          <c:showCatName val="0"/>
          <c:showSerName val="0"/>
          <c:showPercent val="0"/>
          <c:showBubbleSize val="0"/>
        </c:dLbls>
        <c:smooth val="0"/>
        <c:axId val="943941776"/>
        <c:axId val="943939280"/>
        <c:extLst/>
      </c:lineChart>
      <c:catAx>
        <c:axId val="943941776"/>
        <c:scaling>
          <c:orientation val="minMax"/>
        </c:scaling>
        <c:delete val="0"/>
        <c:axPos val="b"/>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943939280"/>
        <c:crosses val="autoZero"/>
        <c:auto val="1"/>
        <c:lblAlgn val="ctr"/>
        <c:lblOffset val="100"/>
        <c:noMultiLvlLbl val="0"/>
      </c:catAx>
      <c:valAx>
        <c:axId val="943939280"/>
        <c:scaling>
          <c:orientation val="minMax"/>
          <c:max val="6000"/>
        </c:scaling>
        <c:delete val="0"/>
        <c:axPos val="l"/>
        <c:majorGridlines>
          <c:spPr>
            <a:ln w="15875" cap="flat" cmpd="sng" algn="ctr">
              <a:solidFill>
                <a:srgbClr val="E7E6E6">
                  <a:lumMod val="90000"/>
                </a:srgb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sz="1000">
                    <a:solidFill>
                      <a:schemeClr val="tx1"/>
                    </a:solidFill>
                  </a:rPr>
                  <a:t>MW</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943941776"/>
        <c:crosses val="autoZero"/>
        <c:crossBetween val="between"/>
        <c:majorUnit val="5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3377280092422151"/>
          <c:y val="6.4925048531176754E-2"/>
          <c:w val="0.7021806745825977"/>
          <c:h val="0.78361489591042977"/>
        </c:manualLayout>
      </c:layout>
      <c:lineChart>
        <c:grouping val="standard"/>
        <c:varyColors val="0"/>
        <c:ser>
          <c:idx val="0"/>
          <c:order val="0"/>
          <c:spPr>
            <a:ln w="19050" cap="rnd">
              <a:solidFill>
                <a:sysClr val="windowText" lastClr="000000"/>
              </a:solidFill>
              <a:round/>
            </a:ln>
            <a:effectLst/>
          </c:spPr>
          <c:marker>
            <c:symbol val="none"/>
          </c:marker>
          <c:val>
            <c:numRef>
              <c:f>'Kütuste Jaemüük 2019'!$T$2:$T$13</c:f>
              <c:numCache>
                <c:formatCode>#,##0</c:formatCode>
                <c:ptCount val="12"/>
                <c:pt idx="0">
                  <c:v>909.19424491575558</c:v>
                </c:pt>
                <c:pt idx="1">
                  <c:v>1005.7924151480322</c:v>
                </c:pt>
                <c:pt idx="2">
                  <c:v>1015.4132161123653</c:v>
                </c:pt>
                <c:pt idx="3">
                  <c:v>1048.1776593180243</c:v>
                </c:pt>
                <c:pt idx="4">
                  <c:v>1127.4167123554355</c:v>
                </c:pt>
                <c:pt idx="5">
                  <c:v>1164.7268929950455</c:v>
                </c:pt>
                <c:pt idx="6">
                  <c:v>1173.0500749243276</c:v>
                </c:pt>
                <c:pt idx="7">
                  <c:v>1174.7662357854388</c:v>
                </c:pt>
                <c:pt idx="8">
                  <c:v>1110.6020649430707</c:v>
                </c:pt>
                <c:pt idx="9">
                  <c:v>1063.2708283745967</c:v>
                </c:pt>
                <c:pt idx="10">
                  <c:v>1030.1150489436263</c:v>
                </c:pt>
                <c:pt idx="11">
                  <c:v>940.81144965086628</c:v>
                </c:pt>
              </c:numCache>
            </c:numRef>
          </c:val>
          <c:smooth val="1"/>
          <c:extLst xmlns:c15="http://schemas.microsoft.com/office/drawing/2012/chart">
            <c:ext xmlns:c16="http://schemas.microsoft.com/office/drawing/2014/chart" uri="{C3380CC4-5D6E-409C-BE32-E72D297353CC}">
              <c16:uniqueId val="{00000000-E35C-4A8B-8DBB-E32682800701}"/>
            </c:ext>
          </c:extLst>
        </c:ser>
        <c:dLbls>
          <c:showLegendKey val="0"/>
          <c:showVal val="0"/>
          <c:showCatName val="0"/>
          <c:showSerName val="0"/>
          <c:showPercent val="0"/>
          <c:showBubbleSize val="0"/>
        </c:dLbls>
        <c:smooth val="0"/>
        <c:axId val="943941776"/>
        <c:axId val="943939280"/>
        <c:extLst/>
      </c:lineChart>
      <c:catAx>
        <c:axId val="943941776"/>
        <c:scaling>
          <c:orientation val="minMax"/>
        </c:scaling>
        <c:delete val="0"/>
        <c:axPos val="b"/>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943939280"/>
        <c:crosses val="autoZero"/>
        <c:auto val="1"/>
        <c:lblAlgn val="ctr"/>
        <c:lblOffset val="100"/>
        <c:noMultiLvlLbl val="0"/>
      </c:catAx>
      <c:valAx>
        <c:axId val="943939280"/>
        <c:scaling>
          <c:orientation val="minMax"/>
        </c:scaling>
        <c:delete val="0"/>
        <c:axPos val="l"/>
        <c:majorGridlines>
          <c:spPr>
            <a:ln w="15875" cap="flat" cmpd="sng" algn="ctr">
              <a:solidFill>
                <a:srgbClr val="E7E6E6">
                  <a:lumMod val="90000"/>
                </a:srgb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sz="1000" b="0">
                    <a:solidFill>
                      <a:schemeClr val="tx1"/>
                    </a:solidFill>
                  </a:rPr>
                  <a:t>MW</a:t>
                </a:r>
              </a:p>
            </c:rich>
          </c:tx>
          <c:layout>
            <c:manualLayout>
              <c:xMode val="edge"/>
              <c:yMode val="edge"/>
              <c:x val="7.2289895540776264E-2"/>
              <c:y val="0.37217754302266148"/>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94394177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630221880924866"/>
          <c:y val="7.0250604069707512E-2"/>
          <c:w val="0.73987494965236611"/>
          <c:h val="0.7828617692390859"/>
        </c:manualLayout>
      </c:layout>
      <c:lineChart>
        <c:grouping val="standard"/>
        <c:varyColors val="0"/>
        <c:ser>
          <c:idx val="0"/>
          <c:order val="0"/>
          <c:spPr>
            <a:ln w="9525" cap="rnd">
              <a:solidFill>
                <a:srgbClr val="A2C02F"/>
              </a:solidFill>
              <a:round/>
            </a:ln>
            <a:effectLst/>
          </c:spPr>
          <c:marker>
            <c:symbol val="none"/>
          </c:marker>
          <c:val>
            <c:numRef>
              <c:f>Summary!$D$3:$D$8762</c:f>
              <c:numCache>
                <c:formatCode>0</c:formatCode>
                <c:ptCount val="8760"/>
                <c:pt idx="0">
                  <c:v>841.35940000000005</c:v>
                </c:pt>
                <c:pt idx="1">
                  <c:v>845.10419999999999</c:v>
                </c:pt>
                <c:pt idx="2">
                  <c:v>828.52610000000004</c:v>
                </c:pt>
                <c:pt idx="3">
                  <c:v>800.81769999999995</c:v>
                </c:pt>
                <c:pt idx="4">
                  <c:v>775.26570000000004</c:v>
                </c:pt>
                <c:pt idx="5">
                  <c:v>766.07129999999995</c:v>
                </c:pt>
                <c:pt idx="6">
                  <c:v>759.43209999999999</c:v>
                </c:pt>
                <c:pt idx="7">
                  <c:v>769.32349999999997</c:v>
                </c:pt>
                <c:pt idx="8">
                  <c:v>791.41780000000006</c:v>
                </c:pt>
                <c:pt idx="9">
                  <c:v>800.17250000000001</c:v>
                </c:pt>
                <c:pt idx="10">
                  <c:v>805.37840000000006</c:v>
                </c:pt>
                <c:pt idx="11">
                  <c:v>850.9597</c:v>
                </c:pt>
                <c:pt idx="12">
                  <c:v>876.1857</c:v>
                </c:pt>
                <c:pt idx="13">
                  <c:v>887.15719999999999</c:v>
                </c:pt>
                <c:pt idx="14">
                  <c:v>887.24480000000005</c:v>
                </c:pt>
                <c:pt idx="15">
                  <c:v>890.5068</c:v>
                </c:pt>
                <c:pt idx="16">
                  <c:v>924.94820000000004</c:v>
                </c:pt>
                <c:pt idx="17">
                  <c:v>978.04219999999998</c:v>
                </c:pt>
                <c:pt idx="18">
                  <c:v>979.63900000000001</c:v>
                </c:pt>
                <c:pt idx="19">
                  <c:v>987.74509999999998</c:v>
                </c:pt>
                <c:pt idx="20">
                  <c:v>969.40440000000001</c:v>
                </c:pt>
                <c:pt idx="21">
                  <c:v>954.73260000000005</c:v>
                </c:pt>
                <c:pt idx="22">
                  <c:v>915.38750000000005</c:v>
                </c:pt>
                <c:pt idx="23">
                  <c:v>859.44529999999997</c:v>
                </c:pt>
                <c:pt idx="24">
                  <c:v>820.62969999999996</c:v>
                </c:pt>
                <c:pt idx="25">
                  <c:v>775.25459999999998</c:v>
                </c:pt>
                <c:pt idx="26">
                  <c:v>747.26179999999999</c:v>
                </c:pt>
                <c:pt idx="27">
                  <c:v>719.81910000000005</c:v>
                </c:pt>
                <c:pt idx="28">
                  <c:v>711.60360000000003</c:v>
                </c:pt>
                <c:pt idx="29">
                  <c:v>722.51969999999994</c:v>
                </c:pt>
                <c:pt idx="30">
                  <c:v>783.02660000000003</c:v>
                </c:pt>
                <c:pt idx="31">
                  <c:v>913.05709999999999</c:v>
                </c:pt>
                <c:pt idx="32">
                  <c:v>1034.8956000000001</c:v>
                </c:pt>
                <c:pt idx="33">
                  <c:v>1118.6677</c:v>
                </c:pt>
                <c:pt idx="34">
                  <c:v>1141.5337</c:v>
                </c:pt>
                <c:pt idx="35">
                  <c:v>1176.9612999999999</c:v>
                </c:pt>
                <c:pt idx="36">
                  <c:v>1176.8617999999999</c:v>
                </c:pt>
                <c:pt idx="37">
                  <c:v>1203.4367999999999</c:v>
                </c:pt>
                <c:pt idx="38">
                  <c:v>1203.6024</c:v>
                </c:pt>
                <c:pt idx="39">
                  <c:v>1209.6315</c:v>
                </c:pt>
                <c:pt idx="40">
                  <c:v>1248.0497</c:v>
                </c:pt>
                <c:pt idx="41">
                  <c:v>1256.9000000000001</c:v>
                </c:pt>
                <c:pt idx="42">
                  <c:v>1243.0931</c:v>
                </c:pt>
                <c:pt idx="43">
                  <c:v>1206.8859</c:v>
                </c:pt>
                <c:pt idx="44">
                  <c:v>1168.2334000000001</c:v>
                </c:pt>
                <c:pt idx="45">
                  <c:v>1133.5781999999999</c:v>
                </c:pt>
                <c:pt idx="46">
                  <c:v>1070.3942</c:v>
                </c:pt>
                <c:pt idx="47">
                  <c:v>1007.0087</c:v>
                </c:pt>
                <c:pt idx="48">
                  <c:v>946.43340000000001</c:v>
                </c:pt>
                <c:pt idx="49">
                  <c:v>897.28980000000001</c:v>
                </c:pt>
                <c:pt idx="50">
                  <c:v>870.71169999999995</c:v>
                </c:pt>
                <c:pt idx="51">
                  <c:v>861.92729999999995</c:v>
                </c:pt>
                <c:pt idx="52">
                  <c:v>856.53689999999995</c:v>
                </c:pt>
                <c:pt idx="53">
                  <c:v>866.91330000000005</c:v>
                </c:pt>
                <c:pt idx="54">
                  <c:v>923.43939999999998</c:v>
                </c:pt>
                <c:pt idx="55">
                  <c:v>1047.4929999999999</c:v>
                </c:pt>
                <c:pt idx="56">
                  <c:v>1159.3291999999999</c:v>
                </c:pt>
                <c:pt idx="57">
                  <c:v>1235.6043999999999</c:v>
                </c:pt>
                <c:pt idx="58">
                  <c:v>1265.5997</c:v>
                </c:pt>
                <c:pt idx="59">
                  <c:v>1279.6813999999999</c:v>
                </c:pt>
                <c:pt idx="60">
                  <c:v>1256.3571999999999</c:v>
                </c:pt>
                <c:pt idx="61">
                  <c:v>1277.0093999999999</c:v>
                </c:pt>
                <c:pt idx="62">
                  <c:v>1277.4945</c:v>
                </c:pt>
                <c:pt idx="63">
                  <c:v>1268.6002000000001</c:v>
                </c:pt>
                <c:pt idx="64">
                  <c:v>1297.8679999999999</c:v>
                </c:pt>
                <c:pt idx="65">
                  <c:v>1333.2660000000001</c:v>
                </c:pt>
                <c:pt idx="66">
                  <c:v>1337.8805</c:v>
                </c:pt>
                <c:pt idx="67">
                  <c:v>1295.9833000000001</c:v>
                </c:pt>
                <c:pt idx="68">
                  <c:v>1270.2035000000001</c:v>
                </c:pt>
                <c:pt idx="69">
                  <c:v>1238.9989</c:v>
                </c:pt>
                <c:pt idx="70">
                  <c:v>1171.4540999999999</c:v>
                </c:pt>
                <c:pt idx="71">
                  <c:v>1096.1603</c:v>
                </c:pt>
                <c:pt idx="72">
                  <c:v>1020.8909</c:v>
                </c:pt>
                <c:pt idx="73">
                  <c:v>966.69809999999995</c:v>
                </c:pt>
                <c:pt idx="74">
                  <c:v>930.43650000000002</c:v>
                </c:pt>
                <c:pt idx="75">
                  <c:v>904.58439999999996</c:v>
                </c:pt>
                <c:pt idx="76">
                  <c:v>899.3</c:v>
                </c:pt>
                <c:pt idx="77">
                  <c:v>908.13499999999999</c:v>
                </c:pt>
                <c:pt idx="78">
                  <c:v>959.02260000000001</c:v>
                </c:pt>
                <c:pt idx="79">
                  <c:v>1076.2583999999999</c:v>
                </c:pt>
                <c:pt idx="80">
                  <c:v>1218.2347</c:v>
                </c:pt>
                <c:pt idx="81">
                  <c:v>1301.5624</c:v>
                </c:pt>
                <c:pt idx="82">
                  <c:v>1326.3873000000001</c:v>
                </c:pt>
                <c:pt idx="83">
                  <c:v>1345.3577</c:v>
                </c:pt>
                <c:pt idx="84">
                  <c:v>1335.2249999999999</c:v>
                </c:pt>
                <c:pt idx="85">
                  <c:v>1337.4489000000001</c:v>
                </c:pt>
                <c:pt idx="86">
                  <c:v>1332.9808</c:v>
                </c:pt>
                <c:pt idx="87">
                  <c:v>1312.96</c:v>
                </c:pt>
                <c:pt idx="88">
                  <c:v>1329.7891</c:v>
                </c:pt>
                <c:pt idx="89">
                  <c:v>1335.5226</c:v>
                </c:pt>
                <c:pt idx="90">
                  <c:v>1331.9955</c:v>
                </c:pt>
                <c:pt idx="91">
                  <c:v>1279.8641</c:v>
                </c:pt>
                <c:pt idx="92">
                  <c:v>1237.5499</c:v>
                </c:pt>
                <c:pt idx="93">
                  <c:v>1190.9014</c:v>
                </c:pt>
                <c:pt idx="94">
                  <c:v>1119.0895</c:v>
                </c:pt>
                <c:pt idx="95">
                  <c:v>1044.2647999999999</c:v>
                </c:pt>
                <c:pt idx="96">
                  <c:v>987.43460000000005</c:v>
                </c:pt>
                <c:pt idx="97">
                  <c:v>928.23630000000003</c:v>
                </c:pt>
                <c:pt idx="98">
                  <c:v>896.00019999999995</c:v>
                </c:pt>
                <c:pt idx="99">
                  <c:v>859.06269999999995</c:v>
                </c:pt>
                <c:pt idx="100">
                  <c:v>855.96720000000005</c:v>
                </c:pt>
                <c:pt idx="101">
                  <c:v>853.20090000000005</c:v>
                </c:pt>
                <c:pt idx="102">
                  <c:v>881.44449999999995</c:v>
                </c:pt>
                <c:pt idx="103">
                  <c:v>926.65300000000002</c:v>
                </c:pt>
                <c:pt idx="104">
                  <c:v>978.61400000000003</c:v>
                </c:pt>
                <c:pt idx="105">
                  <c:v>1034.2769000000001</c:v>
                </c:pt>
                <c:pt idx="106">
                  <c:v>1090.0038</c:v>
                </c:pt>
                <c:pt idx="107">
                  <c:v>1129.951</c:v>
                </c:pt>
                <c:pt idx="108">
                  <c:v>1139.8806</c:v>
                </c:pt>
                <c:pt idx="109">
                  <c:v>1145.8533</c:v>
                </c:pt>
                <c:pt idx="110">
                  <c:v>1155.8461</c:v>
                </c:pt>
                <c:pt idx="111">
                  <c:v>1146.7512999999999</c:v>
                </c:pt>
                <c:pt idx="112">
                  <c:v>1179.7061000000001</c:v>
                </c:pt>
                <c:pt idx="113">
                  <c:v>1236.3988999999999</c:v>
                </c:pt>
                <c:pt idx="114">
                  <c:v>1215.0513000000001</c:v>
                </c:pt>
                <c:pt idx="115">
                  <c:v>1201.7347</c:v>
                </c:pt>
                <c:pt idx="116">
                  <c:v>1186.75</c:v>
                </c:pt>
                <c:pt idx="117">
                  <c:v>1148.9838</c:v>
                </c:pt>
                <c:pt idx="118">
                  <c:v>1082.3251</c:v>
                </c:pt>
                <c:pt idx="119">
                  <c:v>1032.5762999999999</c:v>
                </c:pt>
                <c:pt idx="120">
                  <c:v>968.47270000000003</c:v>
                </c:pt>
                <c:pt idx="121">
                  <c:v>926.70450000000005</c:v>
                </c:pt>
                <c:pt idx="122">
                  <c:v>896.67280000000005</c:v>
                </c:pt>
                <c:pt idx="123">
                  <c:v>878.89380000000006</c:v>
                </c:pt>
                <c:pt idx="124">
                  <c:v>866.75649999999996</c:v>
                </c:pt>
                <c:pt idx="125">
                  <c:v>869.32809999999995</c:v>
                </c:pt>
                <c:pt idx="126">
                  <c:v>897.01170000000002</c:v>
                </c:pt>
                <c:pt idx="127">
                  <c:v>929.92629999999997</c:v>
                </c:pt>
                <c:pt idx="128">
                  <c:v>973.9787</c:v>
                </c:pt>
                <c:pt idx="129">
                  <c:v>1012.3788</c:v>
                </c:pt>
                <c:pt idx="130">
                  <c:v>1070.4458999999999</c:v>
                </c:pt>
                <c:pt idx="131">
                  <c:v>1101.9031</c:v>
                </c:pt>
                <c:pt idx="132">
                  <c:v>1111.0107</c:v>
                </c:pt>
                <c:pt idx="133">
                  <c:v>1122.8656000000001</c:v>
                </c:pt>
                <c:pt idx="134">
                  <c:v>1112.2579000000001</c:v>
                </c:pt>
                <c:pt idx="135">
                  <c:v>1123.3224</c:v>
                </c:pt>
                <c:pt idx="136">
                  <c:v>1163.7837999999999</c:v>
                </c:pt>
                <c:pt idx="137">
                  <c:v>1235.7950000000001</c:v>
                </c:pt>
                <c:pt idx="138">
                  <c:v>1230.8022000000001</c:v>
                </c:pt>
                <c:pt idx="139">
                  <c:v>1202.9935</c:v>
                </c:pt>
                <c:pt idx="140">
                  <c:v>1185.1703</c:v>
                </c:pt>
                <c:pt idx="141">
                  <c:v>1147.4401</c:v>
                </c:pt>
                <c:pt idx="142">
                  <c:v>1065.1643999999999</c:v>
                </c:pt>
                <c:pt idx="143">
                  <c:v>994.39329999999995</c:v>
                </c:pt>
                <c:pt idx="144">
                  <c:v>924.16549999999995</c:v>
                </c:pt>
                <c:pt idx="145">
                  <c:v>891.90629999999999</c:v>
                </c:pt>
                <c:pt idx="146">
                  <c:v>871.01570000000004</c:v>
                </c:pt>
                <c:pt idx="147">
                  <c:v>863.74339999999995</c:v>
                </c:pt>
                <c:pt idx="148">
                  <c:v>859.59609999999998</c:v>
                </c:pt>
                <c:pt idx="149">
                  <c:v>868.20950000000005</c:v>
                </c:pt>
                <c:pt idx="150">
                  <c:v>937.77250000000004</c:v>
                </c:pt>
                <c:pt idx="151">
                  <c:v>1120.6528000000001</c:v>
                </c:pt>
                <c:pt idx="152">
                  <c:v>1241.865</c:v>
                </c:pt>
                <c:pt idx="153">
                  <c:v>1316.8054999999999</c:v>
                </c:pt>
                <c:pt idx="154">
                  <c:v>1311.2308</c:v>
                </c:pt>
                <c:pt idx="155">
                  <c:v>1327.9857999999999</c:v>
                </c:pt>
                <c:pt idx="156">
                  <c:v>1293.3387</c:v>
                </c:pt>
                <c:pt idx="157">
                  <c:v>1326.912</c:v>
                </c:pt>
                <c:pt idx="158">
                  <c:v>1333.4081000000001</c:v>
                </c:pt>
                <c:pt idx="159">
                  <c:v>1307.1863000000001</c:v>
                </c:pt>
                <c:pt idx="160">
                  <c:v>1334.5830000000001</c:v>
                </c:pt>
                <c:pt idx="161">
                  <c:v>1338.0546999999999</c:v>
                </c:pt>
                <c:pt idx="162">
                  <c:v>1323.2589</c:v>
                </c:pt>
                <c:pt idx="163">
                  <c:v>1277.4115999999999</c:v>
                </c:pt>
                <c:pt idx="164">
                  <c:v>1240.1914999999999</c:v>
                </c:pt>
                <c:pt idx="165">
                  <c:v>1194.3223</c:v>
                </c:pt>
                <c:pt idx="166">
                  <c:v>1121.1851999999999</c:v>
                </c:pt>
                <c:pt idx="167">
                  <c:v>1014.3447</c:v>
                </c:pt>
                <c:pt idx="168">
                  <c:v>932.55600000000004</c:v>
                </c:pt>
                <c:pt idx="169">
                  <c:v>902.0566</c:v>
                </c:pt>
                <c:pt idx="170">
                  <c:v>872.93920000000003</c:v>
                </c:pt>
                <c:pt idx="171">
                  <c:v>858.43510000000003</c:v>
                </c:pt>
                <c:pt idx="172">
                  <c:v>855.38099999999997</c:v>
                </c:pt>
                <c:pt idx="173">
                  <c:v>862.16250000000002</c:v>
                </c:pt>
                <c:pt idx="174">
                  <c:v>923.33420000000001</c:v>
                </c:pt>
                <c:pt idx="175">
                  <c:v>1094.2695000000001</c:v>
                </c:pt>
                <c:pt idx="176">
                  <c:v>1214.6431</c:v>
                </c:pt>
                <c:pt idx="177">
                  <c:v>1293.7926</c:v>
                </c:pt>
                <c:pt idx="178">
                  <c:v>1288.2021</c:v>
                </c:pt>
                <c:pt idx="179">
                  <c:v>1285.425</c:v>
                </c:pt>
                <c:pt idx="180">
                  <c:v>1274.3008</c:v>
                </c:pt>
                <c:pt idx="181">
                  <c:v>1279.2617</c:v>
                </c:pt>
                <c:pt idx="182">
                  <c:v>1278.0363</c:v>
                </c:pt>
                <c:pt idx="183">
                  <c:v>1276.8181999999999</c:v>
                </c:pt>
                <c:pt idx="184">
                  <c:v>1302.2074</c:v>
                </c:pt>
                <c:pt idx="185">
                  <c:v>1316.8545999999999</c:v>
                </c:pt>
                <c:pt idx="186">
                  <c:v>1316.845</c:v>
                </c:pt>
                <c:pt idx="187">
                  <c:v>1266.1415</c:v>
                </c:pt>
                <c:pt idx="188">
                  <c:v>1235.3652</c:v>
                </c:pt>
                <c:pt idx="189">
                  <c:v>1198.3864000000001</c:v>
                </c:pt>
                <c:pt idx="190">
                  <c:v>1129.9418000000001</c:v>
                </c:pt>
                <c:pt idx="191">
                  <c:v>1028.0391999999999</c:v>
                </c:pt>
                <c:pt idx="192">
                  <c:v>941.54300000000001</c:v>
                </c:pt>
                <c:pt idx="193">
                  <c:v>899.62310000000002</c:v>
                </c:pt>
                <c:pt idx="194">
                  <c:v>877.44820000000004</c:v>
                </c:pt>
                <c:pt idx="195">
                  <c:v>877.04660000000001</c:v>
                </c:pt>
                <c:pt idx="196">
                  <c:v>886.06399999999996</c:v>
                </c:pt>
                <c:pt idx="197">
                  <c:v>915.99599999999998</c:v>
                </c:pt>
                <c:pt idx="198">
                  <c:v>972.90940000000001</c:v>
                </c:pt>
                <c:pt idx="199">
                  <c:v>1150.3378</c:v>
                </c:pt>
                <c:pt idx="200">
                  <c:v>1278.1141</c:v>
                </c:pt>
                <c:pt idx="201">
                  <c:v>1333.3353</c:v>
                </c:pt>
                <c:pt idx="202">
                  <c:v>1318.7853</c:v>
                </c:pt>
                <c:pt idx="203">
                  <c:v>1338.4869000000001</c:v>
                </c:pt>
                <c:pt idx="204">
                  <c:v>1306.6483000000001</c:v>
                </c:pt>
                <c:pt idx="205">
                  <c:v>1315.8619000000001</c:v>
                </c:pt>
                <c:pt idx="206">
                  <c:v>1338.1301000000001</c:v>
                </c:pt>
                <c:pt idx="207">
                  <c:v>1319.9562000000001</c:v>
                </c:pt>
                <c:pt idx="208">
                  <c:v>1336.7339999999999</c:v>
                </c:pt>
                <c:pt idx="209">
                  <c:v>1359.2018</c:v>
                </c:pt>
                <c:pt idx="210">
                  <c:v>1349.7203</c:v>
                </c:pt>
                <c:pt idx="211">
                  <c:v>1320.8969999999999</c:v>
                </c:pt>
                <c:pt idx="212">
                  <c:v>1260.9022</c:v>
                </c:pt>
                <c:pt idx="213">
                  <c:v>1244.8672999999999</c:v>
                </c:pt>
                <c:pt idx="214">
                  <c:v>1175.9844000000001</c:v>
                </c:pt>
                <c:pt idx="215">
                  <c:v>1057.7388000000001</c:v>
                </c:pt>
                <c:pt idx="216">
                  <c:v>978.26030000000003</c:v>
                </c:pt>
                <c:pt idx="217">
                  <c:v>923.2373</c:v>
                </c:pt>
                <c:pt idx="218">
                  <c:v>915.40819999999997</c:v>
                </c:pt>
                <c:pt idx="219">
                  <c:v>901.44669999999996</c:v>
                </c:pt>
                <c:pt idx="220">
                  <c:v>893.40570000000002</c:v>
                </c:pt>
                <c:pt idx="221">
                  <c:v>914.58770000000004</c:v>
                </c:pt>
                <c:pt idx="222">
                  <c:v>980.44880000000001</c:v>
                </c:pt>
                <c:pt idx="223">
                  <c:v>1147.0343</c:v>
                </c:pt>
                <c:pt idx="224">
                  <c:v>1276.4191000000001</c:v>
                </c:pt>
                <c:pt idx="225">
                  <c:v>1347.9663</c:v>
                </c:pt>
                <c:pt idx="226">
                  <c:v>1355.2456</c:v>
                </c:pt>
                <c:pt idx="227">
                  <c:v>1371.6226999999999</c:v>
                </c:pt>
                <c:pt idx="228">
                  <c:v>1334.0374999999999</c:v>
                </c:pt>
                <c:pt idx="229">
                  <c:v>1360.1077</c:v>
                </c:pt>
                <c:pt idx="230">
                  <c:v>1350.8903</c:v>
                </c:pt>
                <c:pt idx="231">
                  <c:v>1343.0497</c:v>
                </c:pt>
                <c:pt idx="232">
                  <c:v>1365.0309</c:v>
                </c:pt>
                <c:pt idx="233">
                  <c:v>1385.7325000000001</c:v>
                </c:pt>
                <c:pt idx="234">
                  <c:v>1371.8489999999999</c:v>
                </c:pt>
                <c:pt idx="235">
                  <c:v>1323.9613999999999</c:v>
                </c:pt>
                <c:pt idx="236">
                  <c:v>1280.9667999999999</c:v>
                </c:pt>
                <c:pt idx="237">
                  <c:v>1239.5624</c:v>
                </c:pt>
                <c:pt idx="238">
                  <c:v>1161.1668999999999</c:v>
                </c:pt>
                <c:pt idx="239">
                  <c:v>1058.1212</c:v>
                </c:pt>
                <c:pt idx="240">
                  <c:v>976.36509999999998</c:v>
                </c:pt>
                <c:pt idx="241">
                  <c:v>925.77859999999998</c:v>
                </c:pt>
                <c:pt idx="242">
                  <c:v>897.32129999999995</c:v>
                </c:pt>
                <c:pt idx="243">
                  <c:v>887.77369999999996</c:v>
                </c:pt>
                <c:pt idx="244">
                  <c:v>883.52530000000002</c:v>
                </c:pt>
                <c:pt idx="245">
                  <c:v>906.72969999999998</c:v>
                </c:pt>
                <c:pt idx="246">
                  <c:v>974.75850000000003</c:v>
                </c:pt>
                <c:pt idx="247">
                  <c:v>1136.6922999999999</c:v>
                </c:pt>
                <c:pt idx="248">
                  <c:v>1277.2181</c:v>
                </c:pt>
                <c:pt idx="249">
                  <c:v>1343.7748999999999</c:v>
                </c:pt>
                <c:pt idx="250">
                  <c:v>1338.7081000000001</c:v>
                </c:pt>
                <c:pt idx="251">
                  <c:v>1351.6380999999999</c:v>
                </c:pt>
                <c:pt idx="252">
                  <c:v>1312.9365</c:v>
                </c:pt>
                <c:pt idx="253">
                  <c:v>1329.0433</c:v>
                </c:pt>
                <c:pt idx="254">
                  <c:v>1301.9846</c:v>
                </c:pt>
                <c:pt idx="255">
                  <c:v>1273.2285999999999</c:v>
                </c:pt>
                <c:pt idx="256">
                  <c:v>1291.1936000000001</c:v>
                </c:pt>
                <c:pt idx="257">
                  <c:v>1315.5215000000001</c:v>
                </c:pt>
                <c:pt idx="258">
                  <c:v>1292.3244999999999</c:v>
                </c:pt>
                <c:pt idx="259">
                  <c:v>1254.6636000000001</c:v>
                </c:pt>
                <c:pt idx="260">
                  <c:v>1212.2472</c:v>
                </c:pt>
                <c:pt idx="261">
                  <c:v>1164.1605999999999</c:v>
                </c:pt>
                <c:pt idx="262">
                  <c:v>1069.1031</c:v>
                </c:pt>
                <c:pt idx="263">
                  <c:v>1010.7651</c:v>
                </c:pt>
                <c:pt idx="264">
                  <c:v>932.7713</c:v>
                </c:pt>
                <c:pt idx="265">
                  <c:v>897.42160000000001</c:v>
                </c:pt>
                <c:pt idx="266">
                  <c:v>865.78809999999999</c:v>
                </c:pt>
                <c:pt idx="267">
                  <c:v>844.69529999999997</c:v>
                </c:pt>
                <c:pt idx="268">
                  <c:v>842.59209999999996</c:v>
                </c:pt>
                <c:pt idx="269">
                  <c:v>843.73389999999995</c:v>
                </c:pt>
                <c:pt idx="270">
                  <c:v>873.45830000000001</c:v>
                </c:pt>
                <c:pt idx="271">
                  <c:v>913.99199999999996</c:v>
                </c:pt>
                <c:pt idx="272">
                  <c:v>976.53290000000004</c:v>
                </c:pt>
                <c:pt idx="273">
                  <c:v>1032.2212</c:v>
                </c:pt>
                <c:pt idx="274">
                  <c:v>1092.8785</c:v>
                </c:pt>
                <c:pt idx="275">
                  <c:v>1102.6124</c:v>
                </c:pt>
                <c:pt idx="276">
                  <c:v>1104.2311</c:v>
                </c:pt>
                <c:pt idx="277">
                  <c:v>1098.921</c:v>
                </c:pt>
                <c:pt idx="278">
                  <c:v>1094.6297999999999</c:v>
                </c:pt>
                <c:pt idx="279">
                  <c:v>1095.6669999999999</c:v>
                </c:pt>
                <c:pt idx="280">
                  <c:v>1116.3965000000001</c:v>
                </c:pt>
                <c:pt idx="281">
                  <c:v>1201.1420000000001</c:v>
                </c:pt>
                <c:pt idx="282">
                  <c:v>1201.8145999999999</c:v>
                </c:pt>
                <c:pt idx="283">
                  <c:v>1179.8053</c:v>
                </c:pt>
                <c:pt idx="284">
                  <c:v>1148.3668</c:v>
                </c:pt>
                <c:pt idx="285">
                  <c:v>1108.9160999999999</c:v>
                </c:pt>
                <c:pt idx="286">
                  <c:v>1068.8928000000001</c:v>
                </c:pt>
                <c:pt idx="287">
                  <c:v>999.67089999999996</c:v>
                </c:pt>
                <c:pt idx="288">
                  <c:v>947.69479999999999</c:v>
                </c:pt>
                <c:pt idx="289">
                  <c:v>910.61109999999996</c:v>
                </c:pt>
                <c:pt idx="290">
                  <c:v>887.76340000000005</c:v>
                </c:pt>
                <c:pt idx="291">
                  <c:v>876.44380000000001</c:v>
                </c:pt>
                <c:pt idx="292">
                  <c:v>874.09670000000006</c:v>
                </c:pt>
                <c:pt idx="293">
                  <c:v>879.45060000000001</c:v>
                </c:pt>
                <c:pt idx="294">
                  <c:v>897.76350000000002</c:v>
                </c:pt>
                <c:pt idx="295">
                  <c:v>934.31640000000004</c:v>
                </c:pt>
                <c:pt idx="296">
                  <c:v>981.21</c:v>
                </c:pt>
                <c:pt idx="297">
                  <c:v>1022.0161000000001</c:v>
                </c:pt>
                <c:pt idx="298">
                  <c:v>1082.6922999999999</c:v>
                </c:pt>
                <c:pt idx="299">
                  <c:v>1116.3278</c:v>
                </c:pt>
                <c:pt idx="300">
                  <c:v>1119.9235000000001</c:v>
                </c:pt>
                <c:pt idx="301">
                  <c:v>1107.2035000000001</c:v>
                </c:pt>
                <c:pt idx="302">
                  <c:v>1096.1387</c:v>
                </c:pt>
                <c:pt idx="303">
                  <c:v>1099.7472</c:v>
                </c:pt>
                <c:pt idx="304">
                  <c:v>1125.8655000000001</c:v>
                </c:pt>
                <c:pt idx="305">
                  <c:v>1196.2891</c:v>
                </c:pt>
                <c:pt idx="306">
                  <c:v>1211.6097</c:v>
                </c:pt>
                <c:pt idx="307">
                  <c:v>1189.8466000000001</c:v>
                </c:pt>
                <c:pt idx="308">
                  <c:v>1181.5518999999999</c:v>
                </c:pt>
                <c:pt idx="309">
                  <c:v>1151.8063</c:v>
                </c:pt>
                <c:pt idx="310">
                  <c:v>1101.0238999999999</c:v>
                </c:pt>
                <c:pt idx="311">
                  <c:v>1017.5699</c:v>
                </c:pt>
                <c:pt idx="312">
                  <c:v>960.98099999999999</c:v>
                </c:pt>
                <c:pt idx="313">
                  <c:v>924.34130000000005</c:v>
                </c:pt>
                <c:pt idx="314">
                  <c:v>907.16129999999998</c:v>
                </c:pt>
                <c:pt idx="315">
                  <c:v>892.36329999999998</c:v>
                </c:pt>
                <c:pt idx="316">
                  <c:v>886.29179999999997</c:v>
                </c:pt>
                <c:pt idx="317">
                  <c:v>891.64859999999999</c:v>
                </c:pt>
                <c:pt idx="318">
                  <c:v>962.52679999999998</c:v>
                </c:pt>
                <c:pt idx="319">
                  <c:v>1128.0959</c:v>
                </c:pt>
                <c:pt idx="320">
                  <c:v>1255.7806</c:v>
                </c:pt>
                <c:pt idx="321">
                  <c:v>1325.2748999999999</c:v>
                </c:pt>
                <c:pt idx="322">
                  <c:v>1316.1241</c:v>
                </c:pt>
                <c:pt idx="323">
                  <c:v>1292.7366</c:v>
                </c:pt>
                <c:pt idx="324">
                  <c:v>1280.8431</c:v>
                </c:pt>
                <c:pt idx="325">
                  <c:v>1297.4457</c:v>
                </c:pt>
                <c:pt idx="326">
                  <c:v>1291.9915000000001</c:v>
                </c:pt>
                <c:pt idx="327">
                  <c:v>1292.5978</c:v>
                </c:pt>
                <c:pt idx="328">
                  <c:v>1311.7982999999999</c:v>
                </c:pt>
                <c:pt idx="329">
                  <c:v>1346.9075</c:v>
                </c:pt>
                <c:pt idx="330">
                  <c:v>1335.5853999999999</c:v>
                </c:pt>
                <c:pt idx="331">
                  <c:v>1291.3433</c:v>
                </c:pt>
                <c:pt idx="332">
                  <c:v>1265.5472</c:v>
                </c:pt>
                <c:pt idx="333">
                  <c:v>1227.7325000000001</c:v>
                </c:pt>
                <c:pt idx="334">
                  <c:v>1139.7809</c:v>
                </c:pt>
                <c:pt idx="335">
                  <c:v>1044.8589999999999</c:v>
                </c:pt>
                <c:pt idx="336">
                  <c:v>964.20809999999994</c:v>
                </c:pt>
                <c:pt idx="337">
                  <c:v>927.29570000000001</c:v>
                </c:pt>
                <c:pt idx="338">
                  <c:v>911.75149999999996</c:v>
                </c:pt>
                <c:pt idx="339">
                  <c:v>902.72220000000004</c:v>
                </c:pt>
                <c:pt idx="340">
                  <c:v>901.92859999999996</c:v>
                </c:pt>
                <c:pt idx="341">
                  <c:v>930.3691</c:v>
                </c:pt>
                <c:pt idx="342">
                  <c:v>991.56010000000003</c:v>
                </c:pt>
                <c:pt idx="343">
                  <c:v>1163.2892999999999</c:v>
                </c:pt>
                <c:pt idx="344">
                  <c:v>1296.4764</c:v>
                </c:pt>
                <c:pt idx="345">
                  <c:v>1357.9484</c:v>
                </c:pt>
                <c:pt idx="346">
                  <c:v>1365.5868</c:v>
                </c:pt>
                <c:pt idx="347">
                  <c:v>1368.7132999999999</c:v>
                </c:pt>
                <c:pt idx="348">
                  <c:v>1334.7769000000001</c:v>
                </c:pt>
                <c:pt idx="349">
                  <c:v>1344.7018</c:v>
                </c:pt>
                <c:pt idx="350">
                  <c:v>1332.7405000000001</c:v>
                </c:pt>
                <c:pt idx="351">
                  <c:v>1342.2145</c:v>
                </c:pt>
                <c:pt idx="352">
                  <c:v>1338.6256000000001</c:v>
                </c:pt>
                <c:pt idx="353">
                  <c:v>1363.1288999999999</c:v>
                </c:pt>
                <c:pt idx="354">
                  <c:v>1347.9493</c:v>
                </c:pt>
                <c:pt idx="355">
                  <c:v>1293.8697999999999</c:v>
                </c:pt>
                <c:pt idx="356">
                  <c:v>1268.2677000000001</c:v>
                </c:pt>
                <c:pt idx="357">
                  <c:v>1231.6256000000001</c:v>
                </c:pt>
                <c:pt idx="358">
                  <c:v>1143.4962</c:v>
                </c:pt>
                <c:pt idx="359">
                  <c:v>1057.6531</c:v>
                </c:pt>
                <c:pt idx="360">
                  <c:v>976.6191</c:v>
                </c:pt>
                <c:pt idx="361">
                  <c:v>934.00390000000004</c:v>
                </c:pt>
                <c:pt idx="362">
                  <c:v>918.31790000000001</c:v>
                </c:pt>
                <c:pt idx="363">
                  <c:v>902.41930000000002</c:v>
                </c:pt>
                <c:pt idx="364">
                  <c:v>897.77319999999997</c:v>
                </c:pt>
                <c:pt idx="365">
                  <c:v>918.37300000000005</c:v>
                </c:pt>
                <c:pt idx="366">
                  <c:v>987.28880000000004</c:v>
                </c:pt>
                <c:pt idx="367">
                  <c:v>1154.3785</c:v>
                </c:pt>
                <c:pt idx="368">
                  <c:v>1282.6835000000001</c:v>
                </c:pt>
                <c:pt idx="369">
                  <c:v>1342.548</c:v>
                </c:pt>
                <c:pt idx="370">
                  <c:v>1353.2876000000001</c:v>
                </c:pt>
                <c:pt idx="371">
                  <c:v>1357.9911999999999</c:v>
                </c:pt>
                <c:pt idx="372">
                  <c:v>1332.9574</c:v>
                </c:pt>
                <c:pt idx="373">
                  <c:v>1344.287</c:v>
                </c:pt>
                <c:pt idx="374">
                  <c:v>1333.7972</c:v>
                </c:pt>
                <c:pt idx="375">
                  <c:v>1323.5597</c:v>
                </c:pt>
                <c:pt idx="376">
                  <c:v>1337.1072999999999</c:v>
                </c:pt>
                <c:pt idx="377">
                  <c:v>1384.3187</c:v>
                </c:pt>
                <c:pt idx="378">
                  <c:v>1373.4376</c:v>
                </c:pt>
                <c:pt idx="379">
                  <c:v>1328.0039999999999</c:v>
                </c:pt>
                <c:pt idx="380">
                  <c:v>1282.4069999999999</c:v>
                </c:pt>
                <c:pt idx="381">
                  <c:v>1236.7974999999999</c:v>
                </c:pt>
                <c:pt idx="382">
                  <c:v>1172.9147</c:v>
                </c:pt>
                <c:pt idx="383">
                  <c:v>1086.3693000000001</c:v>
                </c:pt>
                <c:pt idx="384">
                  <c:v>1008.7454</c:v>
                </c:pt>
                <c:pt idx="385">
                  <c:v>965.68849999999998</c:v>
                </c:pt>
                <c:pt idx="386">
                  <c:v>941.72739999999999</c:v>
                </c:pt>
                <c:pt idx="387">
                  <c:v>937.31010000000003</c:v>
                </c:pt>
                <c:pt idx="388">
                  <c:v>919.23410000000001</c:v>
                </c:pt>
                <c:pt idx="389">
                  <c:v>924.87580000000003</c:v>
                </c:pt>
                <c:pt idx="390">
                  <c:v>997.14970000000005</c:v>
                </c:pt>
                <c:pt idx="391">
                  <c:v>1135.5980999999999</c:v>
                </c:pt>
                <c:pt idx="392">
                  <c:v>1265.7152000000001</c:v>
                </c:pt>
                <c:pt idx="393">
                  <c:v>1314.4857999999999</c:v>
                </c:pt>
                <c:pt idx="394">
                  <c:v>1334.6886</c:v>
                </c:pt>
                <c:pt idx="395">
                  <c:v>1342.2834</c:v>
                </c:pt>
                <c:pt idx="396">
                  <c:v>1325.7417</c:v>
                </c:pt>
                <c:pt idx="397">
                  <c:v>1323.6189999999999</c:v>
                </c:pt>
                <c:pt idx="398">
                  <c:v>1324.5165</c:v>
                </c:pt>
                <c:pt idx="399">
                  <c:v>1323.3451</c:v>
                </c:pt>
                <c:pt idx="400">
                  <c:v>1334.6185</c:v>
                </c:pt>
                <c:pt idx="401">
                  <c:v>1365.1195</c:v>
                </c:pt>
                <c:pt idx="402">
                  <c:v>1364.8268</c:v>
                </c:pt>
                <c:pt idx="403">
                  <c:v>1326.1676</c:v>
                </c:pt>
                <c:pt idx="404">
                  <c:v>1285.6831999999999</c:v>
                </c:pt>
                <c:pt idx="405">
                  <c:v>1252.1895999999999</c:v>
                </c:pt>
                <c:pt idx="406">
                  <c:v>1185.9681</c:v>
                </c:pt>
                <c:pt idx="407">
                  <c:v>1083.1310000000001</c:v>
                </c:pt>
                <c:pt idx="408">
                  <c:v>1000.7988</c:v>
                </c:pt>
                <c:pt idx="409">
                  <c:v>978.72299999999996</c:v>
                </c:pt>
                <c:pt idx="410">
                  <c:v>955.33299999999997</c:v>
                </c:pt>
                <c:pt idx="411">
                  <c:v>952.96870000000001</c:v>
                </c:pt>
                <c:pt idx="412">
                  <c:v>941.4692</c:v>
                </c:pt>
                <c:pt idx="413">
                  <c:v>957.46699999999998</c:v>
                </c:pt>
                <c:pt idx="414">
                  <c:v>1015.9372</c:v>
                </c:pt>
                <c:pt idx="415">
                  <c:v>1163.2478000000001</c:v>
                </c:pt>
                <c:pt idx="416">
                  <c:v>1305.712</c:v>
                </c:pt>
                <c:pt idx="417">
                  <c:v>1353.4951000000001</c:v>
                </c:pt>
                <c:pt idx="418">
                  <c:v>1370.0377000000001</c:v>
                </c:pt>
                <c:pt idx="419">
                  <c:v>1364.4999</c:v>
                </c:pt>
                <c:pt idx="420">
                  <c:v>1325.6256000000001</c:v>
                </c:pt>
                <c:pt idx="421">
                  <c:v>1350.1007</c:v>
                </c:pt>
                <c:pt idx="422">
                  <c:v>1333.1024</c:v>
                </c:pt>
                <c:pt idx="423">
                  <c:v>1321.6583000000001</c:v>
                </c:pt>
                <c:pt idx="424">
                  <c:v>1329.0992000000001</c:v>
                </c:pt>
                <c:pt idx="425">
                  <c:v>1357.5818999999999</c:v>
                </c:pt>
                <c:pt idx="426">
                  <c:v>1343.7891999999999</c:v>
                </c:pt>
                <c:pt idx="427">
                  <c:v>1298.9414999999999</c:v>
                </c:pt>
                <c:pt idx="428">
                  <c:v>1259.0360000000001</c:v>
                </c:pt>
                <c:pt idx="429">
                  <c:v>1220.3741</c:v>
                </c:pt>
                <c:pt idx="430">
                  <c:v>1158.7836</c:v>
                </c:pt>
                <c:pt idx="431">
                  <c:v>1073.8197</c:v>
                </c:pt>
                <c:pt idx="432">
                  <c:v>1014.586</c:v>
                </c:pt>
                <c:pt idx="433">
                  <c:v>968.7944</c:v>
                </c:pt>
                <c:pt idx="434">
                  <c:v>945.93190000000004</c:v>
                </c:pt>
                <c:pt idx="435">
                  <c:v>937.52970000000005</c:v>
                </c:pt>
                <c:pt idx="436">
                  <c:v>932.59690000000001</c:v>
                </c:pt>
                <c:pt idx="437">
                  <c:v>932.94140000000004</c:v>
                </c:pt>
                <c:pt idx="438">
                  <c:v>953.35310000000004</c:v>
                </c:pt>
                <c:pt idx="439">
                  <c:v>1005.5469000000001</c:v>
                </c:pt>
                <c:pt idx="440">
                  <c:v>1057.4489000000001</c:v>
                </c:pt>
                <c:pt idx="441">
                  <c:v>1110.9996000000001</c:v>
                </c:pt>
                <c:pt idx="442">
                  <c:v>1155.1795999999999</c:v>
                </c:pt>
                <c:pt idx="443">
                  <c:v>1169.7421999999999</c:v>
                </c:pt>
                <c:pt idx="444">
                  <c:v>1144.6918000000001</c:v>
                </c:pt>
                <c:pt idx="445">
                  <c:v>1137.4799</c:v>
                </c:pt>
                <c:pt idx="446">
                  <c:v>1120.7406000000001</c:v>
                </c:pt>
                <c:pt idx="447">
                  <c:v>1128.3615</c:v>
                </c:pt>
                <c:pt idx="448">
                  <c:v>1130.3141000000001</c:v>
                </c:pt>
                <c:pt idx="449">
                  <c:v>1210.4972</c:v>
                </c:pt>
                <c:pt idx="450">
                  <c:v>1203.5001</c:v>
                </c:pt>
                <c:pt idx="451">
                  <c:v>1183.4427000000001</c:v>
                </c:pt>
                <c:pt idx="452">
                  <c:v>1162.1248000000001</c:v>
                </c:pt>
                <c:pt idx="453">
                  <c:v>1125.3026</c:v>
                </c:pt>
                <c:pt idx="454">
                  <c:v>1073.9104</c:v>
                </c:pt>
                <c:pt idx="455">
                  <c:v>999.19569999999999</c:v>
                </c:pt>
                <c:pt idx="456">
                  <c:v>928.81979999999999</c:v>
                </c:pt>
                <c:pt idx="457">
                  <c:v>893.53449999999998</c:v>
                </c:pt>
                <c:pt idx="458">
                  <c:v>866.06050000000005</c:v>
                </c:pt>
                <c:pt idx="459">
                  <c:v>852.31420000000003</c:v>
                </c:pt>
                <c:pt idx="460">
                  <c:v>856.42570000000001</c:v>
                </c:pt>
                <c:pt idx="461">
                  <c:v>858.11310000000003</c:v>
                </c:pt>
                <c:pt idx="462">
                  <c:v>872.18870000000004</c:v>
                </c:pt>
                <c:pt idx="463">
                  <c:v>917.62750000000005</c:v>
                </c:pt>
                <c:pt idx="464">
                  <c:v>969.71749999999997</c:v>
                </c:pt>
                <c:pt idx="465">
                  <c:v>1024.3876</c:v>
                </c:pt>
                <c:pt idx="466">
                  <c:v>1088.2097000000001</c:v>
                </c:pt>
                <c:pt idx="467">
                  <c:v>1118.2238</c:v>
                </c:pt>
                <c:pt idx="468">
                  <c:v>1125.3552999999999</c:v>
                </c:pt>
                <c:pt idx="469">
                  <c:v>1119.9916000000001</c:v>
                </c:pt>
                <c:pt idx="470">
                  <c:v>1122.4719</c:v>
                </c:pt>
                <c:pt idx="471">
                  <c:v>1124.4308000000001</c:v>
                </c:pt>
                <c:pt idx="472">
                  <c:v>1159.2188000000001</c:v>
                </c:pt>
                <c:pt idx="473">
                  <c:v>1249.3495</c:v>
                </c:pt>
                <c:pt idx="474">
                  <c:v>1265.0953</c:v>
                </c:pt>
                <c:pt idx="475">
                  <c:v>1268.9821999999999</c:v>
                </c:pt>
                <c:pt idx="476">
                  <c:v>1243.3083999999999</c:v>
                </c:pt>
                <c:pt idx="477">
                  <c:v>1207.8108999999999</c:v>
                </c:pt>
                <c:pt idx="478">
                  <c:v>1135.8272999999999</c:v>
                </c:pt>
                <c:pt idx="479">
                  <c:v>1049.7828</c:v>
                </c:pt>
                <c:pt idx="480">
                  <c:v>981.91279999999995</c:v>
                </c:pt>
                <c:pt idx="481">
                  <c:v>956.93129999999996</c:v>
                </c:pt>
                <c:pt idx="482">
                  <c:v>940.95609999999999</c:v>
                </c:pt>
                <c:pt idx="483">
                  <c:v>945.60500000000002</c:v>
                </c:pt>
                <c:pt idx="484">
                  <c:v>949.62149999999997</c:v>
                </c:pt>
                <c:pt idx="485">
                  <c:v>965.54600000000005</c:v>
                </c:pt>
                <c:pt idx="486">
                  <c:v>1049.9147</c:v>
                </c:pt>
                <c:pt idx="487">
                  <c:v>1215.5062</c:v>
                </c:pt>
                <c:pt idx="488">
                  <c:v>1362.3551</c:v>
                </c:pt>
                <c:pt idx="489">
                  <c:v>1428.7665</c:v>
                </c:pt>
                <c:pt idx="490">
                  <c:v>1437.9033999999999</c:v>
                </c:pt>
                <c:pt idx="491">
                  <c:v>1430.8477</c:v>
                </c:pt>
                <c:pt idx="492">
                  <c:v>1391.7299</c:v>
                </c:pt>
                <c:pt idx="493">
                  <c:v>1391.4629</c:v>
                </c:pt>
                <c:pt idx="494">
                  <c:v>1383.7764</c:v>
                </c:pt>
                <c:pt idx="495">
                  <c:v>1374.3064999999999</c:v>
                </c:pt>
                <c:pt idx="496">
                  <c:v>1393.2704000000001</c:v>
                </c:pt>
                <c:pt idx="497">
                  <c:v>1443.4131</c:v>
                </c:pt>
                <c:pt idx="498">
                  <c:v>1451.5102999999999</c:v>
                </c:pt>
                <c:pt idx="499">
                  <c:v>1416.4991</c:v>
                </c:pt>
                <c:pt idx="500">
                  <c:v>1385.9658999999999</c:v>
                </c:pt>
                <c:pt idx="501">
                  <c:v>1352.8158000000001</c:v>
                </c:pt>
                <c:pt idx="502">
                  <c:v>1289.5691999999999</c:v>
                </c:pt>
                <c:pt idx="503">
                  <c:v>1200.2285999999999</c:v>
                </c:pt>
                <c:pt idx="504">
                  <c:v>1113.1587</c:v>
                </c:pt>
                <c:pt idx="505">
                  <c:v>1083.566</c:v>
                </c:pt>
                <c:pt idx="506">
                  <c:v>1078.4441999999999</c:v>
                </c:pt>
                <c:pt idx="507">
                  <c:v>1077.2714000000001</c:v>
                </c:pt>
                <c:pt idx="508">
                  <c:v>1076.1981000000001</c:v>
                </c:pt>
                <c:pt idx="509">
                  <c:v>1095.519</c:v>
                </c:pt>
                <c:pt idx="510">
                  <c:v>1173.6815999999999</c:v>
                </c:pt>
                <c:pt idx="511">
                  <c:v>1328.5293999999999</c:v>
                </c:pt>
                <c:pt idx="512">
                  <c:v>1452.0171</c:v>
                </c:pt>
                <c:pt idx="513">
                  <c:v>1523.1865</c:v>
                </c:pt>
                <c:pt idx="514">
                  <c:v>1537.9812999999999</c:v>
                </c:pt>
                <c:pt idx="515">
                  <c:v>1539.954</c:v>
                </c:pt>
                <c:pt idx="516">
                  <c:v>1512.2203</c:v>
                </c:pt>
                <c:pt idx="517">
                  <c:v>1492.6239</c:v>
                </c:pt>
                <c:pt idx="518">
                  <c:v>1480.963</c:v>
                </c:pt>
                <c:pt idx="519">
                  <c:v>1462.1683</c:v>
                </c:pt>
                <c:pt idx="520">
                  <c:v>1477.9952000000001</c:v>
                </c:pt>
                <c:pt idx="521">
                  <c:v>1519.4022</c:v>
                </c:pt>
                <c:pt idx="522">
                  <c:v>1525.2272</c:v>
                </c:pt>
                <c:pt idx="523">
                  <c:v>1484.6139000000001</c:v>
                </c:pt>
                <c:pt idx="524">
                  <c:v>1441.5253</c:v>
                </c:pt>
                <c:pt idx="525">
                  <c:v>1399.4839999999999</c:v>
                </c:pt>
                <c:pt idx="526">
                  <c:v>1326.2284</c:v>
                </c:pt>
                <c:pt idx="527">
                  <c:v>1219.8094000000001</c:v>
                </c:pt>
                <c:pt idx="528">
                  <c:v>1125.7031999999999</c:v>
                </c:pt>
                <c:pt idx="529">
                  <c:v>1086.7523000000001</c:v>
                </c:pt>
                <c:pt idx="530">
                  <c:v>1050.3423</c:v>
                </c:pt>
                <c:pt idx="531">
                  <c:v>1035.434</c:v>
                </c:pt>
                <c:pt idx="532">
                  <c:v>1025.0779</c:v>
                </c:pt>
                <c:pt idx="533">
                  <c:v>1038.2686000000001</c:v>
                </c:pt>
                <c:pt idx="534">
                  <c:v>1108.1427000000001</c:v>
                </c:pt>
                <c:pt idx="535">
                  <c:v>1277.8033</c:v>
                </c:pt>
                <c:pt idx="536">
                  <c:v>1394.7991999999999</c:v>
                </c:pt>
                <c:pt idx="537">
                  <c:v>1459.2025000000001</c:v>
                </c:pt>
                <c:pt idx="538">
                  <c:v>1456.8822</c:v>
                </c:pt>
                <c:pt idx="539">
                  <c:v>1458.9517000000001</c:v>
                </c:pt>
                <c:pt idx="540">
                  <c:v>1427.7388000000001</c:v>
                </c:pt>
                <c:pt idx="541">
                  <c:v>1434.0160000000001</c:v>
                </c:pt>
                <c:pt idx="542">
                  <c:v>1422.7823000000001</c:v>
                </c:pt>
                <c:pt idx="543">
                  <c:v>1412.4199000000001</c:v>
                </c:pt>
                <c:pt idx="544">
                  <c:v>1407.672</c:v>
                </c:pt>
                <c:pt idx="545">
                  <c:v>1446.1822999999999</c:v>
                </c:pt>
                <c:pt idx="546">
                  <c:v>1441.8099</c:v>
                </c:pt>
                <c:pt idx="547">
                  <c:v>1400.7212999999999</c:v>
                </c:pt>
                <c:pt idx="548">
                  <c:v>1359.5835</c:v>
                </c:pt>
                <c:pt idx="549">
                  <c:v>1307.8159000000001</c:v>
                </c:pt>
                <c:pt idx="550">
                  <c:v>1233.4535000000001</c:v>
                </c:pt>
                <c:pt idx="551">
                  <c:v>1129.4818</c:v>
                </c:pt>
                <c:pt idx="552">
                  <c:v>1049.9452000000001</c:v>
                </c:pt>
                <c:pt idx="553">
                  <c:v>1005.6550999999999</c:v>
                </c:pt>
                <c:pt idx="554">
                  <c:v>978.33810000000005</c:v>
                </c:pt>
                <c:pt idx="555">
                  <c:v>969.1345</c:v>
                </c:pt>
                <c:pt idx="556">
                  <c:v>968.06089999999995</c:v>
                </c:pt>
                <c:pt idx="557">
                  <c:v>994.23339999999996</c:v>
                </c:pt>
                <c:pt idx="558">
                  <c:v>1050.6176</c:v>
                </c:pt>
                <c:pt idx="559">
                  <c:v>1218.4447</c:v>
                </c:pt>
                <c:pt idx="560">
                  <c:v>1339.4784</c:v>
                </c:pt>
                <c:pt idx="561">
                  <c:v>1407.7968000000001</c:v>
                </c:pt>
                <c:pt idx="562">
                  <c:v>1422.4794999999999</c:v>
                </c:pt>
                <c:pt idx="563">
                  <c:v>1422.874</c:v>
                </c:pt>
                <c:pt idx="564">
                  <c:v>1399.6129000000001</c:v>
                </c:pt>
                <c:pt idx="565">
                  <c:v>1397.8018999999999</c:v>
                </c:pt>
                <c:pt idx="566">
                  <c:v>1407.6196</c:v>
                </c:pt>
                <c:pt idx="567">
                  <c:v>1401.9486999999999</c:v>
                </c:pt>
                <c:pt idx="568">
                  <c:v>1410.3878</c:v>
                </c:pt>
                <c:pt idx="569">
                  <c:v>1451.4885999999999</c:v>
                </c:pt>
                <c:pt idx="570">
                  <c:v>1461.2195999999999</c:v>
                </c:pt>
                <c:pt idx="571">
                  <c:v>1422.7061000000001</c:v>
                </c:pt>
                <c:pt idx="572">
                  <c:v>1371.6044999999999</c:v>
                </c:pt>
                <c:pt idx="573">
                  <c:v>1335.7920999999999</c:v>
                </c:pt>
                <c:pt idx="574">
                  <c:v>1256.9111</c:v>
                </c:pt>
                <c:pt idx="575">
                  <c:v>1160.5884000000001</c:v>
                </c:pt>
                <c:pt idx="576">
                  <c:v>1081.9917</c:v>
                </c:pt>
                <c:pt idx="577">
                  <c:v>1040.3595</c:v>
                </c:pt>
                <c:pt idx="578">
                  <c:v>1005.1505</c:v>
                </c:pt>
                <c:pt idx="579">
                  <c:v>1003.9492</c:v>
                </c:pt>
                <c:pt idx="580">
                  <c:v>1003.2056</c:v>
                </c:pt>
                <c:pt idx="581">
                  <c:v>1023.4927</c:v>
                </c:pt>
                <c:pt idx="582">
                  <c:v>1090.7379000000001</c:v>
                </c:pt>
                <c:pt idx="583">
                  <c:v>1258.7144000000001</c:v>
                </c:pt>
                <c:pt idx="584">
                  <c:v>1392.8022000000001</c:v>
                </c:pt>
                <c:pt idx="585">
                  <c:v>1444.4385</c:v>
                </c:pt>
                <c:pt idx="586">
                  <c:v>1459.6225999999999</c:v>
                </c:pt>
                <c:pt idx="587">
                  <c:v>1459.0047999999999</c:v>
                </c:pt>
                <c:pt idx="588">
                  <c:v>1434.3471999999999</c:v>
                </c:pt>
                <c:pt idx="589">
                  <c:v>1434.0912000000001</c:v>
                </c:pt>
                <c:pt idx="590">
                  <c:v>1418.7354</c:v>
                </c:pt>
                <c:pt idx="591">
                  <c:v>1409.6901</c:v>
                </c:pt>
                <c:pt idx="592">
                  <c:v>1399.7693999999999</c:v>
                </c:pt>
                <c:pt idx="593">
                  <c:v>1439.4547</c:v>
                </c:pt>
                <c:pt idx="594">
                  <c:v>1452.1034999999999</c:v>
                </c:pt>
                <c:pt idx="595">
                  <c:v>1403.1143999999999</c:v>
                </c:pt>
                <c:pt idx="596">
                  <c:v>1366.2217000000001</c:v>
                </c:pt>
                <c:pt idx="597">
                  <c:v>1312.6718000000001</c:v>
                </c:pt>
                <c:pt idx="598">
                  <c:v>1254.9760000000001</c:v>
                </c:pt>
                <c:pt idx="599">
                  <c:v>1173.1110000000001</c:v>
                </c:pt>
                <c:pt idx="600">
                  <c:v>1096.6483000000001</c:v>
                </c:pt>
                <c:pt idx="601">
                  <c:v>1062.2745</c:v>
                </c:pt>
                <c:pt idx="602">
                  <c:v>1035.3335999999999</c:v>
                </c:pt>
                <c:pt idx="603">
                  <c:v>1023.9252</c:v>
                </c:pt>
                <c:pt idx="604">
                  <c:v>1019.1111</c:v>
                </c:pt>
                <c:pt idx="605">
                  <c:v>1026.9208000000001</c:v>
                </c:pt>
                <c:pt idx="606">
                  <c:v>1051.7858000000001</c:v>
                </c:pt>
                <c:pt idx="607">
                  <c:v>1102.3901000000001</c:v>
                </c:pt>
                <c:pt idx="608">
                  <c:v>1155.0856000000001</c:v>
                </c:pt>
                <c:pt idx="609">
                  <c:v>1208.3255999999999</c:v>
                </c:pt>
                <c:pt idx="610">
                  <c:v>1265.4257</c:v>
                </c:pt>
                <c:pt idx="611">
                  <c:v>1275.3832</c:v>
                </c:pt>
                <c:pt idx="612">
                  <c:v>1278.2773</c:v>
                </c:pt>
                <c:pt idx="613">
                  <c:v>1254.9054000000001</c:v>
                </c:pt>
                <c:pt idx="614">
                  <c:v>1238.104</c:v>
                </c:pt>
                <c:pt idx="615">
                  <c:v>1229.7823000000001</c:v>
                </c:pt>
                <c:pt idx="616">
                  <c:v>1240.0508</c:v>
                </c:pt>
                <c:pt idx="617">
                  <c:v>1327.3789999999999</c:v>
                </c:pt>
                <c:pt idx="618">
                  <c:v>1365.9883</c:v>
                </c:pt>
                <c:pt idx="619">
                  <c:v>1345.8172999999999</c:v>
                </c:pt>
                <c:pt idx="620">
                  <c:v>1310.5016000000001</c:v>
                </c:pt>
                <c:pt idx="621">
                  <c:v>1270.3372999999999</c:v>
                </c:pt>
                <c:pt idx="622">
                  <c:v>1225.1368</c:v>
                </c:pt>
                <c:pt idx="623">
                  <c:v>1164.8556000000001</c:v>
                </c:pt>
                <c:pt idx="624">
                  <c:v>1106.4485</c:v>
                </c:pt>
                <c:pt idx="625">
                  <c:v>1062.8262</c:v>
                </c:pt>
                <c:pt idx="626">
                  <c:v>1045.3599999999999</c:v>
                </c:pt>
                <c:pt idx="627">
                  <c:v>1028.6364000000001</c:v>
                </c:pt>
                <c:pt idx="628">
                  <c:v>1032.9366</c:v>
                </c:pt>
                <c:pt idx="629">
                  <c:v>1029.7008000000001</c:v>
                </c:pt>
                <c:pt idx="630">
                  <c:v>1057.1436000000001</c:v>
                </c:pt>
                <c:pt idx="631">
                  <c:v>1089.9982</c:v>
                </c:pt>
                <c:pt idx="632">
                  <c:v>1141.5934999999999</c:v>
                </c:pt>
                <c:pt idx="633">
                  <c:v>1193.6170999999999</c:v>
                </c:pt>
                <c:pt idx="634">
                  <c:v>1266.1504</c:v>
                </c:pt>
                <c:pt idx="635">
                  <c:v>1271.4407000000001</c:v>
                </c:pt>
                <c:pt idx="636">
                  <c:v>1248.5735</c:v>
                </c:pt>
                <c:pt idx="637">
                  <c:v>1232.672</c:v>
                </c:pt>
                <c:pt idx="638">
                  <c:v>1219.1732999999999</c:v>
                </c:pt>
                <c:pt idx="639">
                  <c:v>1221.5995</c:v>
                </c:pt>
                <c:pt idx="640">
                  <c:v>1230.4484</c:v>
                </c:pt>
                <c:pt idx="641">
                  <c:v>1319.4854</c:v>
                </c:pt>
                <c:pt idx="642">
                  <c:v>1356.6507999999999</c:v>
                </c:pt>
                <c:pt idx="643">
                  <c:v>1354.9884</c:v>
                </c:pt>
                <c:pt idx="644">
                  <c:v>1319.2429999999999</c:v>
                </c:pt>
                <c:pt idx="645">
                  <c:v>1288.8335</c:v>
                </c:pt>
                <c:pt idx="646">
                  <c:v>1228.7173</c:v>
                </c:pt>
                <c:pt idx="647">
                  <c:v>1151.3833999999999</c:v>
                </c:pt>
                <c:pt idx="648">
                  <c:v>1084.769</c:v>
                </c:pt>
                <c:pt idx="649">
                  <c:v>1058.5277000000001</c:v>
                </c:pt>
                <c:pt idx="650">
                  <c:v>1030.999</c:v>
                </c:pt>
                <c:pt idx="651">
                  <c:v>1018.3467000000001</c:v>
                </c:pt>
                <c:pt idx="652">
                  <c:v>1024.3849</c:v>
                </c:pt>
                <c:pt idx="653">
                  <c:v>1032.7462</c:v>
                </c:pt>
                <c:pt idx="654">
                  <c:v>1112.9974</c:v>
                </c:pt>
                <c:pt idx="655">
                  <c:v>1270.6605999999999</c:v>
                </c:pt>
                <c:pt idx="656">
                  <c:v>1410.0869</c:v>
                </c:pt>
                <c:pt idx="657">
                  <c:v>1465.2699</c:v>
                </c:pt>
                <c:pt idx="658">
                  <c:v>1473.7052000000001</c:v>
                </c:pt>
                <c:pt idx="659">
                  <c:v>1472.0175999999999</c:v>
                </c:pt>
                <c:pt idx="660">
                  <c:v>1443.8753999999999</c:v>
                </c:pt>
                <c:pt idx="661">
                  <c:v>1451.6054999999999</c:v>
                </c:pt>
                <c:pt idx="662">
                  <c:v>1447.1665</c:v>
                </c:pt>
                <c:pt idx="663">
                  <c:v>1448.2041999999999</c:v>
                </c:pt>
                <c:pt idx="664">
                  <c:v>1442.4434000000001</c:v>
                </c:pt>
                <c:pt idx="665">
                  <c:v>1459.2456</c:v>
                </c:pt>
                <c:pt idx="666">
                  <c:v>1461.9385</c:v>
                </c:pt>
                <c:pt idx="667">
                  <c:v>1423.6846</c:v>
                </c:pt>
                <c:pt idx="668">
                  <c:v>1389.4418000000001</c:v>
                </c:pt>
                <c:pt idx="669">
                  <c:v>1339.0244</c:v>
                </c:pt>
                <c:pt idx="670">
                  <c:v>1258.1787999999999</c:v>
                </c:pt>
                <c:pt idx="671">
                  <c:v>1153.5343</c:v>
                </c:pt>
                <c:pt idx="672">
                  <c:v>1070.9717000000001</c:v>
                </c:pt>
                <c:pt idx="673">
                  <c:v>1025.9369999999999</c:v>
                </c:pt>
                <c:pt idx="674">
                  <c:v>1009.2642</c:v>
                </c:pt>
                <c:pt idx="675">
                  <c:v>1002.1098</c:v>
                </c:pt>
                <c:pt idx="676">
                  <c:v>1003.6144</c:v>
                </c:pt>
                <c:pt idx="677">
                  <c:v>1017.222</c:v>
                </c:pt>
                <c:pt idx="678">
                  <c:v>1098.0445999999999</c:v>
                </c:pt>
                <c:pt idx="679">
                  <c:v>1251.2937999999999</c:v>
                </c:pt>
                <c:pt idx="680">
                  <c:v>1383.2249999999999</c:v>
                </c:pt>
                <c:pt idx="681">
                  <c:v>1442.8975</c:v>
                </c:pt>
                <c:pt idx="682">
                  <c:v>1455.1747</c:v>
                </c:pt>
                <c:pt idx="683">
                  <c:v>1460.3387</c:v>
                </c:pt>
                <c:pt idx="684">
                  <c:v>1432.0060000000001</c:v>
                </c:pt>
                <c:pt idx="685">
                  <c:v>1448.1222</c:v>
                </c:pt>
                <c:pt idx="686">
                  <c:v>1445.0101</c:v>
                </c:pt>
                <c:pt idx="687">
                  <c:v>1437.7125000000001</c:v>
                </c:pt>
                <c:pt idx="688">
                  <c:v>1431.7845</c:v>
                </c:pt>
                <c:pt idx="689">
                  <c:v>1451.4911</c:v>
                </c:pt>
                <c:pt idx="690">
                  <c:v>1458.9108000000001</c:v>
                </c:pt>
                <c:pt idx="691">
                  <c:v>1416.3051</c:v>
                </c:pt>
                <c:pt idx="692">
                  <c:v>1371.5806</c:v>
                </c:pt>
                <c:pt idx="693">
                  <c:v>1319.7145</c:v>
                </c:pt>
                <c:pt idx="694">
                  <c:v>1261.6300000000001</c:v>
                </c:pt>
                <c:pt idx="695">
                  <c:v>1151.9467</c:v>
                </c:pt>
                <c:pt idx="696">
                  <c:v>1061.4594999999999</c:v>
                </c:pt>
                <c:pt idx="697">
                  <c:v>1018.9152</c:v>
                </c:pt>
                <c:pt idx="698">
                  <c:v>1009.5459</c:v>
                </c:pt>
                <c:pt idx="699">
                  <c:v>986.38930000000005</c:v>
                </c:pt>
                <c:pt idx="700">
                  <c:v>985.8963</c:v>
                </c:pt>
                <c:pt idx="701">
                  <c:v>989.1155</c:v>
                </c:pt>
                <c:pt idx="702">
                  <c:v>1053.7639999999999</c:v>
                </c:pt>
                <c:pt idx="703">
                  <c:v>1215.5755999999999</c:v>
                </c:pt>
                <c:pt idx="704">
                  <c:v>1333.1027999999999</c:v>
                </c:pt>
                <c:pt idx="705">
                  <c:v>1391.0254</c:v>
                </c:pt>
                <c:pt idx="706">
                  <c:v>1385.9614999999999</c:v>
                </c:pt>
                <c:pt idx="707">
                  <c:v>1383.2041999999999</c:v>
                </c:pt>
                <c:pt idx="708">
                  <c:v>1340.5518</c:v>
                </c:pt>
                <c:pt idx="709">
                  <c:v>1344.6075000000001</c:v>
                </c:pt>
                <c:pt idx="710">
                  <c:v>1338.2173</c:v>
                </c:pt>
                <c:pt idx="711">
                  <c:v>1327.8722</c:v>
                </c:pt>
                <c:pt idx="712">
                  <c:v>1326.6831</c:v>
                </c:pt>
                <c:pt idx="713">
                  <c:v>1343.0386000000001</c:v>
                </c:pt>
                <c:pt idx="714">
                  <c:v>1386.4779000000001</c:v>
                </c:pt>
                <c:pt idx="715">
                  <c:v>1350.1688999999999</c:v>
                </c:pt>
                <c:pt idx="716">
                  <c:v>1304.3639000000001</c:v>
                </c:pt>
                <c:pt idx="717">
                  <c:v>1264.6045999999999</c:v>
                </c:pt>
                <c:pt idx="718">
                  <c:v>1202.1031</c:v>
                </c:pt>
                <c:pt idx="719">
                  <c:v>1093.7198000000001</c:v>
                </c:pt>
                <c:pt idx="720">
                  <c:v>1023.3233</c:v>
                </c:pt>
                <c:pt idx="721">
                  <c:v>975.87270000000001</c:v>
                </c:pt>
                <c:pt idx="722">
                  <c:v>954.6712</c:v>
                </c:pt>
                <c:pt idx="723">
                  <c:v>945.30370000000005</c:v>
                </c:pt>
                <c:pt idx="724">
                  <c:v>949.07780000000002</c:v>
                </c:pt>
                <c:pt idx="725">
                  <c:v>971.66079999999999</c:v>
                </c:pt>
                <c:pt idx="726">
                  <c:v>1045.4784</c:v>
                </c:pt>
                <c:pt idx="727">
                  <c:v>1215.3100999999999</c:v>
                </c:pt>
                <c:pt idx="728">
                  <c:v>1342.155</c:v>
                </c:pt>
                <c:pt idx="729">
                  <c:v>1406.0128</c:v>
                </c:pt>
                <c:pt idx="730">
                  <c:v>1415.778</c:v>
                </c:pt>
                <c:pt idx="731">
                  <c:v>1414.9843000000001</c:v>
                </c:pt>
                <c:pt idx="732">
                  <c:v>1379.98</c:v>
                </c:pt>
                <c:pt idx="733">
                  <c:v>1376.9619</c:v>
                </c:pt>
                <c:pt idx="734">
                  <c:v>1363.2681</c:v>
                </c:pt>
                <c:pt idx="735">
                  <c:v>1350.3173999999999</c:v>
                </c:pt>
                <c:pt idx="736">
                  <c:v>1345.6256000000001</c:v>
                </c:pt>
                <c:pt idx="737">
                  <c:v>1357.1602</c:v>
                </c:pt>
                <c:pt idx="738">
                  <c:v>1410.2620999999999</c:v>
                </c:pt>
                <c:pt idx="739">
                  <c:v>1378.4512999999999</c:v>
                </c:pt>
                <c:pt idx="740">
                  <c:v>1333.4625000000001</c:v>
                </c:pt>
                <c:pt idx="741">
                  <c:v>1301.1206</c:v>
                </c:pt>
                <c:pt idx="742">
                  <c:v>1228.4894999999999</c:v>
                </c:pt>
                <c:pt idx="743">
                  <c:v>1131.0669</c:v>
                </c:pt>
                <c:pt idx="744">
                  <c:v>1055.0543</c:v>
                </c:pt>
                <c:pt idx="745">
                  <c:v>1004.5447</c:v>
                </c:pt>
                <c:pt idx="746">
                  <c:v>984.81669999999997</c:v>
                </c:pt>
                <c:pt idx="747">
                  <c:v>978.86659999999995</c:v>
                </c:pt>
                <c:pt idx="748">
                  <c:v>974.76419999999996</c:v>
                </c:pt>
                <c:pt idx="749">
                  <c:v>970.63130000000001</c:v>
                </c:pt>
                <c:pt idx="750">
                  <c:v>1037.3382999999999</c:v>
                </c:pt>
                <c:pt idx="751">
                  <c:v>1181.876</c:v>
                </c:pt>
                <c:pt idx="752">
                  <c:v>1310.5052000000001</c:v>
                </c:pt>
                <c:pt idx="753">
                  <c:v>1357.3390999999999</c:v>
                </c:pt>
                <c:pt idx="754">
                  <c:v>1383.8223</c:v>
                </c:pt>
                <c:pt idx="755">
                  <c:v>1381.9549999999999</c:v>
                </c:pt>
                <c:pt idx="756">
                  <c:v>1339.8955000000001</c:v>
                </c:pt>
                <c:pt idx="757">
                  <c:v>1350.1323</c:v>
                </c:pt>
                <c:pt idx="758">
                  <c:v>1339.0473999999999</c:v>
                </c:pt>
                <c:pt idx="759">
                  <c:v>1313.4703</c:v>
                </c:pt>
                <c:pt idx="760">
                  <c:v>1313.6687999999999</c:v>
                </c:pt>
                <c:pt idx="761">
                  <c:v>1325.0429999999999</c:v>
                </c:pt>
                <c:pt idx="762">
                  <c:v>1339.2946999999999</c:v>
                </c:pt>
                <c:pt idx="763">
                  <c:v>1296.9983999999999</c:v>
                </c:pt>
                <c:pt idx="764">
                  <c:v>1251.1162999999999</c:v>
                </c:pt>
                <c:pt idx="765">
                  <c:v>1205.1122</c:v>
                </c:pt>
                <c:pt idx="766">
                  <c:v>1150.0609999999999</c:v>
                </c:pt>
                <c:pt idx="767">
                  <c:v>1057.6400000000001</c:v>
                </c:pt>
                <c:pt idx="768">
                  <c:v>992.24329999999998</c:v>
                </c:pt>
                <c:pt idx="769">
                  <c:v>950.65790000000004</c:v>
                </c:pt>
                <c:pt idx="770">
                  <c:v>924.78390000000002</c:v>
                </c:pt>
                <c:pt idx="771">
                  <c:v>907.46529999999996</c:v>
                </c:pt>
                <c:pt idx="772">
                  <c:v>904.43619999999999</c:v>
                </c:pt>
                <c:pt idx="773">
                  <c:v>903.08749999999998</c:v>
                </c:pt>
                <c:pt idx="774">
                  <c:v>925.28539999999998</c:v>
                </c:pt>
                <c:pt idx="775">
                  <c:v>971.93979999999999</c:v>
                </c:pt>
                <c:pt idx="776">
                  <c:v>1038.9761000000001</c:v>
                </c:pt>
                <c:pt idx="777">
                  <c:v>1090.3177000000001</c:v>
                </c:pt>
                <c:pt idx="778">
                  <c:v>1141.8616</c:v>
                </c:pt>
                <c:pt idx="779">
                  <c:v>1162.4512999999999</c:v>
                </c:pt>
                <c:pt idx="780">
                  <c:v>1156.6149</c:v>
                </c:pt>
                <c:pt idx="781">
                  <c:v>1147.5358000000001</c:v>
                </c:pt>
                <c:pt idx="782">
                  <c:v>1141.0367000000001</c:v>
                </c:pt>
                <c:pt idx="783">
                  <c:v>1126.3837000000001</c:v>
                </c:pt>
                <c:pt idx="784">
                  <c:v>1125.3234</c:v>
                </c:pt>
                <c:pt idx="785">
                  <c:v>1172.3416</c:v>
                </c:pt>
                <c:pt idx="786">
                  <c:v>1202.5245</c:v>
                </c:pt>
                <c:pt idx="787">
                  <c:v>1179.3702000000001</c:v>
                </c:pt>
                <c:pt idx="788">
                  <c:v>1141.1156000000001</c:v>
                </c:pt>
                <c:pt idx="789">
                  <c:v>1110.9285</c:v>
                </c:pt>
                <c:pt idx="790">
                  <c:v>1065.2832000000001</c:v>
                </c:pt>
                <c:pt idx="791">
                  <c:v>1004.1367</c:v>
                </c:pt>
                <c:pt idx="792">
                  <c:v>947.13229999999999</c:v>
                </c:pt>
                <c:pt idx="793">
                  <c:v>921.40049999999997</c:v>
                </c:pt>
                <c:pt idx="794">
                  <c:v>885.10320000000002</c:v>
                </c:pt>
                <c:pt idx="795">
                  <c:v>859.32839999999999</c:v>
                </c:pt>
                <c:pt idx="796">
                  <c:v>850.73580000000004</c:v>
                </c:pt>
                <c:pt idx="797">
                  <c:v>850.07929999999999</c:v>
                </c:pt>
                <c:pt idx="798">
                  <c:v>870.375</c:v>
                </c:pt>
                <c:pt idx="799">
                  <c:v>900.84280000000001</c:v>
                </c:pt>
                <c:pt idx="800">
                  <c:v>947.04390000000001</c:v>
                </c:pt>
                <c:pt idx="801">
                  <c:v>995.22799999999995</c:v>
                </c:pt>
                <c:pt idx="802">
                  <c:v>1052.4829999999999</c:v>
                </c:pt>
                <c:pt idx="803">
                  <c:v>1074.8983000000001</c:v>
                </c:pt>
                <c:pt idx="804">
                  <c:v>1084.8533</c:v>
                </c:pt>
                <c:pt idx="805">
                  <c:v>1082.0905</c:v>
                </c:pt>
                <c:pt idx="806">
                  <c:v>1077.7947999999999</c:v>
                </c:pt>
                <c:pt idx="807">
                  <c:v>1063.4673</c:v>
                </c:pt>
                <c:pt idx="808">
                  <c:v>1075.4105999999999</c:v>
                </c:pt>
                <c:pt idx="809">
                  <c:v>1138.826</c:v>
                </c:pt>
                <c:pt idx="810">
                  <c:v>1197.7755</c:v>
                </c:pt>
                <c:pt idx="811">
                  <c:v>1195.7925</c:v>
                </c:pt>
                <c:pt idx="812">
                  <c:v>1177.1503</c:v>
                </c:pt>
                <c:pt idx="813">
                  <c:v>1133.4087</c:v>
                </c:pt>
                <c:pt idx="814">
                  <c:v>1079.8271</c:v>
                </c:pt>
                <c:pt idx="815">
                  <c:v>996.97900000000004</c:v>
                </c:pt>
                <c:pt idx="816">
                  <c:v>945.50319999999999</c:v>
                </c:pt>
                <c:pt idx="817">
                  <c:v>913.28880000000004</c:v>
                </c:pt>
                <c:pt idx="818">
                  <c:v>899.03269999999998</c:v>
                </c:pt>
                <c:pt idx="819">
                  <c:v>890.9393</c:v>
                </c:pt>
                <c:pt idx="820">
                  <c:v>898.87400000000002</c:v>
                </c:pt>
                <c:pt idx="821">
                  <c:v>917.38059999999996</c:v>
                </c:pt>
                <c:pt idx="822">
                  <c:v>972.42190000000005</c:v>
                </c:pt>
                <c:pt idx="823">
                  <c:v>1142.9611</c:v>
                </c:pt>
                <c:pt idx="824">
                  <c:v>1268.8816999999999</c:v>
                </c:pt>
                <c:pt idx="825">
                  <c:v>1337.0005000000001</c:v>
                </c:pt>
                <c:pt idx="826">
                  <c:v>1356.8759</c:v>
                </c:pt>
                <c:pt idx="827">
                  <c:v>1361.2438</c:v>
                </c:pt>
                <c:pt idx="828">
                  <c:v>1342.3375000000001</c:v>
                </c:pt>
                <c:pt idx="829">
                  <c:v>1347.7343000000001</c:v>
                </c:pt>
                <c:pt idx="830">
                  <c:v>1342.6511</c:v>
                </c:pt>
                <c:pt idx="831">
                  <c:v>1346.2915</c:v>
                </c:pt>
                <c:pt idx="832">
                  <c:v>1334.3868</c:v>
                </c:pt>
                <c:pt idx="833">
                  <c:v>1310.0718999999999</c:v>
                </c:pt>
                <c:pt idx="834">
                  <c:v>1368.1343999999999</c:v>
                </c:pt>
                <c:pt idx="835">
                  <c:v>1324.0237999999999</c:v>
                </c:pt>
                <c:pt idx="836">
                  <c:v>1291.8666000000001</c:v>
                </c:pt>
                <c:pt idx="837">
                  <c:v>1243.4191000000001</c:v>
                </c:pt>
                <c:pt idx="838">
                  <c:v>1175.0133000000001</c:v>
                </c:pt>
                <c:pt idx="839">
                  <c:v>1071.5264</c:v>
                </c:pt>
                <c:pt idx="840">
                  <c:v>963.79160000000002</c:v>
                </c:pt>
                <c:pt idx="841">
                  <c:v>924.06050000000005</c:v>
                </c:pt>
                <c:pt idx="842">
                  <c:v>902.08</c:v>
                </c:pt>
                <c:pt idx="843">
                  <c:v>885.05179999999996</c:v>
                </c:pt>
                <c:pt idx="844">
                  <c:v>877.14959999999996</c:v>
                </c:pt>
                <c:pt idx="845">
                  <c:v>902.79960000000005</c:v>
                </c:pt>
                <c:pt idx="846">
                  <c:v>962.84199999999998</c:v>
                </c:pt>
                <c:pt idx="847">
                  <c:v>1145.8302000000001</c:v>
                </c:pt>
                <c:pt idx="848">
                  <c:v>1236.1425999999999</c:v>
                </c:pt>
                <c:pt idx="849">
                  <c:v>1312.6153999999999</c:v>
                </c:pt>
                <c:pt idx="850">
                  <c:v>1328.7239</c:v>
                </c:pt>
                <c:pt idx="851">
                  <c:v>1316.8748000000001</c:v>
                </c:pt>
                <c:pt idx="852">
                  <c:v>1313.3173999999999</c:v>
                </c:pt>
                <c:pt idx="853">
                  <c:v>1321.2783999999999</c:v>
                </c:pt>
                <c:pt idx="854">
                  <c:v>1297.4698000000001</c:v>
                </c:pt>
                <c:pt idx="855">
                  <c:v>1287.2212999999999</c:v>
                </c:pt>
                <c:pt idx="856">
                  <c:v>1296.6324</c:v>
                </c:pt>
                <c:pt idx="857">
                  <c:v>1300.7472</c:v>
                </c:pt>
                <c:pt idx="858">
                  <c:v>1347.7927999999999</c:v>
                </c:pt>
                <c:pt idx="859">
                  <c:v>1318.0608999999999</c:v>
                </c:pt>
                <c:pt idx="860">
                  <c:v>1278.6415999999999</c:v>
                </c:pt>
                <c:pt idx="861">
                  <c:v>1250.4818</c:v>
                </c:pt>
                <c:pt idx="862">
                  <c:v>1171.0600999999999</c:v>
                </c:pt>
                <c:pt idx="863">
                  <c:v>1062.2539999999999</c:v>
                </c:pt>
                <c:pt idx="864">
                  <c:v>990.97410000000002</c:v>
                </c:pt>
                <c:pt idx="865">
                  <c:v>960.9973</c:v>
                </c:pt>
                <c:pt idx="866">
                  <c:v>939.11789999999996</c:v>
                </c:pt>
                <c:pt idx="867">
                  <c:v>939.50760000000002</c:v>
                </c:pt>
                <c:pt idx="868">
                  <c:v>944.14959999999996</c:v>
                </c:pt>
                <c:pt idx="869">
                  <c:v>963.26369999999997</c:v>
                </c:pt>
                <c:pt idx="870">
                  <c:v>1027.2185999999999</c:v>
                </c:pt>
                <c:pt idx="871">
                  <c:v>1187.6976</c:v>
                </c:pt>
                <c:pt idx="872">
                  <c:v>1259.4612999999999</c:v>
                </c:pt>
                <c:pt idx="873">
                  <c:v>1319.9854</c:v>
                </c:pt>
                <c:pt idx="874">
                  <c:v>1315.2906</c:v>
                </c:pt>
                <c:pt idx="875">
                  <c:v>1310.6042</c:v>
                </c:pt>
                <c:pt idx="876">
                  <c:v>1322.7374</c:v>
                </c:pt>
                <c:pt idx="877">
                  <c:v>1332.4194</c:v>
                </c:pt>
                <c:pt idx="878">
                  <c:v>1323.8118999999999</c:v>
                </c:pt>
                <c:pt idx="879">
                  <c:v>1317.9176</c:v>
                </c:pt>
                <c:pt idx="880">
                  <c:v>1291.9675</c:v>
                </c:pt>
                <c:pt idx="881">
                  <c:v>1283.604</c:v>
                </c:pt>
                <c:pt idx="882">
                  <c:v>1357.3462</c:v>
                </c:pt>
                <c:pt idx="883">
                  <c:v>1324.4181000000001</c:v>
                </c:pt>
                <c:pt idx="884">
                  <c:v>1311.3623</c:v>
                </c:pt>
                <c:pt idx="885">
                  <c:v>1245.9753000000001</c:v>
                </c:pt>
                <c:pt idx="886">
                  <c:v>1186.7689</c:v>
                </c:pt>
                <c:pt idx="887">
                  <c:v>1083.0581999999999</c:v>
                </c:pt>
                <c:pt idx="888">
                  <c:v>999.23270000000002</c:v>
                </c:pt>
                <c:pt idx="889">
                  <c:v>960.87540000000001</c:v>
                </c:pt>
                <c:pt idx="890">
                  <c:v>934.11959999999999</c:v>
                </c:pt>
                <c:pt idx="891">
                  <c:v>919.18280000000004</c:v>
                </c:pt>
                <c:pt idx="892">
                  <c:v>920.69479999999999</c:v>
                </c:pt>
                <c:pt idx="893">
                  <c:v>938.1748</c:v>
                </c:pt>
                <c:pt idx="894">
                  <c:v>998.59280000000001</c:v>
                </c:pt>
                <c:pt idx="895">
                  <c:v>1178.8130000000001</c:v>
                </c:pt>
                <c:pt idx="896">
                  <c:v>1272.3231000000001</c:v>
                </c:pt>
                <c:pt idx="897">
                  <c:v>1354.7637999999999</c:v>
                </c:pt>
                <c:pt idx="898">
                  <c:v>1348.4772</c:v>
                </c:pt>
                <c:pt idx="899">
                  <c:v>1345.9014</c:v>
                </c:pt>
                <c:pt idx="900">
                  <c:v>1330.4445000000001</c:v>
                </c:pt>
                <c:pt idx="901">
                  <c:v>1331.0092</c:v>
                </c:pt>
                <c:pt idx="902">
                  <c:v>1334.3155999999999</c:v>
                </c:pt>
                <c:pt idx="903">
                  <c:v>1333.4549999999999</c:v>
                </c:pt>
                <c:pt idx="904">
                  <c:v>1312.8208999999999</c:v>
                </c:pt>
                <c:pt idx="905">
                  <c:v>1308.8414</c:v>
                </c:pt>
                <c:pt idx="906">
                  <c:v>1355.5608999999999</c:v>
                </c:pt>
                <c:pt idx="907">
                  <c:v>1314.8344999999999</c:v>
                </c:pt>
                <c:pt idx="908">
                  <c:v>1271.1697999999999</c:v>
                </c:pt>
                <c:pt idx="909">
                  <c:v>1233.0408</c:v>
                </c:pt>
                <c:pt idx="910">
                  <c:v>1147.4054000000001</c:v>
                </c:pt>
                <c:pt idx="911">
                  <c:v>1059.771</c:v>
                </c:pt>
                <c:pt idx="912">
                  <c:v>976.68039999999996</c:v>
                </c:pt>
                <c:pt idx="913">
                  <c:v>929.20439999999996</c:v>
                </c:pt>
                <c:pt idx="914">
                  <c:v>910.81960000000004</c:v>
                </c:pt>
                <c:pt idx="915">
                  <c:v>898.08910000000003</c:v>
                </c:pt>
                <c:pt idx="916">
                  <c:v>882.08050000000003</c:v>
                </c:pt>
                <c:pt idx="917">
                  <c:v>899.31619999999998</c:v>
                </c:pt>
                <c:pt idx="918">
                  <c:v>975.78679999999997</c:v>
                </c:pt>
                <c:pt idx="919">
                  <c:v>1126.2772</c:v>
                </c:pt>
                <c:pt idx="920">
                  <c:v>1241.3246999999999</c:v>
                </c:pt>
                <c:pt idx="921">
                  <c:v>1286.4138</c:v>
                </c:pt>
                <c:pt idx="922">
                  <c:v>1319.1447000000001</c:v>
                </c:pt>
                <c:pt idx="923">
                  <c:v>1315.2494999999999</c:v>
                </c:pt>
                <c:pt idx="924">
                  <c:v>1292.3588</c:v>
                </c:pt>
                <c:pt idx="925">
                  <c:v>1300.9612999999999</c:v>
                </c:pt>
                <c:pt idx="926">
                  <c:v>1285.8702000000001</c:v>
                </c:pt>
                <c:pt idx="927">
                  <c:v>1272.5410999999999</c:v>
                </c:pt>
                <c:pt idx="928">
                  <c:v>1254.7813000000001</c:v>
                </c:pt>
                <c:pt idx="929">
                  <c:v>1239.308</c:v>
                </c:pt>
                <c:pt idx="930">
                  <c:v>1290.8490999999999</c:v>
                </c:pt>
                <c:pt idx="931">
                  <c:v>1250.8722</c:v>
                </c:pt>
                <c:pt idx="932">
                  <c:v>1214.3453</c:v>
                </c:pt>
                <c:pt idx="933">
                  <c:v>1153.7739999999999</c:v>
                </c:pt>
                <c:pt idx="934">
                  <c:v>1088.1974</c:v>
                </c:pt>
                <c:pt idx="935">
                  <c:v>1010.1481</c:v>
                </c:pt>
                <c:pt idx="936">
                  <c:v>933.30520000000001</c:v>
                </c:pt>
                <c:pt idx="937">
                  <c:v>899.14559999999994</c:v>
                </c:pt>
                <c:pt idx="938">
                  <c:v>875.904</c:v>
                </c:pt>
                <c:pt idx="939">
                  <c:v>855.06600000000003</c:v>
                </c:pt>
                <c:pt idx="940">
                  <c:v>852.16740000000004</c:v>
                </c:pt>
                <c:pt idx="941">
                  <c:v>845.3931</c:v>
                </c:pt>
                <c:pt idx="942">
                  <c:v>850.83069999999998</c:v>
                </c:pt>
                <c:pt idx="943">
                  <c:v>888.99030000000005</c:v>
                </c:pt>
                <c:pt idx="944">
                  <c:v>938.74950000000001</c:v>
                </c:pt>
                <c:pt idx="945">
                  <c:v>1009.6258</c:v>
                </c:pt>
                <c:pt idx="946">
                  <c:v>1060.7007000000001</c:v>
                </c:pt>
                <c:pt idx="947">
                  <c:v>1070.3478</c:v>
                </c:pt>
                <c:pt idx="948">
                  <c:v>1070.9467</c:v>
                </c:pt>
                <c:pt idx="949">
                  <c:v>1049.8035</c:v>
                </c:pt>
                <c:pt idx="950">
                  <c:v>1043.5930000000001</c:v>
                </c:pt>
                <c:pt idx="951">
                  <c:v>1036.2261000000001</c:v>
                </c:pt>
                <c:pt idx="952">
                  <c:v>1032.8622</c:v>
                </c:pt>
                <c:pt idx="953">
                  <c:v>1076.7469000000001</c:v>
                </c:pt>
                <c:pt idx="954">
                  <c:v>1137.5619999999999</c:v>
                </c:pt>
                <c:pt idx="955">
                  <c:v>1119.5039999999999</c:v>
                </c:pt>
                <c:pt idx="956">
                  <c:v>1076.8903</c:v>
                </c:pt>
                <c:pt idx="957">
                  <c:v>1045.3619000000001</c:v>
                </c:pt>
                <c:pt idx="958">
                  <c:v>998.96730000000002</c:v>
                </c:pt>
                <c:pt idx="959">
                  <c:v>956.67089999999996</c:v>
                </c:pt>
                <c:pt idx="960">
                  <c:v>913.04570000000001</c:v>
                </c:pt>
                <c:pt idx="961">
                  <c:v>878.40940000000001</c:v>
                </c:pt>
                <c:pt idx="962">
                  <c:v>864.4348</c:v>
                </c:pt>
                <c:pt idx="963">
                  <c:v>837.45460000000003</c:v>
                </c:pt>
                <c:pt idx="964">
                  <c:v>830.58659999999998</c:v>
                </c:pt>
                <c:pt idx="965">
                  <c:v>827.84590000000003</c:v>
                </c:pt>
                <c:pt idx="966">
                  <c:v>842.8759</c:v>
                </c:pt>
                <c:pt idx="967">
                  <c:v>875.00160000000005</c:v>
                </c:pt>
                <c:pt idx="968">
                  <c:v>928.85019999999997</c:v>
                </c:pt>
                <c:pt idx="969">
                  <c:v>975.85329999999999</c:v>
                </c:pt>
                <c:pt idx="970">
                  <c:v>1029.0166999999999</c:v>
                </c:pt>
                <c:pt idx="971">
                  <c:v>1052.9048</c:v>
                </c:pt>
                <c:pt idx="972">
                  <c:v>1045.7974999999999</c:v>
                </c:pt>
                <c:pt idx="973">
                  <c:v>1041.7331999999999</c:v>
                </c:pt>
                <c:pt idx="974">
                  <c:v>1038.0282</c:v>
                </c:pt>
                <c:pt idx="975">
                  <c:v>1032.2836</c:v>
                </c:pt>
                <c:pt idx="976">
                  <c:v>1042.4644000000001</c:v>
                </c:pt>
                <c:pt idx="977">
                  <c:v>1083.7723000000001</c:v>
                </c:pt>
                <c:pt idx="978">
                  <c:v>1168.3046999999999</c:v>
                </c:pt>
                <c:pt idx="979">
                  <c:v>1155.3743999999999</c:v>
                </c:pt>
                <c:pt idx="980">
                  <c:v>1140.7005999999999</c:v>
                </c:pt>
                <c:pt idx="981">
                  <c:v>1091.8181999999999</c:v>
                </c:pt>
                <c:pt idx="982">
                  <c:v>1034.1029000000001</c:v>
                </c:pt>
                <c:pt idx="983">
                  <c:v>965.0838</c:v>
                </c:pt>
                <c:pt idx="984">
                  <c:v>891.75239999999997</c:v>
                </c:pt>
                <c:pt idx="985">
                  <c:v>857.4058</c:v>
                </c:pt>
                <c:pt idx="986">
                  <c:v>840.44380000000001</c:v>
                </c:pt>
                <c:pt idx="987">
                  <c:v>843.98220000000003</c:v>
                </c:pt>
                <c:pt idx="988">
                  <c:v>844.61869999999999</c:v>
                </c:pt>
                <c:pt idx="989">
                  <c:v>868.26149999999996</c:v>
                </c:pt>
                <c:pt idx="990">
                  <c:v>938.16039999999998</c:v>
                </c:pt>
                <c:pt idx="991">
                  <c:v>1106.7725</c:v>
                </c:pt>
                <c:pt idx="992">
                  <c:v>1215.8483000000001</c:v>
                </c:pt>
                <c:pt idx="993">
                  <c:v>1289.4987000000001</c:v>
                </c:pt>
                <c:pt idx="994">
                  <c:v>1302.6255000000001</c:v>
                </c:pt>
                <c:pt idx="995">
                  <c:v>1314.0732</c:v>
                </c:pt>
                <c:pt idx="996">
                  <c:v>1287.3552999999999</c:v>
                </c:pt>
                <c:pt idx="997">
                  <c:v>1306.0717999999999</c:v>
                </c:pt>
                <c:pt idx="998">
                  <c:v>1299.0295000000001</c:v>
                </c:pt>
                <c:pt idx="999">
                  <c:v>1293.6141</c:v>
                </c:pt>
                <c:pt idx="1000">
                  <c:v>1290.3313000000001</c:v>
                </c:pt>
                <c:pt idx="1001">
                  <c:v>1276.3715999999999</c:v>
                </c:pt>
                <c:pt idx="1002">
                  <c:v>1305.48</c:v>
                </c:pt>
                <c:pt idx="1003">
                  <c:v>1254.0499</c:v>
                </c:pt>
                <c:pt idx="1004">
                  <c:v>1226.4537</c:v>
                </c:pt>
                <c:pt idx="1005">
                  <c:v>1193.3197</c:v>
                </c:pt>
                <c:pt idx="1006">
                  <c:v>1115.5289</c:v>
                </c:pt>
                <c:pt idx="1007">
                  <c:v>1026.9454000000001</c:v>
                </c:pt>
                <c:pt idx="1008">
                  <c:v>940.47280000000001</c:v>
                </c:pt>
                <c:pt idx="1009">
                  <c:v>900.42079999999999</c:v>
                </c:pt>
                <c:pt idx="1010">
                  <c:v>871.18510000000003</c:v>
                </c:pt>
                <c:pt idx="1011">
                  <c:v>851.81759999999997</c:v>
                </c:pt>
                <c:pt idx="1012">
                  <c:v>844.56960000000004</c:v>
                </c:pt>
                <c:pt idx="1013">
                  <c:v>871.62890000000004</c:v>
                </c:pt>
                <c:pt idx="1014">
                  <c:v>928.70650000000001</c:v>
                </c:pt>
                <c:pt idx="1015">
                  <c:v>1083.6934000000001</c:v>
                </c:pt>
                <c:pt idx="1016">
                  <c:v>1167.2191</c:v>
                </c:pt>
                <c:pt idx="1017">
                  <c:v>1256.4740999999999</c:v>
                </c:pt>
                <c:pt idx="1018">
                  <c:v>1259.9863</c:v>
                </c:pt>
                <c:pt idx="1019">
                  <c:v>1254.6128000000001</c:v>
                </c:pt>
                <c:pt idx="1020">
                  <c:v>1222.9014</c:v>
                </c:pt>
                <c:pt idx="1021">
                  <c:v>1239.4641999999999</c:v>
                </c:pt>
                <c:pt idx="1022">
                  <c:v>1233.0120999999999</c:v>
                </c:pt>
                <c:pt idx="1023">
                  <c:v>1223.329</c:v>
                </c:pt>
                <c:pt idx="1024">
                  <c:v>1222.991</c:v>
                </c:pt>
                <c:pt idx="1025">
                  <c:v>1213.4962</c:v>
                </c:pt>
                <c:pt idx="1026">
                  <c:v>1295.7195999999999</c:v>
                </c:pt>
                <c:pt idx="1027">
                  <c:v>1260.3145999999999</c:v>
                </c:pt>
                <c:pt idx="1028">
                  <c:v>1229.5087000000001</c:v>
                </c:pt>
                <c:pt idx="1029">
                  <c:v>1197.3063</c:v>
                </c:pt>
                <c:pt idx="1030">
                  <c:v>1131.8435999999999</c:v>
                </c:pt>
                <c:pt idx="1031">
                  <c:v>1039.2947999999999</c:v>
                </c:pt>
                <c:pt idx="1032">
                  <c:v>958.5154</c:v>
                </c:pt>
                <c:pt idx="1033">
                  <c:v>918.46460000000002</c:v>
                </c:pt>
                <c:pt idx="1034">
                  <c:v>896.72739999999999</c:v>
                </c:pt>
                <c:pt idx="1035">
                  <c:v>889.74289999999996</c:v>
                </c:pt>
                <c:pt idx="1036">
                  <c:v>889.89120000000003</c:v>
                </c:pt>
                <c:pt idx="1037">
                  <c:v>890.78290000000004</c:v>
                </c:pt>
                <c:pt idx="1038">
                  <c:v>971.67819999999995</c:v>
                </c:pt>
                <c:pt idx="1039">
                  <c:v>1139.7653</c:v>
                </c:pt>
                <c:pt idx="1040">
                  <c:v>1215.8598999999999</c:v>
                </c:pt>
                <c:pt idx="1041">
                  <c:v>1308.0327</c:v>
                </c:pt>
                <c:pt idx="1042">
                  <c:v>1324.8722</c:v>
                </c:pt>
                <c:pt idx="1043">
                  <c:v>1310.3317</c:v>
                </c:pt>
                <c:pt idx="1044">
                  <c:v>1267.3710000000001</c:v>
                </c:pt>
                <c:pt idx="1045">
                  <c:v>1283.8107</c:v>
                </c:pt>
                <c:pt idx="1046">
                  <c:v>1279.8710000000001</c:v>
                </c:pt>
                <c:pt idx="1047">
                  <c:v>1270.7129</c:v>
                </c:pt>
                <c:pt idx="1048">
                  <c:v>1262.8059000000001</c:v>
                </c:pt>
                <c:pt idx="1049">
                  <c:v>1233.171</c:v>
                </c:pt>
                <c:pt idx="1050">
                  <c:v>1304.905</c:v>
                </c:pt>
                <c:pt idx="1051">
                  <c:v>1286.1114</c:v>
                </c:pt>
                <c:pt idx="1052">
                  <c:v>1242.5889</c:v>
                </c:pt>
                <c:pt idx="1053">
                  <c:v>1204.3955000000001</c:v>
                </c:pt>
                <c:pt idx="1054">
                  <c:v>1131.3927000000001</c:v>
                </c:pt>
                <c:pt idx="1055">
                  <c:v>1016.5803</c:v>
                </c:pt>
                <c:pt idx="1056">
                  <c:v>926.9751</c:v>
                </c:pt>
                <c:pt idx="1057">
                  <c:v>876.30740000000003</c:v>
                </c:pt>
                <c:pt idx="1058">
                  <c:v>853.9085</c:v>
                </c:pt>
                <c:pt idx="1059">
                  <c:v>857.63279999999997</c:v>
                </c:pt>
                <c:pt idx="1060">
                  <c:v>846.90909999999997</c:v>
                </c:pt>
                <c:pt idx="1061">
                  <c:v>865.9556</c:v>
                </c:pt>
                <c:pt idx="1062">
                  <c:v>931.71770000000004</c:v>
                </c:pt>
                <c:pt idx="1063">
                  <c:v>1100.9124999999999</c:v>
                </c:pt>
                <c:pt idx="1064">
                  <c:v>1191.08</c:v>
                </c:pt>
                <c:pt idx="1065">
                  <c:v>1284.6862000000001</c:v>
                </c:pt>
                <c:pt idx="1066">
                  <c:v>1252.6356000000001</c:v>
                </c:pt>
                <c:pt idx="1067">
                  <c:v>1239.548</c:v>
                </c:pt>
                <c:pt idx="1068">
                  <c:v>1228.0436</c:v>
                </c:pt>
                <c:pt idx="1069">
                  <c:v>1231.8025</c:v>
                </c:pt>
                <c:pt idx="1070">
                  <c:v>1224.1516999999999</c:v>
                </c:pt>
                <c:pt idx="1071">
                  <c:v>1236.5447999999999</c:v>
                </c:pt>
                <c:pt idx="1072">
                  <c:v>1226.1724999999999</c:v>
                </c:pt>
                <c:pt idx="1073">
                  <c:v>1208.1909000000001</c:v>
                </c:pt>
                <c:pt idx="1074">
                  <c:v>1280.5684000000001</c:v>
                </c:pt>
                <c:pt idx="1075">
                  <c:v>1250.6719000000001</c:v>
                </c:pt>
                <c:pt idx="1076">
                  <c:v>1209.7927999999999</c:v>
                </c:pt>
                <c:pt idx="1077">
                  <c:v>1165.1958999999999</c:v>
                </c:pt>
                <c:pt idx="1078">
                  <c:v>1091.0501999999999</c:v>
                </c:pt>
                <c:pt idx="1079">
                  <c:v>995.61990000000003</c:v>
                </c:pt>
                <c:pt idx="1080">
                  <c:v>920.87210000000005</c:v>
                </c:pt>
                <c:pt idx="1081">
                  <c:v>856.81600000000003</c:v>
                </c:pt>
                <c:pt idx="1082">
                  <c:v>856.82830000000001</c:v>
                </c:pt>
                <c:pt idx="1083">
                  <c:v>845.32039999999995</c:v>
                </c:pt>
                <c:pt idx="1084">
                  <c:v>833.78909999999996</c:v>
                </c:pt>
                <c:pt idx="1085">
                  <c:v>855.60720000000003</c:v>
                </c:pt>
                <c:pt idx="1086">
                  <c:v>929.125</c:v>
                </c:pt>
                <c:pt idx="1087">
                  <c:v>1084.8334</c:v>
                </c:pt>
                <c:pt idx="1088">
                  <c:v>1177.8040000000001</c:v>
                </c:pt>
                <c:pt idx="1089">
                  <c:v>1264.1058</c:v>
                </c:pt>
                <c:pt idx="1090">
                  <c:v>1268.663</c:v>
                </c:pt>
                <c:pt idx="1091">
                  <c:v>1255.8207</c:v>
                </c:pt>
                <c:pt idx="1092">
                  <c:v>1215.212</c:v>
                </c:pt>
                <c:pt idx="1093">
                  <c:v>1216.4159999999999</c:v>
                </c:pt>
                <c:pt idx="1094">
                  <c:v>1197.2189000000001</c:v>
                </c:pt>
                <c:pt idx="1095">
                  <c:v>1191.0499</c:v>
                </c:pt>
                <c:pt idx="1096">
                  <c:v>1189.2906</c:v>
                </c:pt>
                <c:pt idx="1097">
                  <c:v>1179.8187</c:v>
                </c:pt>
                <c:pt idx="1098">
                  <c:v>1251.9390000000001</c:v>
                </c:pt>
                <c:pt idx="1099">
                  <c:v>1227.7415000000001</c:v>
                </c:pt>
                <c:pt idx="1100">
                  <c:v>1192.7194</c:v>
                </c:pt>
                <c:pt idx="1101">
                  <c:v>1151.9405999999999</c:v>
                </c:pt>
                <c:pt idx="1102">
                  <c:v>1081.7915</c:v>
                </c:pt>
                <c:pt idx="1103">
                  <c:v>982.76390000000004</c:v>
                </c:pt>
                <c:pt idx="1104">
                  <c:v>918.40899999999999</c:v>
                </c:pt>
                <c:pt idx="1105">
                  <c:v>861.7242</c:v>
                </c:pt>
                <c:pt idx="1106">
                  <c:v>837.11289999999997</c:v>
                </c:pt>
                <c:pt idx="1107">
                  <c:v>796.04049999999995</c:v>
                </c:pt>
                <c:pt idx="1108">
                  <c:v>796.09379999999999</c:v>
                </c:pt>
                <c:pt idx="1109">
                  <c:v>813.7568</c:v>
                </c:pt>
                <c:pt idx="1110">
                  <c:v>831.72770000000003</c:v>
                </c:pt>
                <c:pt idx="1111">
                  <c:v>893.00459999999998</c:v>
                </c:pt>
                <c:pt idx="1112">
                  <c:v>914.17499999999995</c:v>
                </c:pt>
                <c:pt idx="1113">
                  <c:v>982.20500000000004</c:v>
                </c:pt>
                <c:pt idx="1114">
                  <c:v>1019.1342</c:v>
                </c:pt>
                <c:pt idx="1115">
                  <c:v>1006.361</c:v>
                </c:pt>
                <c:pt idx="1116">
                  <c:v>988.22749999999996</c:v>
                </c:pt>
                <c:pt idx="1117">
                  <c:v>978.03909999999996</c:v>
                </c:pt>
                <c:pt idx="1118">
                  <c:v>968.80150000000003</c:v>
                </c:pt>
                <c:pt idx="1119">
                  <c:v>956.68759999999997</c:v>
                </c:pt>
                <c:pt idx="1120">
                  <c:v>968.78089999999997</c:v>
                </c:pt>
                <c:pt idx="1121">
                  <c:v>992.6318</c:v>
                </c:pt>
                <c:pt idx="1122">
                  <c:v>1073.1373000000001</c:v>
                </c:pt>
                <c:pt idx="1123">
                  <c:v>1074.0099</c:v>
                </c:pt>
                <c:pt idx="1124">
                  <c:v>1042.8605</c:v>
                </c:pt>
                <c:pt idx="1125">
                  <c:v>990.88890000000004</c:v>
                </c:pt>
                <c:pt idx="1126">
                  <c:v>968.92190000000005</c:v>
                </c:pt>
                <c:pt idx="1127">
                  <c:v>913.58370000000002</c:v>
                </c:pt>
                <c:pt idx="1128">
                  <c:v>849.72469999999998</c:v>
                </c:pt>
                <c:pt idx="1129">
                  <c:v>808.29150000000004</c:v>
                </c:pt>
                <c:pt idx="1130">
                  <c:v>788.72389999999996</c:v>
                </c:pt>
                <c:pt idx="1131">
                  <c:v>773.02539999999999</c:v>
                </c:pt>
                <c:pt idx="1132">
                  <c:v>771.18010000000004</c:v>
                </c:pt>
                <c:pt idx="1133">
                  <c:v>773.55809999999997</c:v>
                </c:pt>
                <c:pt idx="1134">
                  <c:v>794.70770000000005</c:v>
                </c:pt>
                <c:pt idx="1135">
                  <c:v>842.95770000000005</c:v>
                </c:pt>
                <c:pt idx="1136">
                  <c:v>869.74289999999996</c:v>
                </c:pt>
                <c:pt idx="1137">
                  <c:v>953.05100000000004</c:v>
                </c:pt>
                <c:pt idx="1138">
                  <c:v>993.08209999999997</c:v>
                </c:pt>
                <c:pt idx="1139">
                  <c:v>985.54319999999996</c:v>
                </c:pt>
                <c:pt idx="1140">
                  <c:v>980.92830000000004</c:v>
                </c:pt>
                <c:pt idx="1141">
                  <c:v>971.10040000000004</c:v>
                </c:pt>
                <c:pt idx="1142">
                  <c:v>954.45429999999999</c:v>
                </c:pt>
                <c:pt idx="1143">
                  <c:v>966.8587</c:v>
                </c:pt>
                <c:pt idx="1144">
                  <c:v>977.17520000000002</c:v>
                </c:pt>
                <c:pt idx="1145">
                  <c:v>1008.5162</c:v>
                </c:pt>
                <c:pt idx="1146">
                  <c:v>1127.8083999999999</c:v>
                </c:pt>
                <c:pt idx="1147">
                  <c:v>1146.0536999999999</c:v>
                </c:pt>
                <c:pt idx="1148">
                  <c:v>1127.1049</c:v>
                </c:pt>
                <c:pt idx="1149">
                  <c:v>1098.2697000000001</c:v>
                </c:pt>
                <c:pt idx="1150">
                  <c:v>1038.5900999999999</c:v>
                </c:pt>
                <c:pt idx="1151">
                  <c:v>948.94269999999995</c:v>
                </c:pt>
                <c:pt idx="1152">
                  <c:v>896.18669999999997</c:v>
                </c:pt>
                <c:pt idx="1153">
                  <c:v>869.68679999999995</c:v>
                </c:pt>
                <c:pt idx="1154">
                  <c:v>847.52930000000003</c:v>
                </c:pt>
                <c:pt idx="1155">
                  <c:v>837.92870000000005</c:v>
                </c:pt>
                <c:pt idx="1156">
                  <c:v>843.98929999999996</c:v>
                </c:pt>
                <c:pt idx="1157">
                  <c:v>864.43209999999999</c:v>
                </c:pt>
                <c:pt idx="1158">
                  <c:v>949.51170000000002</c:v>
                </c:pt>
                <c:pt idx="1159">
                  <c:v>1113.6907000000001</c:v>
                </c:pt>
                <c:pt idx="1160">
                  <c:v>1190.2466999999999</c:v>
                </c:pt>
                <c:pt idx="1161">
                  <c:v>1278.5160000000001</c:v>
                </c:pt>
                <c:pt idx="1162">
                  <c:v>1269.5616</c:v>
                </c:pt>
                <c:pt idx="1163">
                  <c:v>1241.3762999999999</c:v>
                </c:pt>
                <c:pt idx="1164">
                  <c:v>1202.9183</c:v>
                </c:pt>
                <c:pt idx="1165">
                  <c:v>1202.963</c:v>
                </c:pt>
                <c:pt idx="1166">
                  <c:v>1182.7085</c:v>
                </c:pt>
                <c:pt idx="1167">
                  <c:v>1172.0371</c:v>
                </c:pt>
                <c:pt idx="1168">
                  <c:v>1165.8895</c:v>
                </c:pt>
                <c:pt idx="1169">
                  <c:v>1148.1405999999999</c:v>
                </c:pt>
                <c:pt idx="1170">
                  <c:v>1224.1063999999999</c:v>
                </c:pt>
                <c:pt idx="1171">
                  <c:v>1190.5278000000001</c:v>
                </c:pt>
                <c:pt idx="1172">
                  <c:v>1165.2699</c:v>
                </c:pt>
                <c:pt idx="1173">
                  <c:v>1123.0603000000001</c:v>
                </c:pt>
                <c:pt idx="1174">
                  <c:v>1058.0875000000001</c:v>
                </c:pt>
                <c:pt idx="1175">
                  <c:v>941.51369999999997</c:v>
                </c:pt>
                <c:pt idx="1176">
                  <c:v>863.17550000000006</c:v>
                </c:pt>
                <c:pt idx="1177">
                  <c:v>833.0806</c:v>
                </c:pt>
                <c:pt idx="1178">
                  <c:v>813.31349999999998</c:v>
                </c:pt>
                <c:pt idx="1179">
                  <c:v>810.48820000000001</c:v>
                </c:pt>
                <c:pt idx="1180">
                  <c:v>805.08870000000002</c:v>
                </c:pt>
                <c:pt idx="1181">
                  <c:v>824.71119999999996</c:v>
                </c:pt>
                <c:pt idx="1182">
                  <c:v>877.04390000000001</c:v>
                </c:pt>
                <c:pt idx="1183">
                  <c:v>1046.5473999999999</c:v>
                </c:pt>
                <c:pt idx="1184">
                  <c:v>1131.5967000000001</c:v>
                </c:pt>
                <c:pt idx="1185">
                  <c:v>1216.3429000000001</c:v>
                </c:pt>
                <c:pt idx="1186">
                  <c:v>1224.6331</c:v>
                </c:pt>
                <c:pt idx="1187">
                  <c:v>1224.4948999999999</c:v>
                </c:pt>
                <c:pt idx="1188">
                  <c:v>1190.6898000000001</c:v>
                </c:pt>
                <c:pt idx="1189">
                  <c:v>1204.0155</c:v>
                </c:pt>
                <c:pt idx="1190">
                  <c:v>1207.4929999999999</c:v>
                </c:pt>
                <c:pt idx="1191">
                  <c:v>1201.847</c:v>
                </c:pt>
                <c:pt idx="1192">
                  <c:v>1197.0228999999999</c:v>
                </c:pt>
                <c:pt idx="1193">
                  <c:v>1176.2158999999999</c:v>
                </c:pt>
                <c:pt idx="1194">
                  <c:v>1240.3723</c:v>
                </c:pt>
                <c:pt idx="1195">
                  <c:v>1206.1243999999999</c:v>
                </c:pt>
                <c:pt idx="1196">
                  <c:v>1170.5155</c:v>
                </c:pt>
                <c:pt idx="1197">
                  <c:v>1120.0971999999999</c:v>
                </c:pt>
                <c:pt idx="1198">
                  <c:v>1044.1300000000001</c:v>
                </c:pt>
                <c:pt idx="1199">
                  <c:v>930.38289999999995</c:v>
                </c:pt>
                <c:pt idx="1200">
                  <c:v>847.31119999999999</c:v>
                </c:pt>
                <c:pt idx="1201">
                  <c:v>799.86130000000003</c:v>
                </c:pt>
                <c:pt idx="1202">
                  <c:v>779.32960000000003</c:v>
                </c:pt>
                <c:pt idx="1203">
                  <c:v>769.75300000000004</c:v>
                </c:pt>
                <c:pt idx="1204">
                  <c:v>777.33879999999999</c:v>
                </c:pt>
                <c:pt idx="1205">
                  <c:v>790.51009999999997</c:v>
                </c:pt>
                <c:pt idx="1206">
                  <c:v>866.77859999999998</c:v>
                </c:pt>
                <c:pt idx="1207">
                  <c:v>1027.7799</c:v>
                </c:pt>
                <c:pt idx="1208">
                  <c:v>1098.6404</c:v>
                </c:pt>
                <c:pt idx="1209">
                  <c:v>1208.8416</c:v>
                </c:pt>
                <c:pt idx="1210">
                  <c:v>1212.9069</c:v>
                </c:pt>
                <c:pt idx="1211">
                  <c:v>1218.0556999999999</c:v>
                </c:pt>
                <c:pt idx="1212">
                  <c:v>1209.7885000000001</c:v>
                </c:pt>
                <c:pt idx="1213">
                  <c:v>1226.2556</c:v>
                </c:pt>
                <c:pt idx="1214">
                  <c:v>1239.3444</c:v>
                </c:pt>
                <c:pt idx="1215">
                  <c:v>1243.3806</c:v>
                </c:pt>
                <c:pt idx="1216">
                  <c:v>1236.8870999999999</c:v>
                </c:pt>
                <c:pt idx="1217">
                  <c:v>1213.5616</c:v>
                </c:pt>
                <c:pt idx="1218">
                  <c:v>1285.4239</c:v>
                </c:pt>
                <c:pt idx="1219">
                  <c:v>1256.8512000000001</c:v>
                </c:pt>
                <c:pt idx="1220">
                  <c:v>1221.4721999999999</c:v>
                </c:pt>
                <c:pt idx="1221">
                  <c:v>1189.5431000000001</c:v>
                </c:pt>
                <c:pt idx="1222">
                  <c:v>1096.4095</c:v>
                </c:pt>
                <c:pt idx="1223">
                  <c:v>1005.6457</c:v>
                </c:pt>
                <c:pt idx="1224">
                  <c:v>922.85770000000002</c:v>
                </c:pt>
                <c:pt idx="1225">
                  <c:v>877.73540000000003</c:v>
                </c:pt>
                <c:pt idx="1226">
                  <c:v>858.99210000000005</c:v>
                </c:pt>
                <c:pt idx="1227">
                  <c:v>844.94560000000001</c:v>
                </c:pt>
                <c:pt idx="1228">
                  <c:v>849.21669999999995</c:v>
                </c:pt>
                <c:pt idx="1229">
                  <c:v>871.99490000000003</c:v>
                </c:pt>
                <c:pt idx="1230">
                  <c:v>947.20950000000005</c:v>
                </c:pt>
                <c:pt idx="1231">
                  <c:v>1117.3378</c:v>
                </c:pt>
                <c:pt idx="1232">
                  <c:v>1204.0820000000001</c:v>
                </c:pt>
                <c:pt idx="1233">
                  <c:v>1290.7062000000001</c:v>
                </c:pt>
                <c:pt idx="1234">
                  <c:v>1276.3405</c:v>
                </c:pt>
                <c:pt idx="1235">
                  <c:v>1257.8552999999999</c:v>
                </c:pt>
                <c:pt idx="1236">
                  <c:v>1223.9193</c:v>
                </c:pt>
                <c:pt idx="1237">
                  <c:v>1238.1974</c:v>
                </c:pt>
                <c:pt idx="1238">
                  <c:v>1230.4474</c:v>
                </c:pt>
                <c:pt idx="1239">
                  <c:v>1229.7795000000001</c:v>
                </c:pt>
                <c:pt idx="1240">
                  <c:v>1234.0619999999999</c:v>
                </c:pt>
                <c:pt idx="1241">
                  <c:v>1218.3678</c:v>
                </c:pt>
                <c:pt idx="1242">
                  <c:v>1309.5088000000001</c:v>
                </c:pt>
                <c:pt idx="1243">
                  <c:v>1284.2371000000001</c:v>
                </c:pt>
                <c:pt idx="1244">
                  <c:v>1255.3577</c:v>
                </c:pt>
                <c:pt idx="1245">
                  <c:v>1226.2222999999999</c:v>
                </c:pt>
                <c:pt idx="1246">
                  <c:v>1156.4531999999999</c:v>
                </c:pt>
                <c:pt idx="1247">
                  <c:v>1062.2225000000001</c:v>
                </c:pt>
                <c:pt idx="1248">
                  <c:v>980.04750000000001</c:v>
                </c:pt>
                <c:pt idx="1249">
                  <c:v>943.31510000000003</c:v>
                </c:pt>
                <c:pt idx="1250">
                  <c:v>928.69799999999998</c:v>
                </c:pt>
                <c:pt idx="1251">
                  <c:v>924.05100000000004</c:v>
                </c:pt>
                <c:pt idx="1252">
                  <c:v>918.40430000000003</c:v>
                </c:pt>
                <c:pt idx="1253">
                  <c:v>945.99120000000005</c:v>
                </c:pt>
                <c:pt idx="1254">
                  <c:v>1025.6964</c:v>
                </c:pt>
                <c:pt idx="1255">
                  <c:v>1166.6732999999999</c:v>
                </c:pt>
                <c:pt idx="1256">
                  <c:v>1250.8091999999999</c:v>
                </c:pt>
                <c:pt idx="1257">
                  <c:v>1333.8186000000001</c:v>
                </c:pt>
                <c:pt idx="1258">
                  <c:v>1316.6704</c:v>
                </c:pt>
                <c:pt idx="1259">
                  <c:v>1301.097</c:v>
                </c:pt>
                <c:pt idx="1260">
                  <c:v>1267.4727</c:v>
                </c:pt>
                <c:pt idx="1261">
                  <c:v>1248.692</c:v>
                </c:pt>
                <c:pt idx="1262">
                  <c:v>1233.8630000000001</c:v>
                </c:pt>
                <c:pt idx="1263">
                  <c:v>1222.6495</c:v>
                </c:pt>
                <c:pt idx="1264">
                  <c:v>1213.7311</c:v>
                </c:pt>
                <c:pt idx="1265">
                  <c:v>1205.9054000000001</c:v>
                </c:pt>
                <c:pt idx="1266">
                  <c:v>1279.3416999999999</c:v>
                </c:pt>
                <c:pt idx="1267">
                  <c:v>1272.329</c:v>
                </c:pt>
                <c:pt idx="1268">
                  <c:v>1236.8724</c:v>
                </c:pt>
                <c:pt idx="1269">
                  <c:v>1198.8097</c:v>
                </c:pt>
                <c:pt idx="1270">
                  <c:v>1132.8187</c:v>
                </c:pt>
                <c:pt idx="1271">
                  <c:v>1047.1703</c:v>
                </c:pt>
                <c:pt idx="1272">
                  <c:v>981.83500000000004</c:v>
                </c:pt>
                <c:pt idx="1273">
                  <c:v>925.87059999999997</c:v>
                </c:pt>
                <c:pt idx="1274">
                  <c:v>899.94529999999997</c:v>
                </c:pt>
                <c:pt idx="1275">
                  <c:v>864.79610000000002</c:v>
                </c:pt>
                <c:pt idx="1276">
                  <c:v>860.76199999999994</c:v>
                </c:pt>
                <c:pt idx="1277">
                  <c:v>869.49300000000005</c:v>
                </c:pt>
                <c:pt idx="1278">
                  <c:v>911.13319999999999</c:v>
                </c:pt>
                <c:pt idx="1279">
                  <c:v>951.05050000000006</c:v>
                </c:pt>
                <c:pt idx="1280">
                  <c:v>972.06740000000002</c:v>
                </c:pt>
                <c:pt idx="1281">
                  <c:v>1065.2728999999999</c:v>
                </c:pt>
                <c:pt idx="1282">
                  <c:v>1103.5780999999999</c:v>
                </c:pt>
                <c:pt idx="1283">
                  <c:v>1100.9414999999999</c:v>
                </c:pt>
                <c:pt idx="1284">
                  <c:v>1097.4879000000001</c:v>
                </c:pt>
                <c:pt idx="1285">
                  <c:v>1082.1566</c:v>
                </c:pt>
                <c:pt idx="1286">
                  <c:v>1066.6449</c:v>
                </c:pt>
                <c:pt idx="1287">
                  <c:v>1058.1300000000001</c:v>
                </c:pt>
                <c:pt idx="1288">
                  <c:v>1055.0192</c:v>
                </c:pt>
                <c:pt idx="1289">
                  <c:v>1069.9381000000001</c:v>
                </c:pt>
                <c:pt idx="1290">
                  <c:v>1118.8795</c:v>
                </c:pt>
                <c:pt idx="1291">
                  <c:v>1115.2014999999999</c:v>
                </c:pt>
                <c:pt idx="1292">
                  <c:v>1082.5516</c:v>
                </c:pt>
                <c:pt idx="1293">
                  <c:v>1043.3954000000001</c:v>
                </c:pt>
                <c:pt idx="1294">
                  <c:v>986.35</c:v>
                </c:pt>
                <c:pt idx="1295">
                  <c:v>935.97339999999997</c:v>
                </c:pt>
                <c:pt idx="1296">
                  <c:v>876.58150000000001</c:v>
                </c:pt>
                <c:pt idx="1297">
                  <c:v>827.97209999999995</c:v>
                </c:pt>
                <c:pt idx="1298">
                  <c:v>801.17909999999995</c:v>
                </c:pt>
                <c:pt idx="1299">
                  <c:v>786.24069999999995</c:v>
                </c:pt>
                <c:pt idx="1300">
                  <c:v>778.86350000000004</c:v>
                </c:pt>
                <c:pt idx="1301">
                  <c:v>796.80060000000003</c:v>
                </c:pt>
                <c:pt idx="1302">
                  <c:v>815.23689999999999</c:v>
                </c:pt>
                <c:pt idx="1303">
                  <c:v>850.31569999999999</c:v>
                </c:pt>
                <c:pt idx="1304">
                  <c:v>876.90419999999995</c:v>
                </c:pt>
                <c:pt idx="1305">
                  <c:v>954.04079999999999</c:v>
                </c:pt>
                <c:pt idx="1306">
                  <c:v>1003.9075</c:v>
                </c:pt>
                <c:pt idx="1307">
                  <c:v>1020.9924999999999</c:v>
                </c:pt>
                <c:pt idx="1308">
                  <c:v>1021.4429</c:v>
                </c:pt>
                <c:pt idx="1309">
                  <c:v>1011.5234</c:v>
                </c:pt>
                <c:pt idx="1310">
                  <c:v>1007.8338</c:v>
                </c:pt>
                <c:pt idx="1311">
                  <c:v>1014.9568</c:v>
                </c:pt>
                <c:pt idx="1312">
                  <c:v>1014.2702</c:v>
                </c:pt>
                <c:pt idx="1313">
                  <c:v>1012.5657</c:v>
                </c:pt>
                <c:pt idx="1314">
                  <c:v>1059.1919</c:v>
                </c:pt>
                <c:pt idx="1315">
                  <c:v>1062.6649</c:v>
                </c:pt>
                <c:pt idx="1316">
                  <c:v>1043.6851999999999</c:v>
                </c:pt>
                <c:pt idx="1317">
                  <c:v>993.85500000000002</c:v>
                </c:pt>
                <c:pt idx="1318">
                  <c:v>970.90549999999996</c:v>
                </c:pt>
                <c:pt idx="1319">
                  <c:v>908.25840000000005</c:v>
                </c:pt>
                <c:pt idx="1320">
                  <c:v>861.21230000000003</c:v>
                </c:pt>
                <c:pt idx="1321">
                  <c:v>813.95619999999997</c:v>
                </c:pt>
                <c:pt idx="1322">
                  <c:v>789.23069999999996</c:v>
                </c:pt>
                <c:pt idx="1323">
                  <c:v>783.59429999999998</c:v>
                </c:pt>
                <c:pt idx="1324">
                  <c:v>788.19100000000003</c:v>
                </c:pt>
                <c:pt idx="1325">
                  <c:v>796.44110000000001</c:v>
                </c:pt>
                <c:pt idx="1326">
                  <c:v>880.77729999999997</c:v>
                </c:pt>
                <c:pt idx="1327">
                  <c:v>1028.6039000000001</c:v>
                </c:pt>
                <c:pt idx="1328">
                  <c:v>1114.4181000000001</c:v>
                </c:pt>
                <c:pt idx="1329">
                  <c:v>1203.8805</c:v>
                </c:pt>
                <c:pt idx="1330">
                  <c:v>1202.1079999999999</c:v>
                </c:pt>
                <c:pt idx="1331">
                  <c:v>1190.8912</c:v>
                </c:pt>
                <c:pt idx="1332">
                  <c:v>1144.6797999999999</c:v>
                </c:pt>
                <c:pt idx="1333">
                  <c:v>1164.1996999999999</c:v>
                </c:pt>
                <c:pt idx="1334">
                  <c:v>1136.9291000000001</c:v>
                </c:pt>
                <c:pt idx="1335">
                  <c:v>1140.7460000000001</c:v>
                </c:pt>
                <c:pt idx="1336">
                  <c:v>1142.7854</c:v>
                </c:pt>
                <c:pt idx="1337">
                  <c:v>1135.2872</c:v>
                </c:pt>
                <c:pt idx="1338">
                  <c:v>1187.1089999999999</c:v>
                </c:pt>
                <c:pt idx="1339">
                  <c:v>1192.4003</c:v>
                </c:pt>
                <c:pt idx="1340">
                  <c:v>1157.5110999999999</c:v>
                </c:pt>
                <c:pt idx="1341">
                  <c:v>1123.9522999999999</c:v>
                </c:pt>
                <c:pt idx="1342">
                  <c:v>1059.9015999999999</c:v>
                </c:pt>
                <c:pt idx="1343">
                  <c:v>955.29229999999995</c:v>
                </c:pt>
                <c:pt idx="1344">
                  <c:v>871.50869999999998</c:v>
                </c:pt>
                <c:pt idx="1345">
                  <c:v>856.93389999999999</c:v>
                </c:pt>
                <c:pt idx="1346">
                  <c:v>843.94119999999998</c:v>
                </c:pt>
                <c:pt idx="1347">
                  <c:v>836.76890000000003</c:v>
                </c:pt>
                <c:pt idx="1348">
                  <c:v>821.2758</c:v>
                </c:pt>
                <c:pt idx="1349">
                  <c:v>839.01390000000004</c:v>
                </c:pt>
                <c:pt idx="1350">
                  <c:v>891.40160000000003</c:v>
                </c:pt>
                <c:pt idx="1351">
                  <c:v>1032.5576000000001</c:v>
                </c:pt>
                <c:pt idx="1352">
                  <c:v>1125.8572999999999</c:v>
                </c:pt>
                <c:pt idx="1353">
                  <c:v>1219.0731000000001</c:v>
                </c:pt>
                <c:pt idx="1354">
                  <c:v>1233.5012999999999</c:v>
                </c:pt>
                <c:pt idx="1355">
                  <c:v>1231.3317</c:v>
                </c:pt>
                <c:pt idx="1356">
                  <c:v>1204.0654</c:v>
                </c:pt>
                <c:pt idx="1357">
                  <c:v>1232.4458999999999</c:v>
                </c:pt>
                <c:pt idx="1358">
                  <c:v>1232.6371999999999</c:v>
                </c:pt>
                <c:pt idx="1359">
                  <c:v>1212.7036000000001</c:v>
                </c:pt>
                <c:pt idx="1360">
                  <c:v>1200.3739</c:v>
                </c:pt>
                <c:pt idx="1361">
                  <c:v>1155.4492</c:v>
                </c:pt>
                <c:pt idx="1362">
                  <c:v>1209.1569</c:v>
                </c:pt>
                <c:pt idx="1363">
                  <c:v>1229.1322</c:v>
                </c:pt>
                <c:pt idx="1364">
                  <c:v>1191.5255</c:v>
                </c:pt>
                <c:pt idx="1365">
                  <c:v>1175.9341999999999</c:v>
                </c:pt>
                <c:pt idx="1366">
                  <c:v>1101.2401</c:v>
                </c:pt>
                <c:pt idx="1367">
                  <c:v>1011.2858</c:v>
                </c:pt>
                <c:pt idx="1368">
                  <c:v>941.92949999999996</c:v>
                </c:pt>
                <c:pt idx="1369">
                  <c:v>903.58799999999997</c:v>
                </c:pt>
                <c:pt idx="1370">
                  <c:v>874.22209999999995</c:v>
                </c:pt>
                <c:pt idx="1371">
                  <c:v>855.33720000000005</c:v>
                </c:pt>
                <c:pt idx="1372">
                  <c:v>854.37490000000003</c:v>
                </c:pt>
                <c:pt idx="1373">
                  <c:v>864.9008</c:v>
                </c:pt>
                <c:pt idx="1374">
                  <c:v>902.19539999999995</c:v>
                </c:pt>
                <c:pt idx="1375">
                  <c:v>1058.6587</c:v>
                </c:pt>
                <c:pt idx="1376">
                  <c:v>1141.3780999999999</c:v>
                </c:pt>
                <c:pt idx="1377">
                  <c:v>1244.3947000000001</c:v>
                </c:pt>
                <c:pt idx="1378">
                  <c:v>1253.7272</c:v>
                </c:pt>
                <c:pt idx="1379">
                  <c:v>1256.0345</c:v>
                </c:pt>
                <c:pt idx="1380">
                  <c:v>1207.0752</c:v>
                </c:pt>
                <c:pt idx="1381">
                  <c:v>1215.4518</c:v>
                </c:pt>
                <c:pt idx="1382">
                  <c:v>1212.3827000000001</c:v>
                </c:pt>
                <c:pt idx="1383">
                  <c:v>1206.9576</c:v>
                </c:pt>
                <c:pt idx="1384">
                  <c:v>1188.4655</c:v>
                </c:pt>
                <c:pt idx="1385">
                  <c:v>1163.5795000000001</c:v>
                </c:pt>
                <c:pt idx="1386">
                  <c:v>1204.7385999999999</c:v>
                </c:pt>
                <c:pt idx="1387">
                  <c:v>1228.7656999999999</c:v>
                </c:pt>
                <c:pt idx="1388">
                  <c:v>1196.0714</c:v>
                </c:pt>
                <c:pt idx="1389">
                  <c:v>1143.7889</c:v>
                </c:pt>
                <c:pt idx="1390">
                  <c:v>1075.0787</c:v>
                </c:pt>
                <c:pt idx="1391">
                  <c:v>979.88750000000005</c:v>
                </c:pt>
                <c:pt idx="1392">
                  <c:v>887.83889999999997</c:v>
                </c:pt>
                <c:pt idx="1393">
                  <c:v>863.13750000000005</c:v>
                </c:pt>
                <c:pt idx="1394">
                  <c:v>843.30849999999998</c:v>
                </c:pt>
                <c:pt idx="1395">
                  <c:v>831.17989999999998</c:v>
                </c:pt>
                <c:pt idx="1396">
                  <c:v>830.13990000000001</c:v>
                </c:pt>
                <c:pt idx="1397">
                  <c:v>819.69380000000001</c:v>
                </c:pt>
                <c:pt idx="1398">
                  <c:v>888.34450000000004</c:v>
                </c:pt>
                <c:pt idx="1399">
                  <c:v>999.38689999999997</c:v>
                </c:pt>
                <c:pt idx="1400">
                  <c:v>1095.6376</c:v>
                </c:pt>
                <c:pt idx="1401">
                  <c:v>1190.6225999999999</c:v>
                </c:pt>
                <c:pt idx="1402">
                  <c:v>1184.3997999999999</c:v>
                </c:pt>
                <c:pt idx="1403">
                  <c:v>1173.9567</c:v>
                </c:pt>
                <c:pt idx="1404">
                  <c:v>1159.8019999999999</c:v>
                </c:pt>
                <c:pt idx="1405">
                  <c:v>1179.5385000000001</c:v>
                </c:pt>
                <c:pt idx="1406">
                  <c:v>1181.9698000000001</c:v>
                </c:pt>
                <c:pt idx="1407">
                  <c:v>1173.3856000000001</c:v>
                </c:pt>
                <c:pt idx="1408">
                  <c:v>1173.1821</c:v>
                </c:pt>
                <c:pt idx="1409">
                  <c:v>1165.9105999999999</c:v>
                </c:pt>
                <c:pt idx="1410">
                  <c:v>1220.1320000000001</c:v>
                </c:pt>
                <c:pt idx="1411">
                  <c:v>1236.3690999999999</c:v>
                </c:pt>
                <c:pt idx="1412">
                  <c:v>1202.3942</c:v>
                </c:pt>
                <c:pt idx="1413">
                  <c:v>1163.6699000000001</c:v>
                </c:pt>
                <c:pt idx="1414">
                  <c:v>1091.1622</c:v>
                </c:pt>
                <c:pt idx="1415">
                  <c:v>994.83910000000003</c:v>
                </c:pt>
                <c:pt idx="1416">
                  <c:v>938.53049999999996</c:v>
                </c:pt>
                <c:pt idx="1417">
                  <c:v>891.12990000000002</c:v>
                </c:pt>
                <c:pt idx="1418">
                  <c:v>872.50080000000003</c:v>
                </c:pt>
                <c:pt idx="1419">
                  <c:v>862.26310000000001</c:v>
                </c:pt>
                <c:pt idx="1420">
                  <c:v>848.16880000000003</c:v>
                </c:pt>
                <c:pt idx="1421">
                  <c:v>876.89919999999995</c:v>
                </c:pt>
                <c:pt idx="1422">
                  <c:v>951.62840000000006</c:v>
                </c:pt>
                <c:pt idx="1423">
                  <c:v>1062.6971000000001</c:v>
                </c:pt>
                <c:pt idx="1424">
                  <c:v>1168.519</c:v>
                </c:pt>
                <c:pt idx="1425">
                  <c:v>1251.1190999999999</c:v>
                </c:pt>
                <c:pt idx="1426">
                  <c:v>1279.8510000000001</c:v>
                </c:pt>
                <c:pt idx="1427">
                  <c:v>1265.1241</c:v>
                </c:pt>
                <c:pt idx="1428">
                  <c:v>1253.0785000000001</c:v>
                </c:pt>
                <c:pt idx="1429">
                  <c:v>1251.9838</c:v>
                </c:pt>
                <c:pt idx="1430">
                  <c:v>1242.4457</c:v>
                </c:pt>
                <c:pt idx="1431">
                  <c:v>1221.7974999999999</c:v>
                </c:pt>
                <c:pt idx="1432">
                  <c:v>1212.7660000000001</c:v>
                </c:pt>
                <c:pt idx="1433">
                  <c:v>1191.2599</c:v>
                </c:pt>
                <c:pt idx="1434">
                  <c:v>1239.3315</c:v>
                </c:pt>
                <c:pt idx="1435">
                  <c:v>1278.7538999999999</c:v>
                </c:pt>
                <c:pt idx="1436">
                  <c:v>1248.6262999999999</c:v>
                </c:pt>
                <c:pt idx="1437">
                  <c:v>1208.6855</c:v>
                </c:pt>
                <c:pt idx="1438">
                  <c:v>1141.1786</c:v>
                </c:pt>
                <c:pt idx="1439">
                  <c:v>1055.0120999999999</c:v>
                </c:pt>
                <c:pt idx="1440">
                  <c:v>980.62120000000004</c:v>
                </c:pt>
                <c:pt idx="1441">
                  <c:v>933.96190000000001</c:v>
                </c:pt>
                <c:pt idx="1442">
                  <c:v>897.83989999999994</c:v>
                </c:pt>
                <c:pt idx="1443">
                  <c:v>889.95140000000004</c:v>
                </c:pt>
                <c:pt idx="1444">
                  <c:v>878.70029999999997</c:v>
                </c:pt>
                <c:pt idx="1445">
                  <c:v>876.32159999999999</c:v>
                </c:pt>
                <c:pt idx="1446">
                  <c:v>907.99189999999999</c:v>
                </c:pt>
                <c:pt idx="1447">
                  <c:v>942.43460000000005</c:v>
                </c:pt>
                <c:pt idx="1448">
                  <c:v>984.98239999999998</c:v>
                </c:pt>
                <c:pt idx="1449">
                  <c:v>1069.3802000000001</c:v>
                </c:pt>
                <c:pt idx="1450">
                  <c:v>1089.4603</c:v>
                </c:pt>
                <c:pt idx="1451">
                  <c:v>1062.0210999999999</c:v>
                </c:pt>
                <c:pt idx="1452">
                  <c:v>1022.7298</c:v>
                </c:pt>
                <c:pt idx="1453">
                  <c:v>1012.7151</c:v>
                </c:pt>
                <c:pt idx="1454">
                  <c:v>997.06690000000003</c:v>
                </c:pt>
                <c:pt idx="1455">
                  <c:v>997.47919999999999</c:v>
                </c:pt>
                <c:pt idx="1456">
                  <c:v>1018.366</c:v>
                </c:pt>
                <c:pt idx="1457">
                  <c:v>1039.7279000000001</c:v>
                </c:pt>
                <c:pt idx="1458">
                  <c:v>1080.4156</c:v>
                </c:pt>
                <c:pt idx="1459">
                  <c:v>1123.9785999999999</c:v>
                </c:pt>
                <c:pt idx="1460">
                  <c:v>1105.8426999999999</c:v>
                </c:pt>
                <c:pt idx="1461">
                  <c:v>1070.173</c:v>
                </c:pt>
                <c:pt idx="1462">
                  <c:v>1015.9064</c:v>
                </c:pt>
                <c:pt idx="1463">
                  <c:v>957.48040000000003</c:v>
                </c:pt>
                <c:pt idx="1464">
                  <c:v>899.74090000000001</c:v>
                </c:pt>
                <c:pt idx="1465">
                  <c:v>864.44410000000005</c:v>
                </c:pt>
                <c:pt idx="1466">
                  <c:v>840.21529999999996</c:v>
                </c:pt>
                <c:pt idx="1467">
                  <c:v>844.92719999999997</c:v>
                </c:pt>
                <c:pt idx="1468">
                  <c:v>842.52120000000002</c:v>
                </c:pt>
                <c:pt idx="1469">
                  <c:v>836.75779999999997</c:v>
                </c:pt>
                <c:pt idx="1470">
                  <c:v>863.01859999999999</c:v>
                </c:pt>
                <c:pt idx="1471">
                  <c:v>898.5127</c:v>
                </c:pt>
                <c:pt idx="1472">
                  <c:v>924.34550000000002</c:v>
                </c:pt>
                <c:pt idx="1473">
                  <c:v>1003.2077</c:v>
                </c:pt>
                <c:pt idx="1474">
                  <c:v>1029.6361999999999</c:v>
                </c:pt>
                <c:pt idx="1475">
                  <c:v>1037.1329000000001</c:v>
                </c:pt>
                <c:pt idx="1476">
                  <c:v>1033.5657000000001</c:v>
                </c:pt>
                <c:pt idx="1477">
                  <c:v>1023.6763</c:v>
                </c:pt>
                <c:pt idx="1478">
                  <c:v>1021.515</c:v>
                </c:pt>
                <c:pt idx="1479">
                  <c:v>1024.0762999999999</c:v>
                </c:pt>
                <c:pt idx="1480">
                  <c:v>1028.8087</c:v>
                </c:pt>
                <c:pt idx="1481">
                  <c:v>1038.7054000000001</c:v>
                </c:pt>
                <c:pt idx="1482">
                  <c:v>1105.6905999999999</c:v>
                </c:pt>
                <c:pt idx="1483">
                  <c:v>1166.712</c:v>
                </c:pt>
                <c:pt idx="1484">
                  <c:v>1154.0583999999999</c:v>
                </c:pt>
                <c:pt idx="1485">
                  <c:v>1118.0210999999999</c:v>
                </c:pt>
                <c:pt idx="1486">
                  <c:v>1053.2422999999999</c:v>
                </c:pt>
                <c:pt idx="1487">
                  <c:v>983.70699999999999</c:v>
                </c:pt>
                <c:pt idx="1488">
                  <c:v>918.83540000000005</c:v>
                </c:pt>
                <c:pt idx="1489">
                  <c:v>879.43629999999996</c:v>
                </c:pt>
                <c:pt idx="1490">
                  <c:v>849.29330000000004</c:v>
                </c:pt>
                <c:pt idx="1491">
                  <c:v>848.60680000000002</c:v>
                </c:pt>
                <c:pt idx="1492">
                  <c:v>848.26089999999999</c:v>
                </c:pt>
                <c:pt idx="1493">
                  <c:v>870.98410000000001</c:v>
                </c:pt>
                <c:pt idx="1494">
                  <c:v>934.40049999999997</c:v>
                </c:pt>
                <c:pt idx="1495">
                  <c:v>1085.2556</c:v>
                </c:pt>
                <c:pt idx="1496">
                  <c:v>1174.5456999999999</c:v>
                </c:pt>
                <c:pt idx="1497">
                  <c:v>1282.8931</c:v>
                </c:pt>
                <c:pt idx="1498">
                  <c:v>1288.2421999999999</c:v>
                </c:pt>
                <c:pt idx="1499">
                  <c:v>1292.0753999999999</c:v>
                </c:pt>
                <c:pt idx="1500">
                  <c:v>1262.6024</c:v>
                </c:pt>
                <c:pt idx="1501">
                  <c:v>1273.58</c:v>
                </c:pt>
                <c:pt idx="1502">
                  <c:v>1252.0228999999999</c:v>
                </c:pt>
                <c:pt idx="1503">
                  <c:v>1231.6848</c:v>
                </c:pt>
                <c:pt idx="1504">
                  <c:v>1220.0839000000001</c:v>
                </c:pt>
                <c:pt idx="1505">
                  <c:v>1184.1436000000001</c:v>
                </c:pt>
                <c:pt idx="1506">
                  <c:v>1230.9431999999999</c:v>
                </c:pt>
                <c:pt idx="1507">
                  <c:v>1242.8378</c:v>
                </c:pt>
                <c:pt idx="1508">
                  <c:v>1215.7008000000001</c:v>
                </c:pt>
                <c:pt idx="1509">
                  <c:v>1171.1610000000001</c:v>
                </c:pt>
                <c:pt idx="1510">
                  <c:v>1114.0499</c:v>
                </c:pt>
                <c:pt idx="1511">
                  <c:v>1008.0593</c:v>
                </c:pt>
                <c:pt idx="1512">
                  <c:v>945.26900000000001</c:v>
                </c:pt>
                <c:pt idx="1513">
                  <c:v>893.08299999999997</c:v>
                </c:pt>
                <c:pt idx="1514">
                  <c:v>876.97479999999996</c:v>
                </c:pt>
                <c:pt idx="1515">
                  <c:v>849.82870000000003</c:v>
                </c:pt>
                <c:pt idx="1516">
                  <c:v>845.97519999999997</c:v>
                </c:pt>
                <c:pt idx="1517">
                  <c:v>859.38109999999995</c:v>
                </c:pt>
                <c:pt idx="1518">
                  <c:v>932.06960000000004</c:v>
                </c:pt>
                <c:pt idx="1519">
                  <c:v>1083.8851</c:v>
                </c:pt>
                <c:pt idx="1520">
                  <c:v>1195.9102</c:v>
                </c:pt>
                <c:pt idx="1521">
                  <c:v>1266.1907000000001</c:v>
                </c:pt>
                <c:pt idx="1522">
                  <c:v>1277.3987999999999</c:v>
                </c:pt>
                <c:pt idx="1523">
                  <c:v>1272.05</c:v>
                </c:pt>
                <c:pt idx="1524">
                  <c:v>1251.1510000000001</c:v>
                </c:pt>
                <c:pt idx="1525">
                  <c:v>1274.5514000000001</c:v>
                </c:pt>
                <c:pt idx="1526">
                  <c:v>1274.2996000000001</c:v>
                </c:pt>
                <c:pt idx="1527">
                  <c:v>1272.9315999999999</c:v>
                </c:pt>
                <c:pt idx="1528">
                  <c:v>1252.5018</c:v>
                </c:pt>
                <c:pt idx="1529">
                  <c:v>1219.3391999999999</c:v>
                </c:pt>
                <c:pt idx="1530">
                  <c:v>1238.2084</c:v>
                </c:pt>
                <c:pt idx="1531">
                  <c:v>1280.1622</c:v>
                </c:pt>
                <c:pt idx="1532">
                  <c:v>1261.1586</c:v>
                </c:pt>
                <c:pt idx="1533">
                  <c:v>1224.0248999999999</c:v>
                </c:pt>
                <c:pt idx="1534">
                  <c:v>1172.5591999999999</c:v>
                </c:pt>
                <c:pt idx="1535">
                  <c:v>1095.8242</c:v>
                </c:pt>
                <c:pt idx="1536">
                  <c:v>977.596</c:v>
                </c:pt>
                <c:pt idx="1537">
                  <c:v>964.19159999999999</c:v>
                </c:pt>
                <c:pt idx="1538">
                  <c:v>947.51319999999998</c:v>
                </c:pt>
                <c:pt idx="1539">
                  <c:v>949.73770000000002</c:v>
                </c:pt>
                <c:pt idx="1540">
                  <c:v>956.42020000000002</c:v>
                </c:pt>
                <c:pt idx="1541">
                  <c:v>978.09500000000003</c:v>
                </c:pt>
                <c:pt idx="1542">
                  <c:v>1041.2057</c:v>
                </c:pt>
                <c:pt idx="1543">
                  <c:v>1183.0433</c:v>
                </c:pt>
                <c:pt idx="1544">
                  <c:v>1294.0755999999999</c:v>
                </c:pt>
                <c:pt idx="1545">
                  <c:v>1368.6488999999999</c:v>
                </c:pt>
                <c:pt idx="1546">
                  <c:v>1332.5607</c:v>
                </c:pt>
                <c:pt idx="1547">
                  <c:v>1301.4983</c:v>
                </c:pt>
                <c:pt idx="1548">
                  <c:v>1267.4232</c:v>
                </c:pt>
                <c:pt idx="1549">
                  <c:v>1260.8688999999999</c:v>
                </c:pt>
                <c:pt idx="1550">
                  <c:v>1242.7501</c:v>
                </c:pt>
                <c:pt idx="1551">
                  <c:v>1233.0247999999999</c:v>
                </c:pt>
                <c:pt idx="1552">
                  <c:v>1240.8506</c:v>
                </c:pt>
                <c:pt idx="1553">
                  <c:v>1219.5786000000001</c:v>
                </c:pt>
                <c:pt idx="1554">
                  <c:v>1255.2264</c:v>
                </c:pt>
                <c:pt idx="1555">
                  <c:v>1301.3914</c:v>
                </c:pt>
                <c:pt idx="1556">
                  <c:v>1265.5458000000001</c:v>
                </c:pt>
                <c:pt idx="1557">
                  <c:v>1225.8996999999999</c:v>
                </c:pt>
                <c:pt idx="1558">
                  <c:v>1128.5958000000001</c:v>
                </c:pt>
                <c:pt idx="1559">
                  <c:v>1030.2797</c:v>
                </c:pt>
                <c:pt idx="1560">
                  <c:v>977.62189999999998</c:v>
                </c:pt>
                <c:pt idx="1561">
                  <c:v>915.98630000000003</c:v>
                </c:pt>
                <c:pt idx="1562">
                  <c:v>908.62379999999996</c:v>
                </c:pt>
                <c:pt idx="1563">
                  <c:v>895.10029999999995</c:v>
                </c:pt>
                <c:pt idx="1564">
                  <c:v>883.05050000000006</c:v>
                </c:pt>
                <c:pt idx="1565">
                  <c:v>907.67489999999998</c:v>
                </c:pt>
                <c:pt idx="1566">
                  <c:v>978.75289999999995</c:v>
                </c:pt>
                <c:pt idx="1567">
                  <c:v>1095.5966000000001</c:v>
                </c:pt>
                <c:pt idx="1568">
                  <c:v>1201.2705000000001</c:v>
                </c:pt>
                <c:pt idx="1569">
                  <c:v>1289.5785000000001</c:v>
                </c:pt>
                <c:pt idx="1570">
                  <c:v>1300.8616999999999</c:v>
                </c:pt>
                <c:pt idx="1571">
                  <c:v>1292.4271000000001</c:v>
                </c:pt>
                <c:pt idx="1572">
                  <c:v>1262.0385000000001</c:v>
                </c:pt>
                <c:pt idx="1573">
                  <c:v>1268.1995999999999</c:v>
                </c:pt>
                <c:pt idx="1574">
                  <c:v>1261.6850999999999</c:v>
                </c:pt>
                <c:pt idx="1575">
                  <c:v>1260.0702000000001</c:v>
                </c:pt>
                <c:pt idx="1576">
                  <c:v>1256.1617000000001</c:v>
                </c:pt>
                <c:pt idx="1577">
                  <c:v>1234.2837999999999</c:v>
                </c:pt>
                <c:pt idx="1578">
                  <c:v>1258.4131</c:v>
                </c:pt>
                <c:pt idx="1579">
                  <c:v>1275.4431999999999</c:v>
                </c:pt>
                <c:pt idx="1580">
                  <c:v>1246.8670999999999</c:v>
                </c:pt>
                <c:pt idx="1581">
                  <c:v>1201.7965999999999</c:v>
                </c:pt>
                <c:pt idx="1582">
                  <c:v>1131.8090999999999</c:v>
                </c:pt>
                <c:pt idx="1583">
                  <c:v>1019.3277</c:v>
                </c:pt>
                <c:pt idx="1584">
                  <c:v>939.46969999999999</c:v>
                </c:pt>
                <c:pt idx="1585">
                  <c:v>881.04129999999998</c:v>
                </c:pt>
                <c:pt idx="1586">
                  <c:v>848.38930000000005</c:v>
                </c:pt>
                <c:pt idx="1587">
                  <c:v>836.99749999999995</c:v>
                </c:pt>
                <c:pt idx="1588">
                  <c:v>819.20249999999999</c:v>
                </c:pt>
                <c:pt idx="1589">
                  <c:v>822.53470000000004</c:v>
                </c:pt>
                <c:pt idx="1590">
                  <c:v>891.48569999999995</c:v>
                </c:pt>
                <c:pt idx="1591">
                  <c:v>1014.4431</c:v>
                </c:pt>
                <c:pt idx="1592">
                  <c:v>1110.3289</c:v>
                </c:pt>
                <c:pt idx="1593">
                  <c:v>1195.3462999999999</c:v>
                </c:pt>
                <c:pt idx="1594">
                  <c:v>1173.8097</c:v>
                </c:pt>
                <c:pt idx="1595">
                  <c:v>1165.6556</c:v>
                </c:pt>
                <c:pt idx="1596">
                  <c:v>1121.7135000000001</c:v>
                </c:pt>
                <c:pt idx="1597">
                  <c:v>1165.1537000000001</c:v>
                </c:pt>
                <c:pt idx="1598">
                  <c:v>1151.3126</c:v>
                </c:pt>
                <c:pt idx="1599">
                  <c:v>1167.4159</c:v>
                </c:pt>
                <c:pt idx="1600">
                  <c:v>1157.7577000000001</c:v>
                </c:pt>
                <c:pt idx="1601">
                  <c:v>1127.0944999999999</c:v>
                </c:pt>
                <c:pt idx="1602">
                  <c:v>1149.3900000000001</c:v>
                </c:pt>
                <c:pt idx="1603">
                  <c:v>1176.4618</c:v>
                </c:pt>
                <c:pt idx="1604">
                  <c:v>1127.8010999999999</c:v>
                </c:pt>
                <c:pt idx="1605">
                  <c:v>1091.5748000000001</c:v>
                </c:pt>
                <c:pt idx="1606">
                  <c:v>1042.6361999999999</c:v>
                </c:pt>
                <c:pt idx="1607">
                  <c:v>954.49239999999998</c:v>
                </c:pt>
                <c:pt idx="1608">
                  <c:v>889.96839999999997</c:v>
                </c:pt>
                <c:pt idx="1609">
                  <c:v>852.90509999999995</c:v>
                </c:pt>
                <c:pt idx="1610">
                  <c:v>837.42169999999999</c:v>
                </c:pt>
                <c:pt idx="1611">
                  <c:v>832.46010000000001</c:v>
                </c:pt>
                <c:pt idx="1612">
                  <c:v>831.22910000000002</c:v>
                </c:pt>
                <c:pt idx="1613">
                  <c:v>840.18600000000004</c:v>
                </c:pt>
                <c:pt idx="1614">
                  <c:v>857.40309999999999</c:v>
                </c:pt>
                <c:pt idx="1615">
                  <c:v>863.63679999999999</c:v>
                </c:pt>
                <c:pt idx="1616">
                  <c:v>918.98530000000005</c:v>
                </c:pt>
                <c:pt idx="1617">
                  <c:v>991.52570000000003</c:v>
                </c:pt>
                <c:pt idx="1618">
                  <c:v>1015.6077</c:v>
                </c:pt>
                <c:pt idx="1619">
                  <c:v>1015.0281</c:v>
                </c:pt>
                <c:pt idx="1620">
                  <c:v>994.19090000000006</c:v>
                </c:pt>
                <c:pt idx="1621">
                  <c:v>983.58109999999999</c:v>
                </c:pt>
                <c:pt idx="1622">
                  <c:v>994.88419999999996</c:v>
                </c:pt>
                <c:pt idx="1623">
                  <c:v>996.08</c:v>
                </c:pt>
                <c:pt idx="1624">
                  <c:v>994.38160000000005</c:v>
                </c:pt>
                <c:pt idx="1625">
                  <c:v>1010.0625</c:v>
                </c:pt>
                <c:pt idx="1626">
                  <c:v>1028.0146</c:v>
                </c:pt>
                <c:pt idx="1627">
                  <c:v>1087.0748000000001</c:v>
                </c:pt>
                <c:pt idx="1628">
                  <c:v>1060.4308000000001</c:v>
                </c:pt>
                <c:pt idx="1629">
                  <c:v>1027.4657999999999</c:v>
                </c:pt>
                <c:pt idx="1630">
                  <c:v>978.72170000000006</c:v>
                </c:pt>
                <c:pt idx="1631">
                  <c:v>921.70979999999997</c:v>
                </c:pt>
                <c:pt idx="1632">
                  <c:v>856.71469999999999</c:v>
                </c:pt>
                <c:pt idx="1633">
                  <c:v>810.30259999999998</c:v>
                </c:pt>
                <c:pt idx="1634">
                  <c:v>795.85490000000004</c:v>
                </c:pt>
                <c:pt idx="1635">
                  <c:v>772.29169999999999</c:v>
                </c:pt>
                <c:pt idx="1636">
                  <c:v>771.25030000000004</c:v>
                </c:pt>
                <c:pt idx="1637">
                  <c:v>780.37379999999996</c:v>
                </c:pt>
                <c:pt idx="1638">
                  <c:v>798.75369999999998</c:v>
                </c:pt>
                <c:pt idx="1639">
                  <c:v>814.5779</c:v>
                </c:pt>
                <c:pt idx="1640">
                  <c:v>863.34029999999996</c:v>
                </c:pt>
                <c:pt idx="1641">
                  <c:v>948.48159999999996</c:v>
                </c:pt>
                <c:pt idx="1642">
                  <c:v>999.67290000000003</c:v>
                </c:pt>
                <c:pt idx="1643">
                  <c:v>1030.8897999999999</c:v>
                </c:pt>
                <c:pt idx="1644">
                  <c:v>1031.8993</c:v>
                </c:pt>
                <c:pt idx="1645">
                  <c:v>1008.1070999999999</c:v>
                </c:pt>
                <c:pt idx="1646">
                  <c:v>996.26779999999997</c:v>
                </c:pt>
                <c:pt idx="1647">
                  <c:v>992.2704</c:v>
                </c:pt>
                <c:pt idx="1648">
                  <c:v>994.82029999999997</c:v>
                </c:pt>
                <c:pt idx="1649">
                  <c:v>1017.1761</c:v>
                </c:pt>
                <c:pt idx="1650">
                  <c:v>1044.8208999999999</c:v>
                </c:pt>
                <c:pt idx="1651">
                  <c:v>1128.9944</c:v>
                </c:pt>
                <c:pt idx="1652">
                  <c:v>1115.5704000000001</c:v>
                </c:pt>
                <c:pt idx="1653">
                  <c:v>1088.7129</c:v>
                </c:pt>
                <c:pt idx="1654">
                  <c:v>1033.1105</c:v>
                </c:pt>
                <c:pt idx="1655">
                  <c:v>945.98580000000004</c:v>
                </c:pt>
                <c:pt idx="1656">
                  <c:v>890.91240000000005</c:v>
                </c:pt>
                <c:pt idx="1657">
                  <c:v>861.13340000000005</c:v>
                </c:pt>
                <c:pt idx="1658">
                  <c:v>835.11509999999998</c:v>
                </c:pt>
                <c:pt idx="1659">
                  <c:v>836.07719999999995</c:v>
                </c:pt>
                <c:pt idx="1660">
                  <c:v>847.12120000000004</c:v>
                </c:pt>
                <c:pt idx="1661">
                  <c:v>866.84209999999996</c:v>
                </c:pt>
                <c:pt idx="1662">
                  <c:v>932.47270000000003</c:v>
                </c:pt>
                <c:pt idx="1663">
                  <c:v>1056.5337</c:v>
                </c:pt>
                <c:pt idx="1664">
                  <c:v>1163.8285000000001</c:v>
                </c:pt>
                <c:pt idx="1665">
                  <c:v>1248.6582000000001</c:v>
                </c:pt>
                <c:pt idx="1666">
                  <c:v>1255.3900000000001</c:v>
                </c:pt>
                <c:pt idx="1667">
                  <c:v>1262.4431999999999</c:v>
                </c:pt>
                <c:pt idx="1668">
                  <c:v>1223.1488999999999</c:v>
                </c:pt>
                <c:pt idx="1669">
                  <c:v>1235.1679999999999</c:v>
                </c:pt>
                <c:pt idx="1670">
                  <c:v>1225.0954999999999</c:v>
                </c:pt>
                <c:pt idx="1671">
                  <c:v>1216.9486999999999</c:v>
                </c:pt>
                <c:pt idx="1672">
                  <c:v>1210.9537</c:v>
                </c:pt>
                <c:pt idx="1673">
                  <c:v>1179.9108000000001</c:v>
                </c:pt>
                <c:pt idx="1674">
                  <c:v>1206.8352</c:v>
                </c:pt>
                <c:pt idx="1675">
                  <c:v>1259.7518</c:v>
                </c:pt>
                <c:pt idx="1676">
                  <c:v>1247.056</c:v>
                </c:pt>
                <c:pt idx="1677">
                  <c:v>1215.0503000000001</c:v>
                </c:pt>
                <c:pt idx="1678">
                  <c:v>1148.1503</c:v>
                </c:pt>
                <c:pt idx="1679">
                  <c:v>1047.3408999999999</c:v>
                </c:pt>
                <c:pt idx="1680">
                  <c:v>963.822</c:v>
                </c:pt>
                <c:pt idx="1681">
                  <c:v>923.02200000000005</c:v>
                </c:pt>
                <c:pt idx="1682">
                  <c:v>908.49109999999996</c:v>
                </c:pt>
                <c:pt idx="1683">
                  <c:v>909.20360000000005</c:v>
                </c:pt>
                <c:pt idx="1684">
                  <c:v>899.89239999999995</c:v>
                </c:pt>
                <c:pt idx="1685">
                  <c:v>917.80129999999997</c:v>
                </c:pt>
                <c:pt idx="1686">
                  <c:v>999.89750000000004</c:v>
                </c:pt>
                <c:pt idx="1687">
                  <c:v>1125.2867000000001</c:v>
                </c:pt>
                <c:pt idx="1688">
                  <c:v>1228.8092999999999</c:v>
                </c:pt>
                <c:pt idx="1689">
                  <c:v>1286.5499</c:v>
                </c:pt>
                <c:pt idx="1690">
                  <c:v>1277.2716</c:v>
                </c:pt>
                <c:pt idx="1691">
                  <c:v>1277.6437000000001</c:v>
                </c:pt>
                <c:pt idx="1692">
                  <c:v>1247.3361</c:v>
                </c:pt>
                <c:pt idx="1693">
                  <c:v>1256.8435999999999</c:v>
                </c:pt>
                <c:pt idx="1694">
                  <c:v>1251.1297999999999</c:v>
                </c:pt>
                <c:pt idx="1695">
                  <c:v>1248.894</c:v>
                </c:pt>
                <c:pt idx="1696">
                  <c:v>1254.9096999999999</c:v>
                </c:pt>
                <c:pt idx="1697">
                  <c:v>1220.9032999999999</c:v>
                </c:pt>
                <c:pt idx="1698">
                  <c:v>1226.8517999999999</c:v>
                </c:pt>
                <c:pt idx="1699">
                  <c:v>1279.4920999999999</c:v>
                </c:pt>
                <c:pt idx="1700">
                  <c:v>1245.5790999999999</c:v>
                </c:pt>
                <c:pt idx="1701">
                  <c:v>1200.1556</c:v>
                </c:pt>
                <c:pt idx="1702">
                  <c:v>1137.7411999999999</c:v>
                </c:pt>
                <c:pt idx="1703">
                  <c:v>1027.6958999999999</c:v>
                </c:pt>
                <c:pt idx="1704">
                  <c:v>952.46379999999999</c:v>
                </c:pt>
                <c:pt idx="1705">
                  <c:v>913.23270000000002</c:v>
                </c:pt>
                <c:pt idx="1706">
                  <c:v>898.19069999999999</c:v>
                </c:pt>
                <c:pt idx="1707">
                  <c:v>876.14559999999994</c:v>
                </c:pt>
                <c:pt idx="1708">
                  <c:v>873.52570000000003</c:v>
                </c:pt>
                <c:pt idx="1709">
                  <c:v>889.43700000000001</c:v>
                </c:pt>
                <c:pt idx="1710">
                  <c:v>967.77250000000004</c:v>
                </c:pt>
                <c:pt idx="1711">
                  <c:v>1083.5186000000001</c:v>
                </c:pt>
                <c:pt idx="1712">
                  <c:v>1198.3931</c:v>
                </c:pt>
                <c:pt idx="1713">
                  <c:v>1275.0752</c:v>
                </c:pt>
                <c:pt idx="1714">
                  <c:v>1254.7266999999999</c:v>
                </c:pt>
                <c:pt idx="1715">
                  <c:v>1240.6310000000001</c:v>
                </c:pt>
                <c:pt idx="1716">
                  <c:v>1205.3052</c:v>
                </c:pt>
                <c:pt idx="1717">
                  <c:v>1197.5823</c:v>
                </c:pt>
                <c:pt idx="1718">
                  <c:v>1196.7753</c:v>
                </c:pt>
                <c:pt idx="1719">
                  <c:v>1168.0016000000001</c:v>
                </c:pt>
                <c:pt idx="1720">
                  <c:v>1176.2929999999999</c:v>
                </c:pt>
                <c:pt idx="1721">
                  <c:v>1158.5581999999999</c:v>
                </c:pt>
                <c:pt idx="1722">
                  <c:v>1182.6813</c:v>
                </c:pt>
                <c:pt idx="1723">
                  <c:v>1217.0292999999999</c:v>
                </c:pt>
                <c:pt idx="1724">
                  <c:v>1206.1651999999999</c:v>
                </c:pt>
                <c:pt idx="1725">
                  <c:v>1156.0719999999999</c:v>
                </c:pt>
                <c:pt idx="1726">
                  <c:v>1096.6758</c:v>
                </c:pt>
                <c:pt idx="1727">
                  <c:v>982.05510000000004</c:v>
                </c:pt>
                <c:pt idx="1728">
                  <c:v>918.6223</c:v>
                </c:pt>
                <c:pt idx="1729">
                  <c:v>892.33450000000005</c:v>
                </c:pt>
                <c:pt idx="1730">
                  <c:v>865.33150000000001</c:v>
                </c:pt>
                <c:pt idx="1731">
                  <c:v>851.67449999999997</c:v>
                </c:pt>
                <c:pt idx="1732">
                  <c:v>855.98580000000004</c:v>
                </c:pt>
                <c:pt idx="1733">
                  <c:v>863.10760000000005</c:v>
                </c:pt>
                <c:pt idx="1734">
                  <c:v>925.63840000000005</c:v>
                </c:pt>
                <c:pt idx="1735">
                  <c:v>1054.4972</c:v>
                </c:pt>
                <c:pt idx="1736">
                  <c:v>1168.2512999999999</c:v>
                </c:pt>
                <c:pt idx="1737">
                  <c:v>1248.4534000000001</c:v>
                </c:pt>
                <c:pt idx="1738">
                  <c:v>1259.0367000000001</c:v>
                </c:pt>
                <c:pt idx="1739">
                  <c:v>1250.4229</c:v>
                </c:pt>
                <c:pt idx="1740">
                  <c:v>1203.145</c:v>
                </c:pt>
                <c:pt idx="1741">
                  <c:v>1204.4825000000001</c:v>
                </c:pt>
                <c:pt idx="1742">
                  <c:v>1205.8155999999999</c:v>
                </c:pt>
                <c:pt idx="1743">
                  <c:v>1191.6016999999999</c:v>
                </c:pt>
                <c:pt idx="1744">
                  <c:v>1179.4558</c:v>
                </c:pt>
                <c:pt idx="1745">
                  <c:v>1155.7687000000001</c:v>
                </c:pt>
                <c:pt idx="1746">
                  <c:v>1170.105</c:v>
                </c:pt>
                <c:pt idx="1747">
                  <c:v>1197.828</c:v>
                </c:pt>
                <c:pt idx="1748">
                  <c:v>1207.0420999999999</c:v>
                </c:pt>
                <c:pt idx="1749">
                  <c:v>1147.2618</c:v>
                </c:pt>
                <c:pt idx="1750">
                  <c:v>1086.8839</c:v>
                </c:pt>
                <c:pt idx="1751">
                  <c:v>976.01660000000004</c:v>
                </c:pt>
                <c:pt idx="1752">
                  <c:v>903.553</c:v>
                </c:pt>
                <c:pt idx="1753">
                  <c:v>859.61019999999996</c:v>
                </c:pt>
                <c:pt idx="1754">
                  <c:v>836.51580000000001</c:v>
                </c:pt>
                <c:pt idx="1755">
                  <c:v>826.18100000000004</c:v>
                </c:pt>
                <c:pt idx="1756">
                  <c:v>826.78970000000004</c:v>
                </c:pt>
                <c:pt idx="1757">
                  <c:v>839.1223</c:v>
                </c:pt>
                <c:pt idx="1758">
                  <c:v>910.48739999999998</c:v>
                </c:pt>
                <c:pt idx="1759">
                  <c:v>1015.5905</c:v>
                </c:pt>
                <c:pt idx="1760">
                  <c:v>1145.644</c:v>
                </c:pt>
                <c:pt idx="1761">
                  <c:v>1233.1101000000001</c:v>
                </c:pt>
                <c:pt idx="1762">
                  <c:v>1232.8126</c:v>
                </c:pt>
                <c:pt idx="1763">
                  <c:v>1226.2476999999999</c:v>
                </c:pt>
                <c:pt idx="1764">
                  <c:v>1198.6559</c:v>
                </c:pt>
                <c:pt idx="1765">
                  <c:v>1217.6483000000001</c:v>
                </c:pt>
                <c:pt idx="1766">
                  <c:v>1213.5193999999999</c:v>
                </c:pt>
                <c:pt idx="1767">
                  <c:v>1183.6766</c:v>
                </c:pt>
                <c:pt idx="1768">
                  <c:v>1148.9721999999999</c:v>
                </c:pt>
                <c:pt idx="1769">
                  <c:v>1150.1199999999999</c:v>
                </c:pt>
                <c:pt idx="1770">
                  <c:v>1161.9929999999999</c:v>
                </c:pt>
                <c:pt idx="1771">
                  <c:v>1203.6409000000001</c:v>
                </c:pt>
                <c:pt idx="1772">
                  <c:v>1152.6938</c:v>
                </c:pt>
                <c:pt idx="1773">
                  <c:v>1106.4491</c:v>
                </c:pt>
                <c:pt idx="1774">
                  <c:v>1043.1948</c:v>
                </c:pt>
                <c:pt idx="1775">
                  <c:v>955.7808</c:v>
                </c:pt>
                <c:pt idx="1776">
                  <c:v>886.50390000000004</c:v>
                </c:pt>
                <c:pt idx="1777">
                  <c:v>836.2047</c:v>
                </c:pt>
                <c:pt idx="1778">
                  <c:v>812.50689999999997</c:v>
                </c:pt>
                <c:pt idx="1779">
                  <c:v>803.60599999999999</c:v>
                </c:pt>
                <c:pt idx="1780">
                  <c:v>801.03</c:v>
                </c:pt>
                <c:pt idx="1781">
                  <c:v>808.38890000000004</c:v>
                </c:pt>
                <c:pt idx="1782">
                  <c:v>828.60889999999995</c:v>
                </c:pt>
                <c:pt idx="1783">
                  <c:v>842.97500000000002</c:v>
                </c:pt>
                <c:pt idx="1784">
                  <c:v>917.63419999999996</c:v>
                </c:pt>
                <c:pt idx="1785">
                  <c:v>1001.2442</c:v>
                </c:pt>
                <c:pt idx="1786">
                  <c:v>1051.1034999999999</c:v>
                </c:pt>
                <c:pt idx="1787">
                  <c:v>1060.6222</c:v>
                </c:pt>
                <c:pt idx="1788">
                  <c:v>1058.4960000000001</c:v>
                </c:pt>
                <c:pt idx="1789">
                  <c:v>1053.8169</c:v>
                </c:pt>
                <c:pt idx="1790">
                  <c:v>1050.413</c:v>
                </c:pt>
                <c:pt idx="1791">
                  <c:v>1025.2860000000001</c:v>
                </c:pt>
                <c:pt idx="1792">
                  <c:v>1030.0447999999999</c:v>
                </c:pt>
                <c:pt idx="1793">
                  <c:v>1024.5305000000001</c:v>
                </c:pt>
                <c:pt idx="1794">
                  <c:v>1053.4227000000001</c:v>
                </c:pt>
                <c:pt idx="1795">
                  <c:v>1106.8054999999999</c:v>
                </c:pt>
                <c:pt idx="1796">
                  <c:v>1082.127</c:v>
                </c:pt>
                <c:pt idx="1797">
                  <c:v>1036.5262</c:v>
                </c:pt>
                <c:pt idx="1798">
                  <c:v>987.82470000000001</c:v>
                </c:pt>
                <c:pt idx="1799">
                  <c:v>916.74189999999999</c:v>
                </c:pt>
                <c:pt idx="1800">
                  <c:v>851.73580000000004</c:v>
                </c:pt>
                <c:pt idx="1801">
                  <c:v>821.35889999999995</c:v>
                </c:pt>
                <c:pt idx="1802">
                  <c:v>807.30399999999997</c:v>
                </c:pt>
                <c:pt idx="1803">
                  <c:v>786.51239999999996</c:v>
                </c:pt>
                <c:pt idx="1804">
                  <c:v>782.65650000000005</c:v>
                </c:pt>
                <c:pt idx="1805">
                  <c:v>784.29290000000003</c:v>
                </c:pt>
                <c:pt idx="1806">
                  <c:v>803.89599999999996</c:v>
                </c:pt>
                <c:pt idx="1807">
                  <c:v>808.93849999999998</c:v>
                </c:pt>
                <c:pt idx="1808">
                  <c:v>865.38670000000002</c:v>
                </c:pt>
                <c:pt idx="1809">
                  <c:v>951.96709999999996</c:v>
                </c:pt>
                <c:pt idx="1810">
                  <c:v>984.87660000000005</c:v>
                </c:pt>
                <c:pt idx="1811">
                  <c:v>993.89110000000005</c:v>
                </c:pt>
                <c:pt idx="1812">
                  <c:v>995.21889999999996</c:v>
                </c:pt>
                <c:pt idx="1813">
                  <c:v>980.54</c:v>
                </c:pt>
                <c:pt idx="1814">
                  <c:v>984.76919999999996</c:v>
                </c:pt>
                <c:pt idx="1815">
                  <c:v>985.33299999999997</c:v>
                </c:pt>
                <c:pt idx="1816">
                  <c:v>996.7396</c:v>
                </c:pt>
                <c:pt idx="1817">
                  <c:v>1014.6761</c:v>
                </c:pt>
                <c:pt idx="1818">
                  <c:v>1027.3072999999999</c:v>
                </c:pt>
                <c:pt idx="1819">
                  <c:v>1108.1922999999999</c:v>
                </c:pt>
                <c:pt idx="1820">
                  <c:v>1095.5825</c:v>
                </c:pt>
                <c:pt idx="1821">
                  <c:v>1065.5708</c:v>
                </c:pt>
                <c:pt idx="1822">
                  <c:v>985.1377</c:v>
                </c:pt>
                <c:pt idx="1823">
                  <c:v>910.09720000000004</c:v>
                </c:pt>
                <c:pt idx="1824">
                  <c:v>833.87090000000001</c:v>
                </c:pt>
                <c:pt idx="1825">
                  <c:v>797.06230000000005</c:v>
                </c:pt>
                <c:pt idx="1826">
                  <c:v>783.11019999999996</c:v>
                </c:pt>
                <c:pt idx="1827">
                  <c:v>779.61630000000002</c:v>
                </c:pt>
                <c:pt idx="1828">
                  <c:v>771.26149999999996</c:v>
                </c:pt>
                <c:pt idx="1829">
                  <c:v>796.95730000000003</c:v>
                </c:pt>
                <c:pt idx="1830">
                  <c:v>868.44290000000001</c:v>
                </c:pt>
                <c:pt idx="1831">
                  <c:v>985.53679999999997</c:v>
                </c:pt>
                <c:pt idx="1832">
                  <c:v>1103.0983000000001</c:v>
                </c:pt>
                <c:pt idx="1833">
                  <c:v>1209.5183999999999</c:v>
                </c:pt>
                <c:pt idx="1834">
                  <c:v>1201.049</c:v>
                </c:pt>
                <c:pt idx="1835">
                  <c:v>1196.6412</c:v>
                </c:pt>
                <c:pt idx="1836">
                  <c:v>1165.4418000000001</c:v>
                </c:pt>
                <c:pt idx="1837">
                  <c:v>1168.4186</c:v>
                </c:pt>
                <c:pt idx="1838">
                  <c:v>1162.7820999999999</c:v>
                </c:pt>
                <c:pt idx="1839">
                  <c:v>1150.3099</c:v>
                </c:pt>
                <c:pt idx="1840">
                  <c:v>1151.4816000000001</c:v>
                </c:pt>
                <c:pt idx="1841">
                  <c:v>1116.2308</c:v>
                </c:pt>
                <c:pt idx="1842">
                  <c:v>1124.9434000000001</c:v>
                </c:pt>
                <c:pt idx="1843">
                  <c:v>1178.8068000000001</c:v>
                </c:pt>
                <c:pt idx="1844">
                  <c:v>1157.0757000000001</c:v>
                </c:pt>
                <c:pt idx="1845">
                  <c:v>1120.3871999999999</c:v>
                </c:pt>
                <c:pt idx="1846">
                  <c:v>1054.8578</c:v>
                </c:pt>
                <c:pt idx="1847">
                  <c:v>959.04610000000002</c:v>
                </c:pt>
                <c:pt idx="1848">
                  <c:v>873.58029999999997</c:v>
                </c:pt>
                <c:pt idx="1849">
                  <c:v>837.2704</c:v>
                </c:pt>
                <c:pt idx="1850">
                  <c:v>822.16279999999995</c:v>
                </c:pt>
                <c:pt idx="1851">
                  <c:v>813.83510000000001</c:v>
                </c:pt>
                <c:pt idx="1852">
                  <c:v>820.97220000000004</c:v>
                </c:pt>
                <c:pt idx="1853">
                  <c:v>832.95450000000005</c:v>
                </c:pt>
                <c:pt idx="1854">
                  <c:v>896.66690000000006</c:v>
                </c:pt>
                <c:pt idx="1855">
                  <c:v>1014.9832</c:v>
                </c:pt>
                <c:pt idx="1856">
                  <c:v>1132.3137999999999</c:v>
                </c:pt>
                <c:pt idx="1857">
                  <c:v>1221.2954</c:v>
                </c:pt>
                <c:pt idx="1858">
                  <c:v>1221.7530999999999</c:v>
                </c:pt>
                <c:pt idx="1859">
                  <c:v>1227.337</c:v>
                </c:pt>
                <c:pt idx="1860">
                  <c:v>1208.6952000000001</c:v>
                </c:pt>
                <c:pt idx="1861">
                  <c:v>1207.4014999999999</c:v>
                </c:pt>
                <c:pt idx="1862">
                  <c:v>1209.527</c:v>
                </c:pt>
                <c:pt idx="1863">
                  <c:v>1184.6297999999999</c:v>
                </c:pt>
                <c:pt idx="1864">
                  <c:v>1185.4774</c:v>
                </c:pt>
                <c:pt idx="1865">
                  <c:v>1155.3635999999999</c:v>
                </c:pt>
                <c:pt idx="1866">
                  <c:v>1159.2889</c:v>
                </c:pt>
                <c:pt idx="1867">
                  <c:v>1209.8297</c:v>
                </c:pt>
                <c:pt idx="1868">
                  <c:v>1189.2007000000001</c:v>
                </c:pt>
                <c:pt idx="1869">
                  <c:v>1148.6454000000001</c:v>
                </c:pt>
                <c:pt idx="1870">
                  <c:v>1089.1322</c:v>
                </c:pt>
                <c:pt idx="1871">
                  <c:v>984.6848</c:v>
                </c:pt>
                <c:pt idx="1872">
                  <c:v>896.39210000000003</c:v>
                </c:pt>
                <c:pt idx="1873">
                  <c:v>873.97170000000006</c:v>
                </c:pt>
                <c:pt idx="1874">
                  <c:v>849.45309999999995</c:v>
                </c:pt>
                <c:pt idx="1875">
                  <c:v>838.55430000000001</c:v>
                </c:pt>
                <c:pt idx="1876">
                  <c:v>840.79639999999995</c:v>
                </c:pt>
                <c:pt idx="1877">
                  <c:v>866.17020000000002</c:v>
                </c:pt>
                <c:pt idx="1878">
                  <c:v>933.23680000000002</c:v>
                </c:pt>
                <c:pt idx="1879">
                  <c:v>1057.8993</c:v>
                </c:pt>
                <c:pt idx="1880">
                  <c:v>1171.8828000000001</c:v>
                </c:pt>
                <c:pt idx="1881">
                  <c:v>1232.0591999999999</c:v>
                </c:pt>
                <c:pt idx="1882">
                  <c:v>1210.5554999999999</c:v>
                </c:pt>
                <c:pt idx="1883">
                  <c:v>1181.5093999999999</c:v>
                </c:pt>
                <c:pt idx="1884">
                  <c:v>1133.3856000000001</c:v>
                </c:pt>
                <c:pt idx="1885">
                  <c:v>1149.5135</c:v>
                </c:pt>
                <c:pt idx="1886">
                  <c:v>1149.7379000000001</c:v>
                </c:pt>
                <c:pt idx="1887">
                  <c:v>1161.9331999999999</c:v>
                </c:pt>
                <c:pt idx="1888">
                  <c:v>1155.2471</c:v>
                </c:pt>
                <c:pt idx="1889">
                  <c:v>1146.3252</c:v>
                </c:pt>
                <c:pt idx="1890">
                  <c:v>1155.8762999999999</c:v>
                </c:pt>
                <c:pt idx="1891">
                  <c:v>1206.26</c:v>
                </c:pt>
                <c:pt idx="1892">
                  <c:v>1189.1887999999999</c:v>
                </c:pt>
                <c:pt idx="1893">
                  <c:v>1155.4209000000001</c:v>
                </c:pt>
                <c:pt idx="1894">
                  <c:v>1077.8378</c:v>
                </c:pt>
                <c:pt idx="1895">
                  <c:v>967.59820000000002</c:v>
                </c:pt>
                <c:pt idx="1896">
                  <c:v>888.7242</c:v>
                </c:pt>
                <c:pt idx="1897">
                  <c:v>845.63009999999997</c:v>
                </c:pt>
                <c:pt idx="1898">
                  <c:v>822.3818</c:v>
                </c:pt>
                <c:pt idx="1899">
                  <c:v>821.43430000000001</c:v>
                </c:pt>
                <c:pt idx="1900">
                  <c:v>823.10270000000003</c:v>
                </c:pt>
                <c:pt idx="1901">
                  <c:v>835.10739999999998</c:v>
                </c:pt>
                <c:pt idx="1902">
                  <c:v>905.40530000000001</c:v>
                </c:pt>
                <c:pt idx="1903">
                  <c:v>1025.1427000000001</c:v>
                </c:pt>
                <c:pt idx="1904">
                  <c:v>1132.0585000000001</c:v>
                </c:pt>
                <c:pt idx="1905">
                  <c:v>1204.7602999999999</c:v>
                </c:pt>
                <c:pt idx="1906">
                  <c:v>1195.9266</c:v>
                </c:pt>
                <c:pt idx="1907">
                  <c:v>1197.4271000000001</c:v>
                </c:pt>
                <c:pt idx="1908">
                  <c:v>1148.3318999999999</c:v>
                </c:pt>
                <c:pt idx="1909">
                  <c:v>1153.8320000000001</c:v>
                </c:pt>
                <c:pt idx="1910">
                  <c:v>1160.8162</c:v>
                </c:pt>
                <c:pt idx="1911">
                  <c:v>1160.1851999999999</c:v>
                </c:pt>
                <c:pt idx="1912">
                  <c:v>1160.8181999999999</c:v>
                </c:pt>
                <c:pt idx="1913">
                  <c:v>1142.9182000000001</c:v>
                </c:pt>
                <c:pt idx="1914">
                  <c:v>1152.4956</c:v>
                </c:pt>
                <c:pt idx="1915">
                  <c:v>1188.3798999999999</c:v>
                </c:pt>
                <c:pt idx="1916">
                  <c:v>1178.6989000000001</c:v>
                </c:pt>
                <c:pt idx="1917">
                  <c:v>1130.3797999999999</c:v>
                </c:pt>
                <c:pt idx="1918">
                  <c:v>1063.5079000000001</c:v>
                </c:pt>
                <c:pt idx="1919">
                  <c:v>959.45500000000004</c:v>
                </c:pt>
                <c:pt idx="1920">
                  <c:v>857.45650000000001</c:v>
                </c:pt>
                <c:pt idx="1921">
                  <c:v>814.72370000000001</c:v>
                </c:pt>
                <c:pt idx="1922">
                  <c:v>806.35419999999999</c:v>
                </c:pt>
                <c:pt idx="1923">
                  <c:v>807.75710000000004</c:v>
                </c:pt>
                <c:pt idx="1924">
                  <c:v>805.53539999999998</c:v>
                </c:pt>
                <c:pt idx="1925">
                  <c:v>826.40279999999996</c:v>
                </c:pt>
                <c:pt idx="1926">
                  <c:v>871.75130000000001</c:v>
                </c:pt>
                <c:pt idx="1927">
                  <c:v>1004.4103</c:v>
                </c:pt>
                <c:pt idx="1928">
                  <c:v>1105.8128999999999</c:v>
                </c:pt>
                <c:pt idx="1929">
                  <c:v>1178.0220999999999</c:v>
                </c:pt>
                <c:pt idx="1930">
                  <c:v>1159.6044999999999</c:v>
                </c:pt>
                <c:pt idx="1931">
                  <c:v>1151.2747999999999</c:v>
                </c:pt>
                <c:pt idx="1932">
                  <c:v>1123.3793000000001</c:v>
                </c:pt>
                <c:pt idx="1933">
                  <c:v>1129.7476999999999</c:v>
                </c:pt>
                <c:pt idx="1934">
                  <c:v>1102.7427</c:v>
                </c:pt>
                <c:pt idx="1935">
                  <c:v>1091.4183</c:v>
                </c:pt>
                <c:pt idx="1936">
                  <c:v>1065.0166999999999</c:v>
                </c:pt>
                <c:pt idx="1937">
                  <c:v>1056.5544</c:v>
                </c:pt>
                <c:pt idx="1938">
                  <c:v>1071.1206999999999</c:v>
                </c:pt>
                <c:pt idx="1939">
                  <c:v>1107.5721000000001</c:v>
                </c:pt>
                <c:pt idx="1940">
                  <c:v>1124.9525000000001</c:v>
                </c:pt>
                <c:pt idx="1941">
                  <c:v>1087.5143</c:v>
                </c:pt>
                <c:pt idx="1942">
                  <c:v>1000.3279</c:v>
                </c:pt>
                <c:pt idx="1943">
                  <c:v>923.31910000000005</c:v>
                </c:pt>
                <c:pt idx="1944">
                  <c:v>855.50760000000002</c:v>
                </c:pt>
                <c:pt idx="1945">
                  <c:v>818.16409999999996</c:v>
                </c:pt>
                <c:pt idx="1946">
                  <c:v>797.39179999999999</c:v>
                </c:pt>
                <c:pt idx="1947">
                  <c:v>777.41949999999997</c:v>
                </c:pt>
                <c:pt idx="1948">
                  <c:v>770.47379999999998</c:v>
                </c:pt>
                <c:pt idx="1949">
                  <c:v>768.32129999999995</c:v>
                </c:pt>
                <c:pt idx="1950">
                  <c:v>763.39059999999995</c:v>
                </c:pt>
                <c:pt idx="1951">
                  <c:v>789.55039999999997</c:v>
                </c:pt>
                <c:pt idx="1952">
                  <c:v>861.31299999999999</c:v>
                </c:pt>
                <c:pt idx="1953">
                  <c:v>927.03579999999999</c:v>
                </c:pt>
                <c:pt idx="1954">
                  <c:v>961.36210000000005</c:v>
                </c:pt>
                <c:pt idx="1955">
                  <c:v>969.11249999999995</c:v>
                </c:pt>
                <c:pt idx="1956">
                  <c:v>957.42110000000002</c:v>
                </c:pt>
                <c:pt idx="1957">
                  <c:v>964.90800000000002</c:v>
                </c:pt>
                <c:pt idx="1958">
                  <c:v>980.01760000000002</c:v>
                </c:pt>
                <c:pt idx="1959">
                  <c:v>968.64499999999998</c:v>
                </c:pt>
                <c:pt idx="1960">
                  <c:v>980.53200000000004</c:v>
                </c:pt>
                <c:pt idx="1961">
                  <c:v>990.17610000000002</c:v>
                </c:pt>
                <c:pt idx="1962">
                  <c:v>1001.1622</c:v>
                </c:pt>
                <c:pt idx="1963">
                  <c:v>1032.4056</c:v>
                </c:pt>
                <c:pt idx="1964">
                  <c:v>1034.6611</c:v>
                </c:pt>
                <c:pt idx="1965">
                  <c:v>999.23940000000005</c:v>
                </c:pt>
                <c:pt idx="1966">
                  <c:v>947.87570000000005</c:v>
                </c:pt>
                <c:pt idx="1967">
                  <c:v>872.81650000000002</c:v>
                </c:pt>
                <c:pt idx="1968">
                  <c:v>818.41089999999997</c:v>
                </c:pt>
                <c:pt idx="1969">
                  <c:v>772.96230000000003</c:v>
                </c:pt>
                <c:pt idx="1970">
                  <c:v>746.95510000000002</c:v>
                </c:pt>
                <c:pt idx="1971">
                  <c:v>739.55719999999997</c:v>
                </c:pt>
                <c:pt idx="1972">
                  <c:v>723.46900000000005</c:v>
                </c:pt>
                <c:pt idx="1973">
                  <c:v>738.54359999999997</c:v>
                </c:pt>
                <c:pt idx="1974">
                  <c:v>742.82100000000003</c:v>
                </c:pt>
                <c:pt idx="1975">
                  <c:v>764.76459999999997</c:v>
                </c:pt>
                <c:pt idx="1976">
                  <c:v>820.46410000000003</c:v>
                </c:pt>
                <c:pt idx="1977">
                  <c:v>880.50900000000001</c:v>
                </c:pt>
                <c:pt idx="1978">
                  <c:v>912.28139999999996</c:v>
                </c:pt>
                <c:pt idx="1979">
                  <c:v>899.69629999999995</c:v>
                </c:pt>
                <c:pt idx="1980">
                  <c:v>885.41639999999995</c:v>
                </c:pt>
                <c:pt idx="1981">
                  <c:v>876.17719999999997</c:v>
                </c:pt>
                <c:pt idx="1982">
                  <c:v>868.00480000000005</c:v>
                </c:pt>
                <c:pt idx="1983">
                  <c:v>873.16970000000003</c:v>
                </c:pt>
                <c:pt idx="1984">
                  <c:v>874.7355</c:v>
                </c:pt>
                <c:pt idx="1985">
                  <c:v>893.42100000000005</c:v>
                </c:pt>
                <c:pt idx="1986">
                  <c:v>924.87429999999995</c:v>
                </c:pt>
                <c:pt idx="1987">
                  <c:v>983.16139999999996</c:v>
                </c:pt>
                <c:pt idx="1988">
                  <c:v>1034.819</c:v>
                </c:pt>
                <c:pt idx="1989">
                  <c:v>1016.0698</c:v>
                </c:pt>
                <c:pt idx="1990">
                  <c:v>950.04899999999998</c:v>
                </c:pt>
                <c:pt idx="1991">
                  <c:v>867.77670000000001</c:v>
                </c:pt>
                <c:pt idx="1992">
                  <c:v>820.15779999999995</c:v>
                </c:pt>
                <c:pt idx="1993">
                  <c:v>788.22799999999995</c:v>
                </c:pt>
                <c:pt idx="1994">
                  <c:v>760.99300000000005</c:v>
                </c:pt>
                <c:pt idx="1995">
                  <c:v>763.24490000000003</c:v>
                </c:pt>
                <c:pt idx="1996">
                  <c:v>763.77470000000005</c:v>
                </c:pt>
                <c:pt idx="1997">
                  <c:v>787.18259999999998</c:v>
                </c:pt>
                <c:pt idx="1998">
                  <c:v>840.3193</c:v>
                </c:pt>
                <c:pt idx="1999">
                  <c:v>980.85929999999996</c:v>
                </c:pt>
                <c:pt idx="2000">
                  <c:v>1097.4987000000001</c:v>
                </c:pt>
                <c:pt idx="2001">
                  <c:v>1173.5727999999999</c:v>
                </c:pt>
                <c:pt idx="2002">
                  <c:v>1160.8213000000001</c:v>
                </c:pt>
                <c:pt idx="2003">
                  <c:v>1151.7908</c:v>
                </c:pt>
                <c:pt idx="2004">
                  <c:v>1114.8497</c:v>
                </c:pt>
                <c:pt idx="2005">
                  <c:v>1134.1376</c:v>
                </c:pt>
                <c:pt idx="2006">
                  <c:v>1141.4039</c:v>
                </c:pt>
                <c:pt idx="2007">
                  <c:v>1133.6449</c:v>
                </c:pt>
                <c:pt idx="2008">
                  <c:v>1123.7351000000001</c:v>
                </c:pt>
                <c:pt idx="2009">
                  <c:v>1098.9606000000001</c:v>
                </c:pt>
                <c:pt idx="2010">
                  <c:v>1081.9891</c:v>
                </c:pt>
                <c:pt idx="2011">
                  <c:v>1132.954</c:v>
                </c:pt>
                <c:pt idx="2012">
                  <c:v>1152.9784</c:v>
                </c:pt>
                <c:pt idx="2013">
                  <c:v>1113.8207</c:v>
                </c:pt>
                <c:pt idx="2014">
                  <c:v>1033.2714000000001</c:v>
                </c:pt>
                <c:pt idx="2015">
                  <c:v>934.2749</c:v>
                </c:pt>
                <c:pt idx="2016">
                  <c:v>873.91020000000003</c:v>
                </c:pt>
                <c:pt idx="2017">
                  <c:v>834.33879999999999</c:v>
                </c:pt>
                <c:pt idx="2018">
                  <c:v>816.45860000000005</c:v>
                </c:pt>
                <c:pt idx="2019">
                  <c:v>821.00070000000005</c:v>
                </c:pt>
                <c:pt idx="2020">
                  <c:v>827.64229999999998</c:v>
                </c:pt>
                <c:pt idx="2021">
                  <c:v>846.43039999999996</c:v>
                </c:pt>
                <c:pt idx="2022">
                  <c:v>887.34249999999997</c:v>
                </c:pt>
                <c:pt idx="2023">
                  <c:v>1023.6865</c:v>
                </c:pt>
                <c:pt idx="2024">
                  <c:v>1114.2626</c:v>
                </c:pt>
                <c:pt idx="2025">
                  <c:v>1179.4762000000001</c:v>
                </c:pt>
                <c:pt idx="2026">
                  <c:v>1167.4647</c:v>
                </c:pt>
                <c:pt idx="2027">
                  <c:v>1154.7603999999999</c:v>
                </c:pt>
                <c:pt idx="2028">
                  <c:v>1126.2275</c:v>
                </c:pt>
                <c:pt idx="2029">
                  <c:v>1132.6128000000001</c:v>
                </c:pt>
                <c:pt idx="2030">
                  <c:v>1122.4991</c:v>
                </c:pt>
                <c:pt idx="2031">
                  <c:v>1102.6866</c:v>
                </c:pt>
                <c:pt idx="2032">
                  <c:v>1116.5365999999999</c:v>
                </c:pt>
                <c:pt idx="2033">
                  <c:v>1083.4367999999999</c:v>
                </c:pt>
                <c:pt idx="2034">
                  <c:v>1105.2719999999999</c:v>
                </c:pt>
                <c:pt idx="2035">
                  <c:v>1132.8009</c:v>
                </c:pt>
                <c:pt idx="2036">
                  <c:v>1157.7566999999999</c:v>
                </c:pt>
                <c:pt idx="2037">
                  <c:v>1130.5492999999999</c:v>
                </c:pt>
                <c:pt idx="2038">
                  <c:v>1076.0447999999999</c:v>
                </c:pt>
                <c:pt idx="2039">
                  <c:v>967.45429999999999</c:v>
                </c:pt>
                <c:pt idx="2040">
                  <c:v>889.66499999999996</c:v>
                </c:pt>
                <c:pt idx="2041">
                  <c:v>851.78520000000003</c:v>
                </c:pt>
                <c:pt idx="2042">
                  <c:v>839.64890000000003</c:v>
                </c:pt>
                <c:pt idx="2043">
                  <c:v>839.28200000000004</c:v>
                </c:pt>
                <c:pt idx="2044">
                  <c:v>846.6345</c:v>
                </c:pt>
                <c:pt idx="2045">
                  <c:v>875.30399999999997</c:v>
                </c:pt>
                <c:pt idx="2046">
                  <c:v>914.79949999999997</c:v>
                </c:pt>
                <c:pt idx="2047">
                  <c:v>1061.3286000000001</c:v>
                </c:pt>
                <c:pt idx="2048">
                  <c:v>1138.634</c:v>
                </c:pt>
                <c:pt idx="2049">
                  <c:v>1201.4933000000001</c:v>
                </c:pt>
                <c:pt idx="2050">
                  <c:v>1185.4358999999999</c:v>
                </c:pt>
                <c:pt idx="2051">
                  <c:v>1177.2642000000001</c:v>
                </c:pt>
                <c:pt idx="2052">
                  <c:v>1145.5839000000001</c:v>
                </c:pt>
                <c:pt idx="2053">
                  <c:v>1154.0426</c:v>
                </c:pt>
                <c:pt idx="2054">
                  <c:v>1143.0178000000001</c:v>
                </c:pt>
                <c:pt idx="2055">
                  <c:v>1122.1760999999999</c:v>
                </c:pt>
                <c:pt idx="2056">
                  <c:v>1123.2550000000001</c:v>
                </c:pt>
                <c:pt idx="2057">
                  <c:v>1108.1097</c:v>
                </c:pt>
                <c:pt idx="2058">
                  <c:v>1122.2345</c:v>
                </c:pt>
                <c:pt idx="2059">
                  <c:v>1142.0845999999999</c:v>
                </c:pt>
                <c:pt idx="2060">
                  <c:v>1171.0513000000001</c:v>
                </c:pt>
                <c:pt idx="2061">
                  <c:v>1157.1724999999999</c:v>
                </c:pt>
                <c:pt idx="2062">
                  <c:v>1084.7412999999999</c:v>
                </c:pt>
                <c:pt idx="2063">
                  <c:v>967.8098</c:v>
                </c:pt>
                <c:pt idx="2064">
                  <c:v>888.78179999999998</c:v>
                </c:pt>
                <c:pt idx="2065">
                  <c:v>851.06740000000002</c:v>
                </c:pt>
                <c:pt idx="2066">
                  <c:v>834.02369999999996</c:v>
                </c:pt>
                <c:pt idx="2067">
                  <c:v>823.48850000000004</c:v>
                </c:pt>
                <c:pt idx="2068">
                  <c:v>824.2183</c:v>
                </c:pt>
                <c:pt idx="2069">
                  <c:v>817.83889999999997</c:v>
                </c:pt>
                <c:pt idx="2070">
                  <c:v>859.39139999999998</c:v>
                </c:pt>
                <c:pt idx="2071">
                  <c:v>1036.6346000000001</c:v>
                </c:pt>
                <c:pt idx="2072">
                  <c:v>1119.8045999999999</c:v>
                </c:pt>
                <c:pt idx="2073">
                  <c:v>1183.4413</c:v>
                </c:pt>
                <c:pt idx="2074">
                  <c:v>1169.6814999999999</c:v>
                </c:pt>
                <c:pt idx="2075">
                  <c:v>1152.366</c:v>
                </c:pt>
                <c:pt idx="2076">
                  <c:v>1112.7755999999999</c:v>
                </c:pt>
                <c:pt idx="2077">
                  <c:v>1108.7421999999999</c:v>
                </c:pt>
                <c:pt idx="2078">
                  <c:v>1104.4918</c:v>
                </c:pt>
                <c:pt idx="2079">
                  <c:v>1087.5702000000001</c:v>
                </c:pt>
                <c:pt idx="2080">
                  <c:v>1071.3403000000001</c:v>
                </c:pt>
                <c:pt idx="2081">
                  <c:v>1041.9287999999999</c:v>
                </c:pt>
                <c:pt idx="2082">
                  <c:v>1056.4857</c:v>
                </c:pt>
                <c:pt idx="2083">
                  <c:v>1078.1835000000001</c:v>
                </c:pt>
                <c:pt idx="2084">
                  <c:v>1117.3052</c:v>
                </c:pt>
                <c:pt idx="2085">
                  <c:v>1073.3970999999999</c:v>
                </c:pt>
                <c:pt idx="2086">
                  <c:v>1008.011</c:v>
                </c:pt>
                <c:pt idx="2087">
                  <c:v>903.02369999999996</c:v>
                </c:pt>
                <c:pt idx="2088">
                  <c:v>840.53750000000002</c:v>
                </c:pt>
                <c:pt idx="2089">
                  <c:v>797.99490000000003</c:v>
                </c:pt>
                <c:pt idx="2090">
                  <c:v>776.87130000000002</c:v>
                </c:pt>
                <c:pt idx="2091">
                  <c:v>763.42439999999999</c:v>
                </c:pt>
                <c:pt idx="2092">
                  <c:v>760.33399999999995</c:v>
                </c:pt>
                <c:pt idx="2093">
                  <c:v>793.30759999999998</c:v>
                </c:pt>
                <c:pt idx="2094">
                  <c:v>819.38850000000002</c:v>
                </c:pt>
                <c:pt idx="2095">
                  <c:v>961.69820000000004</c:v>
                </c:pt>
                <c:pt idx="2096">
                  <c:v>1060.0494000000001</c:v>
                </c:pt>
                <c:pt idx="2097">
                  <c:v>1122.1221</c:v>
                </c:pt>
                <c:pt idx="2098">
                  <c:v>1105.1691000000001</c:v>
                </c:pt>
                <c:pt idx="2099">
                  <c:v>1087.5245</c:v>
                </c:pt>
                <c:pt idx="2100">
                  <c:v>1058.2933</c:v>
                </c:pt>
                <c:pt idx="2101">
                  <c:v>1047.7931000000001</c:v>
                </c:pt>
                <c:pt idx="2102">
                  <c:v>1048.8883000000001</c:v>
                </c:pt>
                <c:pt idx="2103">
                  <c:v>1046.1524999999999</c:v>
                </c:pt>
                <c:pt idx="2104">
                  <c:v>1027.8173999999999</c:v>
                </c:pt>
                <c:pt idx="2105">
                  <c:v>1015.6356</c:v>
                </c:pt>
                <c:pt idx="2106">
                  <c:v>1023.0488</c:v>
                </c:pt>
                <c:pt idx="2107">
                  <c:v>1028.8239000000001</c:v>
                </c:pt>
                <c:pt idx="2108">
                  <c:v>1079.4906000000001</c:v>
                </c:pt>
                <c:pt idx="2109">
                  <c:v>1046.9956999999999</c:v>
                </c:pt>
                <c:pt idx="2110">
                  <c:v>976.10820000000001</c:v>
                </c:pt>
                <c:pt idx="2111">
                  <c:v>903.22540000000004</c:v>
                </c:pt>
                <c:pt idx="2112">
                  <c:v>824.87729999999999</c:v>
                </c:pt>
                <c:pt idx="2113">
                  <c:v>786.69849999999997</c:v>
                </c:pt>
                <c:pt idx="2114">
                  <c:v>763.3723</c:v>
                </c:pt>
                <c:pt idx="2115">
                  <c:v>755.47580000000005</c:v>
                </c:pt>
                <c:pt idx="2116">
                  <c:v>751.8021</c:v>
                </c:pt>
                <c:pt idx="2117">
                  <c:v>756.60789999999997</c:v>
                </c:pt>
                <c:pt idx="2118">
                  <c:v>744.75400000000002</c:v>
                </c:pt>
                <c:pt idx="2119">
                  <c:v>808.84939999999995</c:v>
                </c:pt>
                <c:pt idx="2120">
                  <c:v>878.19560000000001</c:v>
                </c:pt>
                <c:pt idx="2121">
                  <c:v>936.52739999999994</c:v>
                </c:pt>
                <c:pt idx="2122">
                  <c:v>958.20259999999996</c:v>
                </c:pt>
                <c:pt idx="2123">
                  <c:v>940.54899999999998</c:v>
                </c:pt>
                <c:pt idx="2124">
                  <c:v>934.97239999999999</c:v>
                </c:pt>
                <c:pt idx="2125">
                  <c:v>906.46190000000001</c:v>
                </c:pt>
                <c:pt idx="2126">
                  <c:v>899.97389999999996</c:v>
                </c:pt>
                <c:pt idx="2127">
                  <c:v>892.12840000000006</c:v>
                </c:pt>
                <c:pt idx="2128">
                  <c:v>882.8809</c:v>
                </c:pt>
                <c:pt idx="2129">
                  <c:v>905.72490000000005</c:v>
                </c:pt>
                <c:pt idx="2130">
                  <c:v>932.75760000000002</c:v>
                </c:pt>
                <c:pt idx="2131">
                  <c:v>955.32060000000001</c:v>
                </c:pt>
                <c:pt idx="2132">
                  <c:v>1004.8116</c:v>
                </c:pt>
                <c:pt idx="2133">
                  <c:v>965.23559999999998</c:v>
                </c:pt>
                <c:pt idx="2134">
                  <c:v>903.87040000000002</c:v>
                </c:pt>
                <c:pt idx="2135">
                  <c:v>838.48080000000004</c:v>
                </c:pt>
                <c:pt idx="2136">
                  <c:v>787.23779999999999</c:v>
                </c:pt>
                <c:pt idx="2137">
                  <c:v>745.71079999999995</c:v>
                </c:pt>
                <c:pt idx="2138">
                  <c:v>724.49289999999996</c:v>
                </c:pt>
                <c:pt idx="2139">
                  <c:v>743.76930000000004</c:v>
                </c:pt>
                <c:pt idx="2140">
                  <c:v>702.62959999999998</c:v>
                </c:pt>
                <c:pt idx="2141">
                  <c:v>719.57590000000005</c:v>
                </c:pt>
                <c:pt idx="2142">
                  <c:v>715.86710000000005</c:v>
                </c:pt>
                <c:pt idx="2143">
                  <c:v>777.62850000000003</c:v>
                </c:pt>
                <c:pt idx="2144">
                  <c:v>856.77629999999999</c:v>
                </c:pt>
                <c:pt idx="2145">
                  <c:v>931.45510000000002</c:v>
                </c:pt>
                <c:pt idx="2146">
                  <c:v>948.21140000000003</c:v>
                </c:pt>
                <c:pt idx="2147">
                  <c:v>958.74220000000003</c:v>
                </c:pt>
                <c:pt idx="2148">
                  <c:v>947.12289999999996</c:v>
                </c:pt>
                <c:pt idx="2149">
                  <c:v>927.52340000000004</c:v>
                </c:pt>
                <c:pt idx="2150">
                  <c:v>930.91579999999999</c:v>
                </c:pt>
                <c:pt idx="2151">
                  <c:v>934.50340000000006</c:v>
                </c:pt>
                <c:pt idx="2152">
                  <c:v>963.05100000000004</c:v>
                </c:pt>
                <c:pt idx="2153">
                  <c:v>959.36739999999998</c:v>
                </c:pt>
                <c:pt idx="2154">
                  <c:v>973.6934</c:v>
                </c:pt>
                <c:pt idx="2155">
                  <c:v>994.50930000000005</c:v>
                </c:pt>
                <c:pt idx="2156">
                  <c:v>1058.9266</c:v>
                </c:pt>
                <c:pt idx="2157">
                  <c:v>1015.8218000000001</c:v>
                </c:pt>
                <c:pt idx="2158">
                  <c:v>921.12459999999999</c:v>
                </c:pt>
                <c:pt idx="2159">
                  <c:v>854.62699999999995</c:v>
                </c:pt>
                <c:pt idx="2160">
                  <c:v>816.62459999999999</c:v>
                </c:pt>
                <c:pt idx="2161">
                  <c:v>785.16129999999998</c:v>
                </c:pt>
                <c:pt idx="2162">
                  <c:v>773.74040000000002</c:v>
                </c:pt>
                <c:pt idx="2163">
                  <c:v>775.09119999999996</c:v>
                </c:pt>
                <c:pt idx="2164">
                  <c:v>795.01170000000002</c:v>
                </c:pt>
                <c:pt idx="2165">
                  <c:v>865.71939999999995</c:v>
                </c:pt>
                <c:pt idx="2166">
                  <c:v>992.60550000000001</c:v>
                </c:pt>
                <c:pt idx="2167">
                  <c:v>1090.9193</c:v>
                </c:pt>
                <c:pt idx="2168">
                  <c:v>1164.2349999999999</c:v>
                </c:pt>
                <c:pt idx="2169">
                  <c:v>1152.3690999999999</c:v>
                </c:pt>
                <c:pt idx="2170">
                  <c:v>1137.0282</c:v>
                </c:pt>
                <c:pt idx="2171">
                  <c:v>1100.6509000000001</c:v>
                </c:pt>
                <c:pt idx="2172">
                  <c:v>1105.5687</c:v>
                </c:pt>
                <c:pt idx="2173">
                  <c:v>1098.4727</c:v>
                </c:pt>
                <c:pt idx="2174">
                  <c:v>1082.7139</c:v>
                </c:pt>
                <c:pt idx="2175">
                  <c:v>1076.1958999999999</c:v>
                </c:pt>
                <c:pt idx="2176">
                  <c:v>1038.4865</c:v>
                </c:pt>
                <c:pt idx="2177">
                  <c:v>1046.3054999999999</c:v>
                </c:pt>
                <c:pt idx="2178">
                  <c:v>1036.8771999999999</c:v>
                </c:pt>
                <c:pt idx="2179">
                  <c:v>1048.7322999999999</c:v>
                </c:pt>
                <c:pt idx="2180">
                  <c:v>1123.2008000000001</c:v>
                </c:pt>
                <c:pt idx="2181">
                  <c:v>1072.3593000000001</c:v>
                </c:pt>
                <c:pt idx="2182">
                  <c:v>973.36059999999998</c:v>
                </c:pt>
                <c:pt idx="2183">
                  <c:v>888.93989999999997</c:v>
                </c:pt>
                <c:pt idx="2184">
                  <c:v>853.30619999999999</c:v>
                </c:pt>
                <c:pt idx="2185">
                  <c:v>834.40009999999995</c:v>
                </c:pt>
                <c:pt idx="2186">
                  <c:v>815.90499999999997</c:v>
                </c:pt>
                <c:pt idx="2187">
                  <c:v>824.71500000000003</c:v>
                </c:pt>
                <c:pt idx="2188">
                  <c:v>840.1499</c:v>
                </c:pt>
                <c:pt idx="2189">
                  <c:v>891.87490000000003</c:v>
                </c:pt>
                <c:pt idx="2190">
                  <c:v>1014.1345</c:v>
                </c:pt>
                <c:pt idx="2191">
                  <c:v>1101.2183</c:v>
                </c:pt>
                <c:pt idx="2192">
                  <c:v>1174.1169</c:v>
                </c:pt>
                <c:pt idx="2193">
                  <c:v>1153.8870999999999</c:v>
                </c:pt>
                <c:pt idx="2194">
                  <c:v>1131.9646</c:v>
                </c:pt>
                <c:pt idx="2195">
                  <c:v>1087.0083999999999</c:v>
                </c:pt>
                <c:pt idx="2196">
                  <c:v>1091.3068000000001</c:v>
                </c:pt>
                <c:pt idx="2197">
                  <c:v>1087.347</c:v>
                </c:pt>
                <c:pt idx="2198">
                  <c:v>1074.2466999999999</c:v>
                </c:pt>
                <c:pt idx="2199">
                  <c:v>1069.856</c:v>
                </c:pt>
                <c:pt idx="2200">
                  <c:v>1043.0510999999999</c:v>
                </c:pt>
                <c:pt idx="2201">
                  <c:v>1047.8164999999999</c:v>
                </c:pt>
                <c:pt idx="2202">
                  <c:v>1024.2225000000001</c:v>
                </c:pt>
                <c:pt idx="2203">
                  <c:v>1042.9695999999999</c:v>
                </c:pt>
                <c:pt idx="2204">
                  <c:v>1113.1029000000001</c:v>
                </c:pt>
                <c:pt idx="2205">
                  <c:v>1059.9113</c:v>
                </c:pt>
                <c:pt idx="2206">
                  <c:v>969.46029999999996</c:v>
                </c:pt>
                <c:pt idx="2207">
                  <c:v>871.24530000000004</c:v>
                </c:pt>
                <c:pt idx="2208">
                  <c:v>833.94060000000002</c:v>
                </c:pt>
                <c:pt idx="2209">
                  <c:v>814.90309999999999</c:v>
                </c:pt>
                <c:pt idx="2210">
                  <c:v>811.3922</c:v>
                </c:pt>
                <c:pt idx="2211">
                  <c:v>809.33770000000004</c:v>
                </c:pt>
                <c:pt idx="2212">
                  <c:v>813.6155</c:v>
                </c:pt>
                <c:pt idx="2213">
                  <c:v>880.24170000000004</c:v>
                </c:pt>
                <c:pt idx="2214">
                  <c:v>996.81179999999995</c:v>
                </c:pt>
                <c:pt idx="2215">
                  <c:v>1101.1481000000001</c:v>
                </c:pt>
                <c:pt idx="2216">
                  <c:v>1164.8938000000001</c:v>
                </c:pt>
                <c:pt idx="2217">
                  <c:v>1141.2411</c:v>
                </c:pt>
                <c:pt idx="2218">
                  <c:v>1118.2653</c:v>
                </c:pt>
                <c:pt idx="2219">
                  <c:v>1076.9195999999999</c:v>
                </c:pt>
                <c:pt idx="2220">
                  <c:v>1070.8045999999999</c:v>
                </c:pt>
                <c:pt idx="2221">
                  <c:v>1075.6284000000001</c:v>
                </c:pt>
                <c:pt idx="2222">
                  <c:v>1042.0818999999999</c:v>
                </c:pt>
                <c:pt idx="2223">
                  <c:v>1040.1643999999999</c:v>
                </c:pt>
                <c:pt idx="2224">
                  <c:v>1012.2913</c:v>
                </c:pt>
                <c:pt idx="2225">
                  <c:v>1011.5904</c:v>
                </c:pt>
                <c:pt idx="2226">
                  <c:v>1000.6167</c:v>
                </c:pt>
                <c:pt idx="2227">
                  <c:v>1027.1937</c:v>
                </c:pt>
                <c:pt idx="2228">
                  <c:v>1080.7449999999999</c:v>
                </c:pt>
                <c:pt idx="2229">
                  <c:v>1028.2460000000001</c:v>
                </c:pt>
                <c:pt idx="2230">
                  <c:v>916.14679999999998</c:v>
                </c:pt>
                <c:pt idx="2231">
                  <c:v>829.14980000000003</c:v>
                </c:pt>
                <c:pt idx="2232">
                  <c:v>798.37210000000005</c:v>
                </c:pt>
                <c:pt idx="2233">
                  <c:v>786.62729999999999</c:v>
                </c:pt>
                <c:pt idx="2234">
                  <c:v>768.13040000000001</c:v>
                </c:pt>
                <c:pt idx="2235">
                  <c:v>767.87030000000004</c:v>
                </c:pt>
                <c:pt idx="2236">
                  <c:v>787.29750000000001</c:v>
                </c:pt>
                <c:pt idx="2237">
                  <c:v>852.32439999999997</c:v>
                </c:pt>
                <c:pt idx="2238">
                  <c:v>971.07100000000003</c:v>
                </c:pt>
                <c:pt idx="2239">
                  <c:v>1068.1039000000001</c:v>
                </c:pt>
                <c:pt idx="2240">
                  <c:v>1132.4271000000001</c:v>
                </c:pt>
                <c:pt idx="2241">
                  <c:v>1108.4965</c:v>
                </c:pt>
                <c:pt idx="2242">
                  <c:v>1084.6542999999999</c:v>
                </c:pt>
                <c:pt idx="2243">
                  <c:v>1042.0663999999999</c:v>
                </c:pt>
                <c:pt idx="2244">
                  <c:v>1040.2422999999999</c:v>
                </c:pt>
                <c:pt idx="2245">
                  <c:v>1049.1168</c:v>
                </c:pt>
                <c:pt idx="2246">
                  <c:v>1030.4259999999999</c:v>
                </c:pt>
                <c:pt idx="2247">
                  <c:v>1014.5871</c:v>
                </c:pt>
                <c:pt idx="2248">
                  <c:v>995.49490000000003</c:v>
                </c:pt>
                <c:pt idx="2249">
                  <c:v>1001.2324</c:v>
                </c:pt>
                <c:pt idx="2250">
                  <c:v>980.2337</c:v>
                </c:pt>
                <c:pt idx="2251">
                  <c:v>1002.0652</c:v>
                </c:pt>
                <c:pt idx="2252">
                  <c:v>1077.0041000000001</c:v>
                </c:pt>
                <c:pt idx="2253">
                  <c:v>1015.2835</c:v>
                </c:pt>
                <c:pt idx="2254">
                  <c:v>911.60350000000005</c:v>
                </c:pt>
                <c:pt idx="2255">
                  <c:v>841.38250000000005</c:v>
                </c:pt>
                <c:pt idx="2256">
                  <c:v>800.52260000000001</c:v>
                </c:pt>
                <c:pt idx="2257">
                  <c:v>773.13930000000005</c:v>
                </c:pt>
                <c:pt idx="2258">
                  <c:v>763.64210000000003</c:v>
                </c:pt>
                <c:pt idx="2259">
                  <c:v>770.34529999999995</c:v>
                </c:pt>
                <c:pt idx="2260">
                  <c:v>791.52200000000005</c:v>
                </c:pt>
                <c:pt idx="2261">
                  <c:v>859.44349999999997</c:v>
                </c:pt>
                <c:pt idx="2262">
                  <c:v>980.31370000000004</c:v>
                </c:pt>
                <c:pt idx="2263">
                  <c:v>1074.2150999999999</c:v>
                </c:pt>
                <c:pt idx="2264">
                  <c:v>1137.0605</c:v>
                </c:pt>
                <c:pt idx="2265">
                  <c:v>1119.1977999999999</c:v>
                </c:pt>
                <c:pt idx="2266">
                  <c:v>1099.6460999999999</c:v>
                </c:pt>
                <c:pt idx="2267">
                  <c:v>1051.1844000000001</c:v>
                </c:pt>
                <c:pt idx="2268">
                  <c:v>1038.1068</c:v>
                </c:pt>
                <c:pt idx="2269">
                  <c:v>1027.9903999999999</c:v>
                </c:pt>
                <c:pt idx="2270">
                  <c:v>1017.231</c:v>
                </c:pt>
                <c:pt idx="2271">
                  <c:v>1022.1167</c:v>
                </c:pt>
                <c:pt idx="2272">
                  <c:v>993.96500000000003</c:v>
                </c:pt>
                <c:pt idx="2273">
                  <c:v>986.35889999999995</c:v>
                </c:pt>
                <c:pt idx="2274">
                  <c:v>972.38980000000004</c:v>
                </c:pt>
                <c:pt idx="2275">
                  <c:v>977.07420000000002</c:v>
                </c:pt>
                <c:pt idx="2276">
                  <c:v>1036.3412000000001</c:v>
                </c:pt>
                <c:pt idx="2277">
                  <c:v>983.7808</c:v>
                </c:pt>
                <c:pt idx="2278">
                  <c:v>892.55150000000003</c:v>
                </c:pt>
                <c:pt idx="2279">
                  <c:v>815.03959999999995</c:v>
                </c:pt>
                <c:pt idx="2280">
                  <c:v>781.18650000000002</c:v>
                </c:pt>
                <c:pt idx="2281">
                  <c:v>753.31460000000004</c:v>
                </c:pt>
                <c:pt idx="2282">
                  <c:v>748.10130000000004</c:v>
                </c:pt>
                <c:pt idx="2283">
                  <c:v>733.59469999999999</c:v>
                </c:pt>
                <c:pt idx="2284">
                  <c:v>750.61630000000002</c:v>
                </c:pt>
                <c:pt idx="2285">
                  <c:v>778.18280000000004</c:v>
                </c:pt>
                <c:pt idx="2286">
                  <c:v>778.91780000000006</c:v>
                </c:pt>
                <c:pt idx="2287">
                  <c:v>843.58540000000005</c:v>
                </c:pt>
                <c:pt idx="2288">
                  <c:v>916.53229999999996</c:v>
                </c:pt>
                <c:pt idx="2289">
                  <c:v>915.96780000000001</c:v>
                </c:pt>
                <c:pt idx="2290">
                  <c:v>898.57590000000005</c:v>
                </c:pt>
                <c:pt idx="2291">
                  <c:v>887.10379999999998</c:v>
                </c:pt>
                <c:pt idx="2292">
                  <c:v>870.98270000000002</c:v>
                </c:pt>
                <c:pt idx="2293">
                  <c:v>851.91409999999996</c:v>
                </c:pt>
                <c:pt idx="2294">
                  <c:v>838.25580000000002</c:v>
                </c:pt>
                <c:pt idx="2295">
                  <c:v>840.17669999999998</c:v>
                </c:pt>
                <c:pt idx="2296">
                  <c:v>845.48289999999997</c:v>
                </c:pt>
                <c:pt idx="2297">
                  <c:v>872.8954</c:v>
                </c:pt>
                <c:pt idx="2298">
                  <c:v>873.39620000000002</c:v>
                </c:pt>
                <c:pt idx="2299">
                  <c:v>892.2373</c:v>
                </c:pt>
                <c:pt idx="2300">
                  <c:v>951.40189999999996</c:v>
                </c:pt>
                <c:pt idx="2301">
                  <c:v>918.18280000000004</c:v>
                </c:pt>
                <c:pt idx="2302">
                  <c:v>852.61109999999996</c:v>
                </c:pt>
                <c:pt idx="2303">
                  <c:v>789.58640000000003</c:v>
                </c:pt>
                <c:pt idx="2304">
                  <c:v>744.51130000000001</c:v>
                </c:pt>
                <c:pt idx="2305">
                  <c:v>725.0181</c:v>
                </c:pt>
                <c:pt idx="2306">
                  <c:v>715.65470000000005</c:v>
                </c:pt>
                <c:pt idx="2307">
                  <c:v>714.17819999999995</c:v>
                </c:pt>
                <c:pt idx="2308">
                  <c:v>714.91800000000001</c:v>
                </c:pt>
                <c:pt idx="2309">
                  <c:v>737.60919999999999</c:v>
                </c:pt>
                <c:pt idx="2310">
                  <c:v>739.27800000000002</c:v>
                </c:pt>
                <c:pt idx="2311">
                  <c:v>789.7133</c:v>
                </c:pt>
                <c:pt idx="2312">
                  <c:v>858.60469999999998</c:v>
                </c:pt>
                <c:pt idx="2313">
                  <c:v>896.822</c:v>
                </c:pt>
                <c:pt idx="2314">
                  <c:v>890.67110000000002</c:v>
                </c:pt>
                <c:pt idx="2315">
                  <c:v>857.32240000000002</c:v>
                </c:pt>
                <c:pt idx="2316">
                  <c:v>840.97410000000002</c:v>
                </c:pt>
                <c:pt idx="2317">
                  <c:v>823.19709999999998</c:v>
                </c:pt>
                <c:pt idx="2318">
                  <c:v>814.90020000000004</c:v>
                </c:pt>
                <c:pt idx="2319">
                  <c:v>841.81299999999999</c:v>
                </c:pt>
                <c:pt idx="2320">
                  <c:v>853.05499999999995</c:v>
                </c:pt>
                <c:pt idx="2321">
                  <c:v>859.56330000000003</c:v>
                </c:pt>
                <c:pt idx="2322">
                  <c:v>902.47559999999999</c:v>
                </c:pt>
                <c:pt idx="2323">
                  <c:v>923.07680000000005</c:v>
                </c:pt>
                <c:pt idx="2324">
                  <c:v>975.73050000000001</c:v>
                </c:pt>
                <c:pt idx="2325">
                  <c:v>929.22879999999998</c:v>
                </c:pt>
                <c:pt idx="2326">
                  <c:v>847.13919999999996</c:v>
                </c:pt>
                <c:pt idx="2327">
                  <c:v>781.21680000000003</c:v>
                </c:pt>
                <c:pt idx="2328">
                  <c:v>744.64229999999998</c:v>
                </c:pt>
                <c:pt idx="2329">
                  <c:v>724.45360000000005</c:v>
                </c:pt>
                <c:pt idx="2330">
                  <c:v>740.38199999999995</c:v>
                </c:pt>
                <c:pt idx="2331">
                  <c:v>735.31230000000005</c:v>
                </c:pt>
                <c:pt idx="2332">
                  <c:v>769.20360000000005</c:v>
                </c:pt>
                <c:pt idx="2333">
                  <c:v>814.57590000000005</c:v>
                </c:pt>
                <c:pt idx="2334">
                  <c:v>940.00819999999999</c:v>
                </c:pt>
                <c:pt idx="2335">
                  <c:v>1068.3690999999999</c:v>
                </c:pt>
                <c:pt idx="2336">
                  <c:v>1173.4344000000001</c:v>
                </c:pt>
                <c:pt idx="2337">
                  <c:v>1166.6981000000001</c:v>
                </c:pt>
                <c:pt idx="2338">
                  <c:v>1166.7460000000001</c:v>
                </c:pt>
                <c:pt idx="2339">
                  <c:v>1149.059</c:v>
                </c:pt>
                <c:pt idx="2340">
                  <c:v>1171.078</c:v>
                </c:pt>
                <c:pt idx="2341">
                  <c:v>1163.8010999999999</c:v>
                </c:pt>
                <c:pt idx="2342">
                  <c:v>1153.0547999999999</c:v>
                </c:pt>
                <c:pt idx="2343">
                  <c:v>1147.2583999999999</c:v>
                </c:pt>
                <c:pt idx="2344">
                  <c:v>1120.1570999999999</c:v>
                </c:pt>
                <c:pt idx="2345">
                  <c:v>1104.5775000000001</c:v>
                </c:pt>
                <c:pt idx="2346">
                  <c:v>1090.8063</c:v>
                </c:pt>
                <c:pt idx="2347">
                  <c:v>1083.8994</c:v>
                </c:pt>
                <c:pt idx="2348">
                  <c:v>1101.2389000000001</c:v>
                </c:pt>
                <c:pt idx="2349">
                  <c:v>1049.4016999999999</c:v>
                </c:pt>
                <c:pt idx="2350">
                  <c:v>949.66359999999997</c:v>
                </c:pt>
                <c:pt idx="2351">
                  <c:v>838.33370000000002</c:v>
                </c:pt>
                <c:pt idx="2352">
                  <c:v>819.46220000000005</c:v>
                </c:pt>
                <c:pt idx="2353">
                  <c:v>799.15470000000005</c:v>
                </c:pt>
                <c:pt idx="2354">
                  <c:v>773.68449999999996</c:v>
                </c:pt>
                <c:pt idx="2355">
                  <c:v>755.55840000000001</c:v>
                </c:pt>
                <c:pt idx="2356">
                  <c:v>795.61429999999996</c:v>
                </c:pt>
                <c:pt idx="2357">
                  <c:v>847.04079999999999</c:v>
                </c:pt>
                <c:pt idx="2358">
                  <c:v>947.28240000000005</c:v>
                </c:pt>
                <c:pt idx="2359">
                  <c:v>1068.5804000000001</c:v>
                </c:pt>
                <c:pt idx="2360">
                  <c:v>1158.9223999999999</c:v>
                </c:pt>
                <c:pt idx="2361">
                  <c:v>1157.441</c:v>
                </c:pt>
                <c:pt idx="2362">
                  <c:v>1163.4819</c:v>
                </c:pt>
                <c:pt idx="2363">
                  <c:v>1151.6763000000001</c:v>
                </c:pt>
                <c:pt idx="2364">
                  <c:v>1155.2876000000001</c:v>
                </c:pt>
                <c:pt idx="2365">
                  <c:v>1141.7941000000001</c:v>
                </c:pt>
                <c:pt idx="2366">
                  <c:v>1131.2417</c:v>
                </c:pt>
                <c:pt idx="2367">
                  <c:v>1108.2185999999999</c:v>
                </c:pt>
                <c:pt idx="2368">
                  <c:v>1068.2275</c:v>
                </c:pt>
                <c:pt idx="2369">
                  <c:v>1080.1992</c:v>
                </c:pt>
                <c:pt idx="2370">
                  <c:v>1059.2509</c:v>
                </c:pt>
                <c:pt idx="2371">
                  <c:v>1061.8149000000001</c:v>
                </c:pt>
                <c:pt idx="2372">
                  <c:v>1077.9791</c:v>
                </c:pt>
                <c:pt idx="2373">
                  <c:v>1024.6395</c:v>
                </c:pt>
                <c:pt idx="2374">
                  <c:v>923.75120000000004</c:v>
                </c:pt>
                <c:pt idx="2375">
                  <c:v>820.5856</c:v>
                </c:pt>
                <c:pt idx="2376">
                  <c:v>787.81659999999999</c:v>
                </c:pt>
                <c:pt idx="2377">
                  <c:v>772.07500000000005</c:v>
                </c:pt>
                <c:pt idx="2378">
                  <c:v>773.10080000000005</c:v>
                </c:pt>
                <c:pt idx="2379">
                  <c:v>764.31870000000004</c:v>
                </c:pt>
                <c:pt idx="2380">
                  <c:v>786.51880000000006</c:v>
                </c:pt>
                <c:pt idx="2381">
                  <c:v>862.34969999999998</c:v>
                </c:pt>
                <c:pt idx="2382">
                  <c:v>1012.936</c:v>
                </c:pt>
                <c:pt idx="2383">
                  <c:v>1119.1746000000001</c:v>
                </c:pt>
                <c:pt idx="2384">
                  <c:v>1218.8905</c:v>
                </c:pt>
                <c:pt idx="2385">
                  <c:v>1218.4409000000001</c:v>
                </c:pt>
                <c:pt idx="2386">
                  <c:v>1219.6532</c:v>
                </c:pt>
                <c:pt idx="2387">
                  <c:v>1190.7046</c:v>
                </c:pt>
                <c:pt idx="2388">
                  <c:v>1204.1278</c:v>
                </c:pt>
                <c:pt idx="2389">
                  <c:v>1206.4186</c:v>
                </c:pt>
                <c:pt idx="2390">
                  <c:v>1180.354</c:v>
                </c:pt>
                <c:pt idx="2391">
                  <c:v>1182.9072000000001</c:v>
                </c:pt>
                <c:pt idx="2392">
                  <c:v>1142.0597</c:v>
                </c:pt>
                <c:pt idx="2393">
                  <c:v>1137.5192</c:v>
                </c:pt>
                <c:pt idx="2394">
                  <c:v>1102.115</c:v>
                </c:pt>
                <c:pt idx="2395">
                  <c:v>1114.4852000000001</c:v>
                </c:pt>
                <c:pt idx="2396">
                  <c:v>1128.6143999999999</c:v>
                </c:pt>
                <c:pt idx="2397">
                  <c:v>1073.5655999999999</c:v>
                </c:pt>
                <c:pt idx="2398">
                  <c:v>965.97609999999997</c:v>
                </c:pt>
                <c:pt idx="2399">
                  <c:v>856.42110000000002</c:v>
                </c:pt>
                <c:pt idx="2400">
                  <c:v>832.04409999999996</c:v>
                </c:pt>
                <c:pt idx="2401">
                  <c:v>818.34739999999999</c:v>
                </c:pt>
                <c:pt idx="2402">
                  <c:v>802.23389999999995</c:v>
                </c:pt>
                <c:pt idx="2403">
                  <c:v>804.14940000000001</c:v>
                </c:pt>
                <c:pt idx="2404">
                  <c:v>822.49480000000005</c:v>
                </c:pt>
                <c:pt idx="2405">
                  <c:v>889.74850000000004</c:v>
                </c:pt>
                <c:pt idx="2406">
                  <c:v>1022.6512</c:v>
                </c:pt>
                <c:pt idx="2407">
                  <c:v>1121.4674</c:v>
                </c:pt>
                <c:pt idx="2408">
                  <c:v>1191.7128</c:v>
                </c:pt>
                <c:pt idx="2409">
                  <c:v>1197.4358</c:v>
                </c:pt>
                <c:pt idx="2410">
                  <c:v>1191.2896000000001</c:v>
                </c:pt>
                <c:pt idx="2411">
                  <c:v>1157.0543</c:v>
                </c:pt>
                <c:pt idx="2412">
                  <c:v>1168.5078000000001</c:v>
                </c:pt>
                <c:pt idx="2413">
                  <c:v>1160.4081000000001</c:v>
                </c:pt>
                <c:pt idx="2414">
                  <c:v>1151.7128</c:v>
                </c:pt>
                <c:pt idx="2415">
                  <c:v>1140.7860000000001</c:v>
                </c:pt>
                <c:pt idx="2416">
                  <c:v>1096.2881</c:v>
                </c:pt>
                <c:pt idx="2417">
                  <c:v>1085.8334</c:v>
                </c:pt>
                <c:pt idx="2418">
                  <c:v>1075.7312999999999</c:v>
                </c:pt>
                <c:pt idx="2419">
                  <c:v>1066.7733000000001</c:v>
                </c:pt>
                <c:pt idx="2420">
                  <c:v>1115.934</c:v>
                </c:pt>
                <c:pt idx="2421">
                  <c:v>1075.4226000000001</c:v>
                </c:pt>
                <c:pt idx="2422">
                  <c:v>963.83529999999996</c:v>
                </c:pt>
                <c:pt idx="2423">
                  <c:v>887.62300000000005</c:v>
                </c:pt>
                <c:pt idx="2424">
                  <c:v>859.2106</c:v>
                </c:pt>
                <c:pt idx="2425">
                  <c:v>831.43039999999996</c:v>
                </c:pt>
                <c:pt idx="2426">
                  <c:v>819.71109999999999</c:v>
                </c:pt>
                <c:pt idx="2427">
                  <c:v>824.82569999999998</c:v>
                </c:pt>
                <c:pt idx="2428">
                  <c:v>842.49379999999996</c:v>
                </c:pt>
                <c:pt idx="2429">
                  <c:v>894.03520000000003</c:v>
                </c:pt>
                <c:pt idx="2430">
                  <c:v>1011.0549</c:v>
                </c:pt>
                <c:pt idx="2431">
                  <c:v>1117.5181</c:v>
                </c:pt>
                <c:pt idx="2432">
                  <c:v>1198.0099</c:v>
                </c:pt>
                <c:pt idx="2433">
                  <c:v>1178.0905</c:v>
                </c:pt>
                <c:pt idx="2434">
                  <c:v>1167.6387999999999</c:v>
                </c:pt>
                <c:pt idx="2435">
                  <c:v>1118.4531999999999</c:v>
                </c:pt>
                <c:pt idx="2436">
                  <c:v>1129.9570000000001</c:v>
                </c:pt>
                <c:pt idx="2437">
                  <c:v>1109.0922</c:v>
                </c:pt>
                <c:pt idx="2438">
                  <c:v>1089.2798</c:v>
                </c:pt>
                <c:pt idx="2439">
                  <c:v>1065.8485000000001</c:v>
                </c:pt>
                <c:pt idx="2440">
                  <c:v>1036.4457</c:v>
                </c:pt>
                <c:pt idx="2441">
                  <c:v>1038.1016</c:v>
                </c:pt>
                <c:pt idx="2442">
                  <c:v>1017.8502999999999</c:v>
                </c:pt>
                <c:pt idx="2443">
                  <c:v>1016.1774</c:v>
                </c:pt>
                <c:pt idx="2444">
                  <c:v>1063.9489000000001</c:v>
                </c:pt>
                <c:pt idx="2445">
                  <c:v>1036.9652000000001</c:v>
                </c:pt>
                <c:pt idx="2446">
                  <c:v>930.46469999999999</c:v>
                </c:pt>
                <c:pt idx="2447">
                  <c:v>864.40750000000003</c:v>
                </c:pt>
                <c:pt idx="2448">
                  <c:v>824.12339999999995</c:v>
                </c:pt>
                <c:pt idx="2449">
                  <c:v>801.18349999999998</c:v>
                </c:pt>
                <c:pt idx="2450">
                  <c:v>779.45479999999998</c:v>
                </c:pt>
                <c:pt idx="2451">
                  <c:v>769.98820000000001</c:v>
                </c:pt>
                <c:pt idx="2452">
                  <c:v>782.29219999999998</c:v>
                </c:pt>
                <c:pt idx="2453">
                  <c:v>792.67550000000006</c:v>
                </c:pt>
                <c:pt idx="2454">
                  <c:v>805.20500000000004</c:v>
                </c:pt>
                <c:pt idx="2455">
                  <c:v>873.26340000000005</c:v>
                </c:pt>
                <c:pt idx="2456">
                  <c:v>948.39200000000005</c:v>
                </c:pt>
                <c:pt idx="2457">
                  <c:v>976.78399999999999</c:v>
                </c:pt>
                <c:pt idx="2458">
                  <c:v>964.40250000000003</c:v>
                </c:pt>
                <c:pt idx="2459">
                  <c:v>955.39400000000001</c:v>
                </c:pt>
                <c:pt idx="2460">
                  <c:v>947.60889999999995</c:v>
                </c:pt>
                <c:pt idx="2461">
                  <c:v>941.00810000000001</c:v>
                </c:pt>
                <c:pt idx="2462">
                  <c:v>917.67439999999999</c:v>
                </c:pt>
                <c:pt idx="2463">
                  <c:v>908.60990000000004</c:v>
                </c:pt>
                <c:pt idx="2464">
                  <c:v>917.42330000000004</c:v>
                </c:pt>
                <c:pt idx="2465">
                  <c:v>918.30449999999996</c:v>
                </c:pt>
                <c:pt idx="2466">
                  <c:v>914.26859999999999</c:v>
                </c:pt>
                <c:pt idx="2467">
                  <c:v>921.76800000000003</c:v>
                </c:pt>
                <c:pt idx="2468">
                  <c:v>963.10379999999998</c:v>
                </c:pt>
                <c:pt idx="2469">
                  <c:v>931.28160000000003</c:v>
                </c:pt>
                <c:pt idx="2470">
                  <c:v>872.00429999999994</c:v>
                </c:pt>
                <c:pt idx="2471">
                  <c:v>810.21510000000001</c:v>
                </c:pt>
                <c:pt idx="2472">
                  <c:v>776.99189999999999</c:v>
                </c:pt>
                <c:pt idx="2473">
                  <c:v>743.49990000000003</c:v>
                </c:pt>
                <c:pt idx="2474">
                  <c:v>737.05259999999998</c:v>
                </c:pt>
                <c:pt idx="2475">
                  <c:v>735.80939999999998</c:v>
                </c:pt>
                <c:pt idx="2476">
                  <c:v>744.95180000000005</c:v>
                </c:pt>
                <c:pt idx="2477">
                  <c:v>733.97910000000002</c:v>
                </c:pt>
                <c:pt idx="2478">
                  <c:v>750.87909999999999</c:v>
                </c:pt>
                <c:pt idx="2479">
                  <c:v>807.47029999999995</c:v>
                </c:pt>
                <c:pt idx="2480">
                  <c:v>873.81330000000003</c:v>
                </c:pt>
                <c:pt idx="2481">
                  <c:v>904.52620000000002</c:v>
                </c:pt>
                <c:pt idx="2482">
                  <c:v>907.97329999999999</c:v>
                </c:pt>
                <c:pt idx="2483">
                  <c:v>893.49980000000005</c:v>
                </c:pt>
                <c:pt idx="2484">
                  <c:v>884.83399999999995</c:v>
                </c:pt>
                <c:pt idx="2485">
                  <c:v>867.00779999999997</c:v>
                </c:pt>
                <c:pt idx="2486">
                  <c:v>856.80110000000002</c:v>
                </c:pt>
                <c:pt idx="2487">
                  <c:v>858.45820000000003</c:v>
                </c:pt>
                <c:pt idx="2488">
                  <c:v>870.44370000000004</c:v>
                </c:pt>
                <c:pt idx="2489">
                  <c:v>898.51369999999997</c:v>
                </c:pt>
                <c:pt idx="2490">
                  <c:v>917.98099999999999</c:v>
                </c:pt>
                <c:pt idx="2491">
                  <c:v>912.31410000000005</c:v>
                </c:pt>
                <c:pt idx="2492">
                  <c:v>986.39390000000003</c:v>
                </c:pt>
                <c:pt idx="2493">
                  <c:v>980.98680000000002</c:v>
                </c:pt>
                <c:pt idx="2494">
                  <c:v>895.46619999999996</c:v>
                </c:pt>
                <c:pt idx="2495">
                  <c:v>825.54539999999997</c:v>
                </c:pt>
                <c:pt idx="2496">
                  <c:v>790.05930000000001</c:v>
                </c:pt>
                <c:pt idx="2497">
                  <c:v>781.40250000000003</c:v>
                </c:pt>
                <c:pt idx="2498">
                  <c:v>779.63210000000004</c:v>
                </c:pt>
                <c:pt idx="2499">
                  <c:v>777.35159999999996</c:v>
                </c:pt>
                <c:pt idx="2500">
                  <c:v>796.49869999999999</c:v>
                </c:pt>
                <c:pt idx="2501">
                  <c:v>838.68119999999999</c:v>
                </c:pt>
                <c:pt idx="2502">
                  <c:v>978.28639999999996</c:v>
                </c:pt>
                <c:pt idx="2503">
                  <c:v>1070.5896</c:v>
                </c:pt>
                <c:pt idx="2504">
                  <c:v>1128.7959000000001</c:v>
                </c:pt>
                <c:pt idx="2505">
                  <c:v>1114.9401</c:v>
                </c:pt>
                <c:pt idx="2506">
                  <c:v>1120.0808999999999</c:v>
                </c:pt>
                <c:pt idx="2507">
                  <c:v>1065.7068999999999</c:v>
                </c:pt>
                <c:pt idx="2508">
                  <c:v>1084.202</c:v>
                </c:pt>
                <c:pt idx="2509">
                  <c:v>1069.0297</c:v>
                </c:pt>
                <c:pt idx="2510">
                  <c:v>1051.1232</c:v>
                </c:pt>
                <c:pt idx="2511">
                  <c:v>1040.0564999999999</c:v>
                </c:pt>
                <c:pt idx="2512">
                  <c:v>1000.8641</c:v>
                </c:pt>
                <c:pt idx="2513">
                  <c:v>1009.2749</c:v>
                </c:pt>
                <c:pt idx="2514">
                  <c:v>996.65620000000001</c:v>
                </c:pt>
                <c:pt idx="2515">
                  <c:v>1009.9880000000001</c:v>
                </c:pt>
                <c:pt idx="2516">
                  <c:v>1033.7446</c:v>
                </c:pt>
                <c:pt idx="2517">
                  <c:v>1031.9955</c:v>
                </c:pt>
                <c:pt idx="2518">
                  <c:v>910.83479999999997</c:v>
                </c:pt>
                <c:pt idx="2519">
                  <c:v>844.60940000000005</c:v>
                </c:pt>
                <c:pt idx="2520">
                  <c:v>807.60789999999997</c:v>
                </c:pt>
                <c:pt idx="2521">
                  <c:v>788.30499999999995</c:v>
                </c:pt>
                <c:pt idx="2522">
                  <c:v>788.80759999999998</c:v>
                </c:pt>
                <c:pt idx="2523">
                  <c:v>788.33109999999999</c:v>
                </c:pt>
                <c:pt idx="2524">
                  <c:v>795.79589999999996</c:v>
                </c:pt>
                <c:pt idx="2525">
                  <c:v>841.02809999999999</c:v>
                </c:pt>
                <c:pt idx="2526">
                  <c:v>985.38520000000005</c:v>
                </c:pt>
                <c:pt idx="2527">
                  <c:v>1066.4183</c:v>
                </c:pt>
                <c:pt idx="2528">
                  <c:v>1131.6270999999999</c:v>
                </c:pt>
                <c:pt idx="2529">
                  <c:v>1108.1804999999999</c:v>
                </c:pt>
                <c:pt idx="2530">
                  <c:v>1096.0016000000001</c:v>
                </c:pt>
                <c:pt idx="2531">
                  <c:v>1057.3502000000001</c:v>
                </c:pt>
                <c:pt idx="2532">
                  <c:v>1066.8533</c:v>
                </c:pt>
                <c:pt idx="2533">
                  <c:v>1054.5820000000001</c:v>
                </c:pt>
                <c:pt idx="2534">
                  <c:v>1049.1134999999999</c:v>
                </c:pt>
                <c:pt idx="2535">
                  <c:v>1028.1776</c:v>
                </c:pt>
                <c:pt idx="2536">
                  <c:v>986.35040000000004</c:v>
                </c:pt>
                <c:pt idx="2537">
                  <c:v>1011.4906999999999</c:v>
                </c:pt>
                <c:pt idx="2538">
                  <c:v>977.77660000000003</c:v>
                </c:pt>
                <c:pt idx="2539">
                  <c:v>975.81769999999995</c:v>
                </c:pt>
                <c:pt idx="2540">
                  <c:v>1001.8583</c:v>
                </c:pt>
                <c:pt idx="2541">
                  <c:v>1007.8516</c:v>
                </c:pt>
                <c:pt idx="2542">
                  <c:v>908.7808</c:v>
                </c:pt>
                <c:pt idx="2543">
                  <c:v>821.62429999999995</c:v>
                </c:pt>
                <c:pt idx="2544">
                  <c:v>777.47590000000002</c:v>
                </c:pt>
                <c:pt idx="2545">
                  <c:v>757.81299999999999</c:v>
                </c:pt>
                <c:pt idx="2546">
                  <c:v>753.03</c:v>
                </c:pt>
                <c:pt idx="2547">
                  <c:v>768.33590000000004</c:v>
                </c:pt>
                <c:pt idx="2548">
                  <c:v>794</c:v>
                </c:pt>
                <c:pt idx="2549">
                  <c:v>828.99839999999995</c:v>
                </c:pt>
                <c:pt idx="2550">
                  <c:v>968.43290000000002</c:v>
                </c:pt>
                <c:pt idx="2551">
                  <c:v>1062.8094000000001</c:v>
                </c:pt>
                <c:pt idx="2552">
                  <c:v>1144.3172999999999</c:v>
                </c:pt>
                <c:pt idx="2553">
                  <c:v>1110.58</c:v>
                </c:pt>
                <c:pt idx="2554">
                  <c:v>1090.5997</c:v>
                </c:pt>
                <c:pt idx="2555">
                  <c:v>1046.3914</c:v>
                </c:pt>
                <c:pt idx="2556">
                  <c:v>1055.558</c:v>
                </c:pt>
                <c:pt idx="2557">
                  <c:v>1051.3770999999999</c:v>
                </c:pt>
                <c:pt idx="2558">
                  <c:v>1064.662</c:v>
                </c:pt>
                <c:pt idx="2559">
                  <c:v>1038.0957000000001</c:v>
                </c:pt>
                <c:pt idx="2560">
                  <c:v>989.52200000000005</c:v>
                </c:pt>
                <c:pt idx="2561">
                  <c:v>993.34939999999995</c:v>
                </c:pt>
                <c:pt idx="2562">
                  <c:v>972.25070000000005</c:v>
                </c:pt>
                <c:pt idx="2563">
                  <c:v>974.57640000000004</c:v>
                </c:pt>
                <c:pt idx="2564">
                  <c:v>999.24789999999996</c:v>
                </c:pt>
                <c:pt idx="2565">
                  <c:v>1006.5623000000001</c:v>
                </c:pt>
                <c:pt idx="2566">
                  <c:v>907.39469999999994</c:v>
                </c:pt>
                <c:pt idx="2567">
                  <c:v>822.27340000000004</c:v>
                </c:pt>
                <c:pt idx="2568">
                  <c:v>779.22590000000002</c:v>
                </c:pt>
                <c:pt idx="2569">
                  <c:v>771.78009999999995</c:v>
                </c:pt>
                <c:pt idx="2570">
                  <c:v>757.90949999999998</c:v>
                </c:pt>
                <c:pt idx="2571">
                  <c:v>757.29880000000003</c:v>
                </c:pt>
                <c:pt idx="2572">
                  <c:v>778.08010000000002</c:v>
                </c:pt>
                <c:pt idx="2573">
                  <c:v>815.56880000000001</c:v>
                </c:pt>
                <c:pt idx="2574">
                  <c:v>955.94399999999996</c:v>
                </c:pt>
                <c:pt idx="2575">
                  <c:v>1053.3021000000001</c:v>
                </c:pt>
                <c:pt idx="2576">
                  <c:v>1096.2117000000001</c:v>
                </c:pt>
                <c:pt idx="2577">
                  <c:v>1091.6088</c:v>
                </c:pt>
                <c:pt idx="2578">
                  <c:v>1062.3145999999999</c:v>
                </c:pt>
                <c:pt idx="2579">
                  <c:v>1030.2122999999999</c:v>
                </c:pt>
                <c:pt idx="2580">
                  <c:v>1025.0967000000001</c:v>
                </c:pt>
                <c:pt idx="2581">
                  <c:v>1035.9781</c:v>
                </c:pt>
                <c:pt idx="2582">
                  <c:v>1003.0083</c:v>
                </c:pt>
                <c:pt idx="2583">
                  <c:v>990.28909999999996</c:v>
                </c:pt>
                <c:pt idx="2584">
                  <c:v>961.23069999999996</c:v>
                </c:pt>
                <c:pt idx="2585">
                  <c:v>956.26300000000003</c:v>
                </c:pt>
                <c:pt idx="2586">
                  <c:v>942.77880000000005</c:v>
                </c:pt>
                <c:pt idx="2587">
                  <c:v>933.58230000000003</c:v>
                </c:pt>
                <c:pt idx="2588">
                  <c:v>951.52610000000004</c:v>
                </c:pt>
                <c:pt idx="2589">
                  <c:v>973.09960000000001</c:v>
                </c:pt>
                <c:pt idx="2590">
                  <c:v>873.9248</c:v>
                </c:pt>
                <c:pt idx="2591">
                  <c:v>785.62429999999995</c:v>
                </c:pt>
                <c:pt idx="2592">
                  <c:v>742.48739999999998</c:v>
                </c:pt>
                <c:pt idx="2593">
                  <c:v>713.50019999999995</c:v>
                </c:pt>
                <c:pt idx="2594">
                  <c:v>699.89419999999996</c:v>
                </c:pt>
                <c:pt idx="2595">
                  <c:v>695.41210000000001</c:v>
                </c:pt>
                <c:pt idx="2596">
                  <c:v>703.00210000000004</c:v>
                </c:pt>
                <c:pt idx="2597">
                  <c:v>691.48379999999997</c:v>
                </c:pt>
                <c:pt idx="2598">
                  <c:v>736.22749999999996</c:v>
                </c:pt>
                <c:pt idx="2599">
                  <c:v>797.62130000000002</c:v>
                </c:pt>
                <c:pt idx="2600">
                  <c:v>855.37860000000001</c:v>
                </c:pt>
                <c:pt idx="2601">
                  <c:v>879.07709999999997</c:v>
                </c:pt>
                <c:pt idx="2602">
                  <c:v>870.29300000000001</c:v>
                </c:pt>
                <c:pt idx="2603">
                  <c:v>853.41300000000001</c:v>
                </c:pt>
                <c:pt idx="2604">
                  <c:v>842.29010000000005</c:v>
                </c:pt>
                <c:pt idx="2605">
                  <c:v>832.12699999999995</c:v>
                </c:pt>
                <c:pt idx="2606">
                  <c:v>808.13850000000002</c:v>
                </c:pt>
                <c:pt idx="2607">
                  <c:v>805.62130000000002</c:v>
                </c:pt>
                <c:pt idx="2608">
                  <c:v>807.49839999999995</c:v>
                </c:pt>
                <c:pt idx="2609">
                  <c:v>809.25540000000001</c:v>
                </c:pt>
                <c:pt idx="2610">
                  <c:v>814.61990000000003</c:v>
                </c:pt>
                <c:pt idx="2611">
                  <c:v>815.59389999999996</c:v>
                </c:pt>
                <c:pt idx="2612">
                  <c:v>846.29740000000004</c:v>
                </c:pt>
                <c:pt idx="2613">
                  <c:v>858.10910000000001</c:v>
                </c:pt>
                <c:pt idx="2614">
                  <c:v>783.22209999999995</c:v>
                </c:pt>
                <c:pt idx="2615">
                  <c:v>728.10019999999997</c:v>
                </c:pt>
                <c:pt idx="2616">
                  <c:v>686.08299999999997</c:v>
                </c:pt>
                <c:pt idx="2617">
                  <c:v>654.80769999999995</c:v>
                </c:pt>
                <c:pt idx="2618">
                  <c:v>638.38610000000006</c:v>
                </c:pt>
                <c:pt idx="2619">
                  <c:v>640.00649999999996</c:v>
                </c:pt>
                <c:pt idx="2620">
                  <c:v>647.19809999999995</c:v>
                </c:pt>
                <c:pt idx="2621">
                  <c:v>628.1422</c:v>
                </c:pt>
                <c:pt idx="2622">
                  <c:v>672.17960000000005</c:v>
                </c:pt>
                <c:pt idx="2623">
                  <c:v>738.54679999999996</c:v>
                </c:pt>
                <c:pt idx="2624">
                  <c:v>811.85680000000002</c:v>
                </c:pt>
                <c:pt idx="2625">
                  <c:v>844.05219999999997</c:v>
                </c:pt>
                <c:pt idx="2626">
                  <c:v>839.20630000000006</c:v>
                </c:pt>
                <c:pt idx="2627">
                  <c:v>816.96220000000005</c:v>
                </c:pt>
                <c:pt idx="2628">
                  <c:v>808.02850000000001</c:v>
                </c:pt>
                <c:pt idx="2629">
                  <c:v>784.5684</c:v>
                </c:pt>
                <c:pt idx="2630">
                  <c:v>791.83069999999998</c:v>
                </c:pt>
                <c:pt idx="2631">
                  <c:v>796.98119999999994</c:v>
                </c:pt>
                <c:pt idx="2632">
                  <c:v>806.45809999999994</c:v>
                </c:pt>
                <c:pt idx="2633">
                  <c:v>826.77030000000002</c:v>
                </c:pt>
                <c:pt idx="2634">
                  <c:v>830.28539999999998</c:v>
                </c:pt>
                <c:pt idx="2635">
                  <c:v>834.78489999999999</c:v>
                </c:pt>
                <c:pt idx="2636">
                  <c:v>849.21050000000002</c:v>
                </c:pt>
                <c:pt idx="2637">
                  <c:v>856.20899999999995</c:v>
                </c:pt>
                <c:pt idx="2638">
                  <c:v>789.2663</c:v>
                </c:pt>
                <c:pt idx="2639">
                  <c:v>736.45169999999996</c:v>
                </c:pt>
                <c:pt idx="2640">
                  <c:v>695.21140000000003</c:v>
                </c:pt>
                <c:pt idx="2641">
                  <c:v>671.83299999999997</c:v>
                </c:pt>
                <c:pt idx="2642">
                  <c:v>664.95129999999995</c:v>
                </c:pt>
                <c:pt idx="2643">
                  <c:v>652.87120000000004</c:v>
                </c:pt>
                <c:pt idx="2644">
                  <c:v>669.9008</c:v>
                </c:pt>
                <c:pt idx="2645">
                  <c:v>646.65830000000005</c:v>
                </c:pt>
                <c:pt idx="2646">
                  <c:v>676.32979999999998</c:v>
                </c:pt>
                <c:pt idx="2647">
                  <c:v>723.35929999999996</c:v>
                </c:pt>
                <c:pt idx="2648">
                  <c:v>783.24530000000004</c:v>
                </c:pt>
                <c:pt idx="2649">
                  <c:v>816.61479999999995</c:v>
                </c:pt>
                <c:pt idx="2650">
                  <c:v>816.44410000000005</c:v>
                </c:pt>
                <c:pt idx="2651">
                  <c:v>799.71870000000001</c:v>
                </c:pt>
                <c:pt idx="2652">
                  <c:v>780.07100000000003</c:v>
                </c:pt>
                <c:pt idx="2653">
                  <c:v>776.88649999999996</c:v>
                </c:pt>
                <c:pt idx="2654">
                  <c:v>764.88869999999997</c:v>
                </c:pt>
                <c:pt idx="2655">
                  <c:v>760.50450000000001</c:v>
                </c:pt>
                <c:pt idx="2656">
                  <c:v>772.05259999999998</c:v>
                </c:pt>
                <c:pt idx="2657">
                  <c:v>787.07860000000005</c:v>
                </c:pt>
                <c:pt idx="2658">
                  <c:v>812.03700000000003</c:v>
                </c:pt>
                <c:pt idx="2659">
                  <c:v>827.53070000000002</c:v>
                </c:pt>
                <c:pt idx="2660">
                  <c:v>851.60519999999997</c:v>
                </c:pt>
                <c:pt idx="2661">
                  <c:v>866.94749999999999</c:v>
                </c:pt>
                <c:pt idx="2662">
                  <c:v>792.23749999999995</c:v>
                </c:pt>
                <c:pt idx="2663">
                  <c:v>727.39020000000005</c:v>
                </c:pt>
                <c:pt idx="2664">
                  <c:v>694.3569</c:v>
                </c:pt>
                <c:pt idx="2665">
                  <c:v>670.82889999999998</c:v>
                </c:pt>
                <c:pt idx="2666">
                  <c:v>660.52020000000005</c:v>
                </c:pt>
                <c:pt idx="2667">
                  <c:v>660.57500000000005</c:v>
                </c:pt>
                <c:pt idx="2668">
                  <c:v>665.02</c:v>
                </c:pt>
                <c:pt idx="2669">
                  <c:v>681.66840000000002</c:v>
                </c:pt>
                <c:pt idx="2670">
                  <c:v>823.52859999999998</c:v>
                </c:pt>
                <c:pt idx="2671">
                  <c:v>937.43960000000004</c:v>
                </c:pt>
                <c:pt idx="2672">
                  <c:v>1015.21</c:v>
                </c:pt>
                <c:pt idx="2673">
                  <c:v>1031.3672999999999</c:v>
                </c:pt>
                <c:pt idx="2674">
                  <c:v>1017.9661</c:v>
                </c:pt>
                <c:pt idx="2675">
                  <c:v>1001.2269</c:v>
                </c:pt>
                <c:pt idx="2676">
                  <c:v>1008.867</c:v>
                </c:pt>
                <c:pt idx="2677">
                  <c:v>997.11540000000002</c:v>
                </c:pt>
                <c:pt idx="2678">
                  <c:v>973.88760000000002</c:v>
                </c:pt>
                <c:pt idx="2679">
                  <c:v>951.40880000000004</c:v>
                </c:pt>
                <c:pt idx="2680">
                  <c:v>914.56029999999998</c:v>
                </c:pt>
                <c:pt idx="2681">
                  <c:v>908.80830000000003</c:v>
                </c:pt>
                <c:pt idx="2682">
                  <c:v>892.75819999999999</c:v>
                </c:pt>
                <c:pt idx="2683">
                  <c:v>886.35770000000002</c:v>
                </c:pt>
                <c:pt idx="2684">
                  <c:v>898.66800000000001</c:v>
                </c:pt>
                <c:pt idx="2685">
                  <c:v>917.09810000000004</c:v>
                </c:pt>
                <c:pt idx="2686">
                  <c:v>825.06129999999996</c:v>
                </c:pt>
                <c:pt idx="2687">
                  <c:v>737.39020000000005</c:v>
                </c:pt>
                <c:pt idx="2688">
                  <c:v>703.61199999999997</c:v>
                </c:pt>
                <c:pt idx="2689">
                  <c:v>683.40049999999997</c:v>
                </c:pt>
                <c:pt idx="2690">
                  <c:v>668.0915</c:v>
                </c:pt>
                <c:pt idx="2691">
                  <c:v>668.6721</c:v>
                </c:pt>
                <c:pt idx="2692">
                  <c:v>674.8039</c:v>
                </c:pt>
                <c:pt idx="2693">
                  <c:v>718.31590000000006</c:v>
                </c:pt>
                <c:pt idx="2694">
                  <c:v>840.52239999999995</c:v>
                </c:pt>
                <c:pt idx="2695">
                  <c:v>955.64970000000005</c:v>
                </c:pt>
                <c:pt idx="2696">
                  <c:v>1012.0967000000001</c:v>
                </c:pt>
                <c:pt idx="2697">
                  <c:v>1009.6567</c:v>
                </c:pt>
                <c:pt idx="2698">
                  <c:v>1000.3229</c:v>
                </c:pt>
                <c:pt idx="2699">
                  <c:v>970.54070000000002</c:v>
                </c:pt>
                <c:pt idx="2700">
                  <c:v>980.87819999999999</c:v>
                </c:pt>
                <c:pt idx="2701">
                  <c:v>973.55370000000005</c:v>
                </c:pt>
                <c:pt idx="2702">
                  <c:v>958.28880000000004</c:v>
                </c:pt>
                <c:pt idx="2703">
                  <c:v>952.72389999999996</c:v>
                </c:pt>
                <c:pt idx="2704">
                  <c:v>934.13930000000005</c:v>
                </c:pt>
                <c:pt idx="2705">
                  <c:v>923.17499999999995</c:v>
                </c:pt>
                <c:pt idx="2706">
                  <c:v>907.99130000000002</c:v>
                </c:pt>
                <c:pt idx="2707">
                  <c:v>895.31510000000003</c:v>
                </c:pt>
                <c:pt idx="2708">
                  <c:v>901.88750000000005</c:v>
                </c:pt>
                <c:pt idx="2709">
                  <c:v>918.98389999999995</c:v>
                </c:pt>
                <c:pt idx="2710">
                  <c:v>822.14689999999996</c:v>
                </c:pt>
                <c:pt idx="2711">
                  <c:v>737.43460000000005</c:v>
                </c:pt>
                <c:pt idx="2712">
                  <c:v>704.70280000000002</c:v>
                </c:pt>
                <c:pt idx="2713">
                  <c:v>693.08910000000003</c:v>
                </c:pt>
                <c:pt idx="2714">
                  <c:v>681.82979999999998</c:v>
                </c:pt>
                <c:pt idx="2715">
                  <c:v>674.20450000000005</c:v>
                </c:pt>
                <c:pt idx="2716">
                  <c:v>703.50379999999996</c:v>
                </c:pt>
                <c:pt idx="2717">
                  <c:v>710.45439999999996</c:v>
                </c:pt>
                <c:pt idx="2718">
                  <c:v>844.4239</c:v>
                </c:pt>
                <c:pt idx="2719">
                  <c:v>953.56060000000002</c:v>
                </c:pt>
                <c:pt idx="2720">
                  <c:v>1030.0012999999999</c:v>
                </c:pt>
                <c:pt idx="2721">
                  <c:v>1024.5833</c:v>
                </c:pt>
                <c:pt idx="2722">
                  <c:v>1026.0599</c:v>
                </c:pt>
                <c:pt idx="2723">
                  <c:v>994.47580000000005</c:v>
                </c:pt>
                <c:pt idx="2724">
                  <c:v>996.08860000000004</c:v>
                </c:pt>
                <c:pt idx="2725">
                  <c:v>1172.8782000000001</c:v>
                </c:pt>
                <c:pt idx="2726">
                  <c:v>980.22640000000001</c:v>
                </c:pt>
                <c:pt idx="2727">
                  <c:v>965.23530000000005</c:v>
                </c:pt>
                <c:pt idx="2728">
                  <c:v>934.52689999999996</c:v>
                </c:pt>
                <c:pt idx="2729">
                  <c:v>939.68259999999998</c:v>
                </c:pt>
                <c:pt idx="2730">
                  <c:v>909.82600000000002</c:v>
                </c:pt>
                <c:pt idx="2731">
                  <c:v>909.59649999999999</c:v>
                </c:pt>
                <c:pt idx="2732">
                  <c:v>912.42780000000005</c:v>
                </c:pt>
                <c:pt idx="2733">
                  <c:v>926.91489999999999</c:v>
                </c:pt>
                <c:pt idx="2734">
                  <c:v>819.4905</c:v>
                </c:pt>
                <c:pt idx="2735">
                  <c:v>734.56780000000003</c:v>
                </c:pt>
                <c:pt idx="2736">
                  <c:v>688.33169999999996</c:v>
                </c:pt>
                <c:pt idx="2737">
                  <c:v>675.08619999999996</c:v>
                </c:pt>
                <c:pt idx="2738">
                  <c:v>669.70450000000005</c:v>
                </c:pt>
                <c:pt idx="2739">
                  <c:v>661.8723</c:v>
                </c:pt>
                <c:pt idx="2740">
                  <c:v>676.46169999999995</c:v>
                </c:pt>
                <c:pt idx="2741">
                  <c:v>688.90499999999997</c:v>
                </c:pt>
                <c:pt idx="2742">
                  <c:v>820.46749999999997</c:v>
                </c:pt>
                <c:pt idx="2743">
                  <c:v>933.96280000000002</c:v>
                </c:pt>
                <c:pt idx="2744">
                  <c:v>1026.0862999999999</c:v>
                </c:pt>
                <c:pt idx="2745">
                  <c:v>1043.4612999999999</c:v>
                </c:pt>
                <c:pt idx="2746">
                  <c:v>1045.4022</c:v>
                </c:pt>
                <c:pt idx="2747">
                  <c:v>1014.6209</c:v>
                </c:pt>
                <c:pt idx="2748">
                  <c:v>1015.1968000000001</c:v>
                </c:pt>
                <c:pt idx="2749">
                  <c:v>1016.6807</c:v>
                </c:pt>
                <c:pt idx="2750">
                  <c:v>999.70439999999996</c:v>
                </c:pt>
                <c:pt idx="2751">
                  <c:v>994.42179999999996</c:v>
                </c:pt>
                <c:pt idx="2752">
                  <c:v>968.40499999999997</c:v>
                </c:pt>
                <c:pt idx="2753">
                  <c:v>964.4271</c:v>
                </c:pt>
                <c:pt idx="2754">
                  <c:v>932.05050000000006</c:v>
                </c:pt>
                <c:pt idx="2755">
                  <c:v>922.43020000000001</c:v>
                </c:pt>
                <c:pt idx="2756">
                  <c:v>924.13810000000001</c:v>
                </c:pt>
                <c:pt idx="2757">
                  <c:v>922.50440000000003</c:v>
                </c:pt>
                <c:pt idx="2758">
                  <c:v>834.54629999999997</c:v>
                </c:pt>
                <c:pt idx="2759">
                  <c:v>743.73239999999998</c:v>
                </c:pt>
                <c:pt idx="2760">
                  <c:v>690.92790000000002</c:v>
                </c:pt>
                <c:pt idx="2761">
                  <c:v>671.59019999999998</c:v>
                </c:pt>
                <c:pt idx="2762">
                  <c:v>653.64</c:v>
                </c:pt>
                <c:pt idx="2763">
                  <c:v>669.11270000000002</c:v>
                </c:pt>
                <c:pt idx="2764">
                  <c:v>678.48360000000002</c:v>
                </c:pt>
                <c:pt idx="2765">
                  <c:v>711.10640000000001</c:v>
                </c:pt>
                <c:pt idx="2766">
                  <c:v>834.57449999999994</c:v>
                </c:pt>
                <c:pt idx="2767">
                  <c:v>945.04539999999997</c:v>
                </c:pt>
                <c:pt idx="2768">
                  <c:v>1026.4554000000001</c:v>
                </c:pt>
                <c:pt idx="2769">
                  <c:v>1028.4618</c:v>
                </c:pt>
                <c:pt idx="2770">
                  <c:v>1029.798</c:v>
                </c:pt>
                <c:pt idx="2771">
                  <c:v>1014.0051</c:v>
                </c:pt>
                <c:pt idx="2772">
                  <c:v>1030.8544999999999</c:v>
                </c:pt>
                <c:pt idx="2773">
                  <c:v>1014.8918</c:v>
                </c:pt>
                <c:pt idx="2774">
                  <c:v>985.86680000000001</c:v>
                </c:pt>
                <c:pt idx="2775">
                  <c:v>975.55690000000004</c:v>
                </c:pt>
                <c:pt idx="2776">
                  <c:v>940.25729999999999</c:v>
                </c:pt>
                <c:pt idx="2777">
                  <c:v>946.34720000000004</c:v>
                </c:pt>
                <c:pt idx="2778">
                  <c:v>928.61080000000004</c:v>
                </c:pt>
                <c:pt idx="2779">
                  <c:v>906.26289999999995</c:v>
                </c:pt>
                <c:pt idx="2780">
                  <c:v>906.82039999999995</c:v>
                </c:pt>
                <c:pt idx="2781">
                  <c:v>913.56230000000005</c:v>
                </c:pt>
                <c:pt idx="2782">
                  <c:v>821.27419999999995</c:v>
                </c:pt>
                <c:pt idx="2783">
                  <c:v>745.75319999999999</c:v>
                </c:pt>
                <c:pt idx="2784">
                  <c:v>707.31370000000004</c:v>
                </c:pt>
                <c:pt idx="2785">
                  <c:v>685.75170000000003</c:v>
                </c:pt>
                <c:pt idx="2786">
                  <c:v>669.00969999999995</c:v>
                </c:pt>
                <c:pt idx="2787">
                  <c:v>659.822</c:v>
                </c:pt>
                <c:pt idx="2788">
                  <c:v>654.80399999999997</c:v>
                </c:pt>
                <c:pt idx="2789">
                  <c:v>642.97829999999999</c:v>
                </c:pt>
                <c:pt idx="2790">
                  <c:v>689.77120000000002</c:v>
                </c:pt>
                <c:pt idx="2791">
                  <c:v>743.35249999999996</c:v>
                </c:pt>
                <c:pt idx="2792">
                  <c:v>807.0462</c:v>
                </c:pt>
                <c:pt idx="2793">
                  <c:v>846.4819</c:v>
                </c:pt>
                <c:pt idx="2794">
                  <c:v>838.53589999999997</c:v>
                </c:pt>
                <c:pt idx="2795">
                  <c:v>817.77440000000001</c:v>
                </c:pt>
                <c:pt idx="2796">
                  <c:v>808.03800000000001</c:v>
                </c:pt>
                <c:pt idx="2797">
                  <c:v>793.86869999999999</c:v>
                </c:pt>
                <c:pt idx="2798">
                  <c:v>791.5915</c:v>
                </c:pt>
                <c:pt idx="2799">
                  <c:v>775.57539999999995</c:v>
                </c:pt>
                <c:pt idx="2800">
                  <c:v>778.21209999999996</c:v>
                </c:pt>
                <c:pt idx="2801">
                  <c:v>790.91380000000004</c:v>
                </c:pt>
                <c:pt idx="2802">
                  <c:v>796.32489999999996</c:v>
                </c:pt>
                <c:pt idx="2803">
                  <c:v>799.34050000000002</c:v>
                </c:pt>
                <c:pt idx="2804">
                  <c:v>808.3519</c:v>
                </c:pt>
                <c:pt idx="2805">
                  <c:v>837.10080000000005</c:v>
                </c:pt>
                <c:pt idx="2806">
                  <c:v>777.89229999999998</c:v>
                </c:pt>
                <c:pt idx="2807">
                  <c:v>702.27610000000004</c:v>
                </c:pt>
                <c:pt idx="2808">
                  <c:v>646.67629999999997</c:v>
                </c:pt>
                <c:pt idx="2809">
                  <c:v>623.67020000000002</c:v>
                </c:pt>
                <c:pt idx="2810">
                  <c:v>611.12030000000004</c:v>
                </c:pt>
                <c:pt idx="2811">
                  <c:v>599.96220000000005</c:v>
                </c:pt>
                <c:pt idx="2812">
                  <c:v>611.41290000000004</c:v>
                </c:pt>
                <c:pt idx="2813">
                  <c:v>581.97280000000001</c:v>
                </c:pt>
                <c:pt idx="2814">
                  <c:v>620.92669999999998</c:v>
                </c:pt>
                <c:pt idx="2815">
                  <c:v>685.27170000000001</c:v>
                </c:pt>
                <c:pt idx="2816">
                  <c:v>743.69560000000001</c:v>
                </c:pt>
                <c:pt idx="2817">
                  <c:v>759.30269999999996</c:v>
                </c:pt>
                <c:pt idx="2818">
                  <c:v>771.41139999999996</c:v>
                </c:pt>
                <c:pt idx="2819">
                  <c:v>762.27279999999996</c:v>
                </c:pt>
                <c:pt idx="2820">
                  <c:v>749.93510000000003</c:v>
                </c:pt>
                <c:pt idx="2821">
                  <c:v>733.24429999999995</c:v>
                </c:pt>
                <c:pt idx="2822">
                  <c:v>735.62400000000002</c:v>
                </c:pt>
                <c:pt idx="2823">
                  <c:v>728.82280000000003</c:v>
                </c:pt>
                <c:pt idx="2824">
                  <c:v>755.50120000000004</c:v>
                </c:pt>
                <c:pt idx="2825">
                  <c:v>785.84059999999999</c:v>
                </c:pt>
                <c:pt idx="2826">
                  <c:v>800.06399999999996</c:v>
                </c:pt>
                <c:pt idx="2827">
                  <c:v>803.26499999999999</c:v>
                </c:pt>
                <c:pt idx="2828">
                  <c:v>834.03160000000003</c:v>
                </c:pt>
                <c:pt idx="2829">
                  <c:v>863.61180000000002</c:v>
                </c:pt>
                <c:pt idx="2830">
                  <c:v>793.55110000000002</c:v>
                </c:pt>
                <c:pt idx="2831">
                  <c:v>733.80169999999998</c:v>
                </c:pt>
                <c:pt idx="2832">
                  <c:v>683.77120000000002</c:v>
                </c:pt>
                <c:pt idx="2833">
                  <c:v>660.34640000000002</c:v>
                </c:pt>
                <c:pt idx="2834">
                  <c:v>647.54049999999995</c:v>
                </c:pt>
                <c:pt idx="2835">
                  <c:v>654.81949999999995</c:v>
                </c:pt>
                <c:pt idx="2836">
                  <c:v>669.90719999999999</c:v>
                </c:pt>
                <c:pt idx="2837">
                  <c:v>711.2663</c:v>
                </c:pt>
                <c:pt idx="2838">
                  <c:v>873.23940000000005</c:v>
                </c:pt>
                <c:pt idx="2839">
                  <c:v>968.95870000000002</c:v>
                </c:pt>
                <c:pt idx="2840">
                  <c:v>1037.8207</c:v>
                </c:pt>
                <c:pt idx="2841">
                  <c:v>1024.1280999999999</c:v>
                </c:pt>
                <c:pt idx="2842">
                  <c:v>1017.3713</c:v>
                </c:pt>
                <c:pt idx="2843">
                  <c:v>986.51610000000005</c:v>
                </c:pt>
                <c:pt idx="2844">
                  <c:v>998.39869999999996</c:v>
                </c:pt>
                <c:pt idx="2845">
                  <c:v>980.93190000000004</c:v>
                </c:pt>
                <c:pt idx="2846">
                  <c:v>962.78530000000001</c:v>
                </c:pt>
                <c:pt idx="2847">
                  <c:v>958.97929999999997</c:v>
                </c:pt>
                <c:pt idx="2848">
                  <c:v>920.88800000000003</c:v>
                </c:pt>
                <c:pt idx="2849">
                  <c:v>926.52200000000005</c:v>
                </c:pt>
                <c:pt idx="2850">
                  <c:v>909.96510000000001</c:v>
                </c:pt>
                <c:pt idx="2851">
                  <c:v>903.6979</c:v>
                </c:pt>
                <c:pt idx="2852">
                  <c:v>901.2133</c:v>
                </c:pt>
                <c:pt idx="2853">
                  <c:v>930.38080000000002</c:v>
                </c:pt>
                <c:pt idx="2854">
                  <c:v>837.12789999999995</c:v>
                </c:pt>
                <c:pt idx="2855">
                  <c:v>761.86379999999997</c:v>
                </c:pt>
                <c:pt idx="2856">
                  <c:v>721.70849999999996</c:v>
                </c:pt>
                <c:pt idx="2857">
                  <c:v>698.70540000000005</c:v>
                </c:pt>
                <c:pt idx="2858">
                  <c:v>690.47140000000002</c:v>
                </c:pt>
                <c:pt idx="2859">
                  <c:v>677.11389999999994</c:v>
                </c:pt>
                <c:pt idx="2860">
                  <c:v>708.21749999999997</c:v>
                </c:pt>
                <c:pt idx="2861">
                  <c:v>718.17179999999996</c:v>
                </c:pt>
                <c:pt idx="2862">
                  <c:v>882.08339999999998</c:v>
                </c:pt>
                <c:pt idx="2863">
                  <c:v>980.29849999999999</c:v>
                </c:pt>
                <c:pt idx="2864">
                  <c:v>1051.0454999999999</c:v>
                </c:pt>
                <c:pt idx="2865">
                  <c:v>1038.5065</c:v>
                </c:pt>
                <c:pt idx="2866">
                  <c:v>1023.6509</c:v>
                </c:pt>
                <c:pt idx="2867">
                  <c:v>987.98760000000004</c:v>
                </c:pt>
                <c:pt idx="2868">
                  <c:v>990.42219999999998</c:v>
                </c:pt>
                <c:pt idx="2869">
                  <c:v>979.58749999999998</c:v>
                </c:pt>
                <c:pt idx="2870">
                  <c:v>959.89959999999996</c:v>
                </c:pt>
                <c:pt idx="2871">
                  <c:v>951.79349999999999</c:v>
                </c:pt>
                <c:pt idx="2872">
                  <c:v>920.10749999999996</c:v>
                </c:pt>
                <c:pt idx="2873">
                  <c:v>911.83399999999995</c:v>
                </c:pt>
                <c:pt idx="2874">
                  <c:v>894.32830000000001</c:v>
                </c:pt>
                <c:pt idx="2875">
                  <c:v>886.32060000000001</c:v>
                </c:pt>
                <c:pt idx="2876">
                  <c:v>875.52859999999998</c:v>
                </c:pt>
                <c:pt idx="2877">
                  <c:v>904.63430000000005</c:v>
                </c:pt>
                <c:pt idx="2878">
                  <c:v>825.25369999999998</c:v>
                </c:pt>
                <c:pt idx="2879">
                  <c:v>747.79100000000005</c:v>
                </c:pt>
                <c:pt idx="2880">
                  <c:v>706.43089999999995</c:v>
                </c:pt>
                <c:pt idx="2881">
                  <c:v>682.57950000000005</c:v>
                </c:pt>
                <c:pt idx="2882">
                  <c:v>677.51390000000004</c:v>
                </c:pt>
                <c:pt idx="2883">
                  <c:v>665.99850000000004</c:v>
                </c:pt>
                <c:pt idx="2884">
                  <c:v>665.79319999999996</c:v>
                </c:pt>
                <c:pt idx="2885">
                  <c:v>654.74549999999999</c:v>
                </c:pt>
                <c:pt idx="2886">
                  <c:v>704.82899999999995</c:v>
                </c:pt>
                <c:pt idx="2887">
                  <c:v>760.83069999999998</c:v>
                </c:pt>
                <c:pt idx="2888">
                  <c:v>824.86599999999999</c:v>
                </c:pt>
                <c:pt idx="2889">
                  <c:v>841.98080000000004</c:v>
                </c:pt>
                <c:pt idx="2890">
                  <c:v>838.16690000000006</c:v>
                </c:pt>
                <c:pt idx="2891">
                  <c:v>817.70039999999995</c:v>
                </c:pt>
                <c:pt idx="2892">
                  <c:v>811.35929999999996</c:v>
                </c:pt>
                <c:pt idx="2893">
                  <c:v>802.22500000000002</c:v>
                </c:pt>
                <c:pt idx="2894">
                  <c:v>798.92679999999996</c:v>
                </c:pt>
                <c:pt idx="2895">
                  <c:v>785.3732</c:v>
                </c:pt>
                <c:pt idx="2896">
                  <c:v>790.18709999999999</c:v>
                </c:pt>
                <c:pt idx="2897">
                  <c:v>806.17769999999996</c:v>
                </c:pt>
                <c:pt idx="2898">
                  <c:v>813.06370000000004</c:v>
                </c:pt>
                <c:pt idx="2899">
                  <c:v>830.05560000000003</c:v>
                </c:pt>
                <c:pt idx="2900">
                  <c:v>829.14620000000002</c:v>
                </c:pt>
                <c:pt idx="2901">
                  <c:v>853.76239999999996</c:v>
                </c:pt>
                <c:pt idx="2902">
                  <c:v>765.11069999999995</c:v>
                </c:pt>
                <c:pt idx="2903">
                  <c:v>708.49559999999997</c:v>
                </c:pt>
                <c:pt idx="2904">
                  <c:v>666.61630000000002</c:v>
                </c:pt>
                <c:pt idx="2905">
                  <c:v>657.63040000000001</c:v>
                </c:pt>
                <c:pt idx="2906">
                  <c:v>635.8175</c:v>
                </c:pt>
                <c:pt idx="2907">
                  <c:v>632.16909999999996</c:v>
                </c:pt>
                <c:pt idx="2908">
                  <c:v>649.26419999999996</c:v>
                </c:pt>
                <c:pt idx="2909">
                  <c:v>683.23749999999995</c:v>
                </c:pt>
                <c:pt idx="2910">
                  <c:v>839.87660000000005</c:v>
                </c:pt>
                <c:pt idx="2911">
                  <c:v>972.65809999999999</c:v>
                </c:pt>
                <c:pt idx="2912">
                  <c:v>1064.6394</c:v>
                </c:pt>
                <c:pt idx="2913">
                  <c:v>1081.5193999999999</c:v>
                </c:pt>
                <c:pt idx="2914">
                  <c:v>1095.5896</c:v>
                </c:pt>
                <c:pt idx="2915">
                  <c:v>1079.6472000000001</c:v>
                </c:pt>
                <c:pt idx="2916">
                  <c:v>1082.4979000000001</c:v>
                </c:pt>
                <c:pt idx="2917">
                  <c:v>1079.7556999999999</c:v>
                </c:pt>
                <c:pt idx="2918">
                  <c:v>1088.2592999999999</c:v>
                </c:pt>
                <c:pt idx="2919">
                  <c:v>1073.1249</c:v>
                </c:pt>
                <c:pt idx="2920">
                  <c:v>1034.9418000000001</c:v>
                </c:pt>
                <c:pt idx="2921">
                  <c:v>1017.5214999999999</c:v>
                </c:pt>
                <c:pt idx="2922">
                  <c:v>992.7971</c:v>
                </c:pt>
                <c:pt idx="2923">
                  <c:v>973.62599999999998</c:v>
                </c:pt>
                <c:pt idx="2924">
                  <c:v>946.47439999999995</c:v>
                </c:pt>
                <c:pt idx="2925">
                  <c:v>950.20870000000002</c:v>
                </c:pt>
                <c:pt idx="2926">
                  <c:v>841.25969999999995</c:v>
                </c:pt>
                <c:pt idx="2927">
                  <c:v>759.56150000000002</c:v>
                </c:pt>
                <c:pt idx="2928">
                  <c:v>727.02290000000005</c:v>
                </c:pt>
                <c:pt idx="2929">
                  <c:v>723.5086</c:v>
                </c:pt>
                <c:pt idx="2930">
                  <c:v>685.11149999999998</c:v>
                </c:pt>
                <c:pt idx="2931">
                  <c:v>701.67719999999997</c:v>
                </c:pt>
                <c:pt idx="2932">
                  <c:v>692.7527</c:v>
                </c:pt>
                <c:pt idx="2933">
                  <c:v>732.04960000000005</c:v>
                </c:pt>
                <c:pt idx="2934">
                  <c:v>880.64620000000002</c:v>
                </c:pt>
                <c:pt idx="2935">
                  <c:v>1001.7066</c:v>
                </c:pt>
                <c:pt idx="2936">
                  <c:v>1088.5684000000001</c:v>
                </c:pt>
                <c:pt idx="2937">
                  <c:v>1105.3489</c:v>
                </c:pt>
                <c:pt idx="2938">
                  <c:v>1099.4209000000001</c:v>
                </c:pt>
                <c:pt idx="2939">
                  <c:v>1066.5717</c:v>
                </c:pt>
                <c:pt idx="2940">
                  <c:v>1056.913</c:v>
                </c:pt>
                <c:pt idx="2941">
                  <c:v>1047.2329</c:v>
                </c:pt>
                <c:pt idx="2942">
                  <c:v>1026.0027</c:v>
                </c:pt>
                <c:pt idx="2943">
                  <c:v>1011.3664</c:v>
                </c:pt>
                <c:pt idx="2944">
                  <c:v>984.8895</c:v>
                </c:pt>
                <c:pt idx="2945">
                  <c:v>972.10649999999998</c:v>
                </c:pt>
                <c:pt idx="2946">
                  <c:v>964.09490000000005</c:v>
                </c:pt>
                <c:pt idx="2947">
                  <c:v>936.56439999999998</c:v>
                </c:pt>
                <c:pt idx="2948">
                  <c:v>922.43150000000003</c:v>
                </c:pt>
                <c:pt idx="2949">
                  <c:v>937.46</c:v>
                </c:pt>
                <c:pt idx="2950">
                  <c:v>861.28880000000004</c:v>
                </c:pt>
                <c:pt idx="2951">
                  <c:v>784.88919999999996</c:v>
                </c:pt>
                <c:pt idx="2952">
                  <c:v>769.01030000000003</c:v>
                </c:pt>
                <c:pt idx="2953">
                  <c:v>724.68780000000004</c:v>
                </c:pt>
                <c:pt idx="2954">
                  <c:v>712.28</c:v>
                </c:pt>
                <c:pt idx="2955">
                  <c:v>710.86659999999995</c:v>
                </c:pt>
                <c:pt idx="2956">
                  <c:v>702.37860000000001</c:v>
                </c:pt>
                <c:pt idx="2957">
                  <c:v>697.1558</c:v>
                </c:pt>
                <c:pt idx="2958">
                  <c:v>737.83109999999999</c:v>
                </c:pt>
                <c:pt idx="2959">
                  <c:v>784.03989999999999</c:v>
                </c:pt>
                <c:pt idx="2960">
                  <c:v>844.6078</c:v>
                </c:pt>
                <c:pt idx="2961">
                  <c:v>867.99760000000003</c:v>
                </c:pt>
                <c:pt idx="2962">
                  <c:v>877.45119999999997</c:v>
                </c:pt>
                <c:pt idx="2963">
                  <c:v>871.98019999999997</c:v>
                </c:pt>
                <c:pt idx="2964">
                  <c:v>868.68129999999996</c:v>
                </c:pt>
                <c:pt idx="2965">
                  <c:v>853.52329999999995</c:v>
                </c:pt>
                <c:pt idx="2966">
                  <c:v>832.30349999999999</c:v>
                </c:pt>
                <c:pt idx="2967">
                  <c:v>843.37860000000001</c:v>
                </c:pt>
                <c:pt idx="2968">
                  <c:v>874.51610000000005</c:v>
                </c:pt>
                <c:pt idx="2969">
                  <c:v>883.73069999999996</c:v>
                </c:pt>
                <c:pt idx="2970">
                  <c:v>876.55640000000005</c:v>
                </c:pt>
                <c:pt idx="2971">
                  <c:v>869.4194</c:v>
                </c:pt>
                <c:pt idx="2972">
                  <c:v>839.85500000000002</c:v>
                </c:pt>
                <c:pt idx="2973">
                  <c:v>878.47270000000003</c:v>
                </c:pt>
                <c:pt idx="2974">
                  <c:v>823.81939999999997</c:v>
                </c:pt>
                <c:pt idx="2975">
                  <c:v>763.53139999999996</c:v>
                </c:pt>
                <c:pt idx="2976">
                  <c:v>710.25049999999999</c:v>
                </c:pt>
                <c:pt idx="2977">
                  <c:v>689.52949999999998</c:v>
                </c:pt>
                <c:pt idx="2978">
                  <c:v>671.84569999999997</c:v>
                </c:pt>
                <c:pt idx="2979">
                  <c:v>673.3193</c:v>
                </c:pt>
                <c:pt idx="2980">
                  <c:v>657.60540000000003</c:v>
                </c:pt>
                <c:pt idx="2981">
                  <c:v>657.51329999999996</c:v>
                </c:pt>
                <c:pt idx="2982">
                  <c:v>683.94759999999997</c:v>
                </c:pt>
                <c:pt idx="2983">
                  <c:v>720.49710000000005</c:v>
                </c:pt>
                <c:pt idx="2984">
                  <c:v>781.03269999999998</c:v>
                </c:pt>
                <c:pt idx="2985">
                  <c:v>814.12279999999998</c:v>
                </c:pt>
                <c:pt idx="2986">
                  <c:v>824.22059999999999</c:v>
                </c:pt>
                <c:pt idx="2987">
                  <c:v>815.64559999999994</c:v>
                </c:pt>
                <c:pt idx="2988">
                  <c:v>820.1848</c:v>
                </c:pt>
                <c:pt idx="2989">
                  <c:v>806.35329999999999</c:v>
                </c:pt>
                <c:pt idx="2990">
                  <c:v>801.69680000000005</c:v>
                </c:pt>
                <c:pt idx="2991">
                  <c:v>802.66160000000002</c:v>
                </c:pt>
                <c:pt idx="2992">
                  <c:v>811.37139999999999</c:v>
                </c:pt>
                <c:pt idx="2993">
                  <c:v>814.91459999999995</c:v>
                </c:pt>
                <c:pt idx="2994">
                  <c:v>825.59100000000001</c:v>
                </c:pt>
                <c:pt idx="2995">
                  <c:v>816.3098</c:v>
                </c:pt>
                <c:pt idx="2996">
                  <c:v>846.76089999999999</c:v>
                </c:pt>
                <c:pt idx="2997">
                  <c:v>867.19090000000006</c:v>
                </c:pt>
                <c:pt idx="2998">
                  <c:v>819.18209999999999</c:v>
                </c:pt>
                <c:pt idx="2999">
                  <c:v>741.01620000000003</c:v>
                </c:pt>
                <c:pt idx="3000">
                  <c:v>711.44780000000003</c:v>
                </c:pt>
                <c:pt idx="3001">
                  <c:v>694.15</c:v>
                </c:pt>
                <c:pt idx="3002">
                  <c:v>687.34490000000005</c:v>
                </c:pt>
                <c:pt idx="3003">
                  <c:v>687.91039999999998</c:v>
                </c:pt>
                <c:pt idx="3004">
                  <c:v>685.78639999999996</c:v>
                </c:pt>
                <c:pt idx="3005">
                  <c:v>722.36350000000004</c:v>
                </c:pt>
                <c:pt idx="3006">
                  <c:v>848.10320000000002</c:v>
                </c:pt>
                <c:pt idx="3007">
                  <c:v>948.61490000000003</c:v>
                </c:pt>
                <c:pt idx="3008">
                  <c:v>1004.7422</c:v>
                </c:pt>
                <c:pt idx="3009">
                  <c:v>1019.3791</c:v>
                </c:pt>
                <c:pt idx="3010">
                  <c:v>999.3904</c:v>
                </c:pt>
                <c:pt idx="3011">
                  <c:v>985.05489999999998</c:v>
                </c:pt>
                <c:pt idx="3012">
                  <c:v>992.40940000000001</c:v>
                </c:pt>
                <c:pt idx="3013">
                  <c:v>987.97270000000003</c:v>
                </c:pt>
                <c:pt idx="3014">
                  <c:v>978.56</c:v>
                </c:pt>
                <c:pt idx="3015">
                  <c:v>959.39239999999995</c:v>
                </c:pt>
                <c:pt idx="3016">
                  <c:v>911.08330000000001</c:v>
                </c:pt>
                <c:pt idx="3017">
                  <c:v>930.38789999999995</c:v>
                </c:pt>
                <c:pt idx="3018">
                  <c:v>911.35019999999997</c:v>
                </c:pt>
                <c:pt idx="3019">
                  <c:v>904.72749999999996</c:v>
                </c:pt>
                <c:pt idx="3020">
                  <c:v>902.87159999999994</c:v>
                </c:pt>
                <c:pt idx="3021">
                  <c:v>922.49530000000004</c:v>
                </c:pt>
                <c:pt idx="3022">
                  <c:v>835.10140000000001</c:v>
                </c:pt>
                <c:pt idx="3023">
                  <c:v>753.48170000000005</c:v>
                </c:pt>
                <c:pt idx="3024">
                  <c:v>679.72379999999998</c:v>
                </c:pt>
                <c:pt idx="3025">
                  <c:v>671.31610000000001</c:v>
                </c:pt>
                <c:pt idx="3026">
                  <c:v>636.46749999999997</c:v>
                </c:pt>
                <c:pt idx="3027">
                  <c:v>643.25819999999999</c:v>
                </c:pt>
                <c:pt idx="3028">
                  <c:v>647.94839999999999</c:v>
                </c:pt>
                <c:pt idx="3029">
                  <c:v>688.15779999999995</c:v>
                </c:pt>
                <c:pt idx="3030">
                  <c:v>860.85640000000001</c:v>
                </c:pt>
                <c:pt idx="3031">
                  <c:v>965.2953</c:v>
                </c:pt>
                <c:pt idx="3032">
                  <c:v>1056.7366999999999</c:v>
                </c:pt>
                <c:pt idx="3033">
                  <c:v>1048.3969</c:v>
                </c:pt>
                <c:pt idx="3034">
                  <c:v>1038.3885</c:v>
                </c:pt>
                <c:pt idx="3035">
                  <c:v>990.34550000000002</c:v>
                </c:pt>
                <c:pt idx="3036">
                  <c:v>998.54909999999995</c:v>
                </c:pt>
                <c:pt idx="3037">
                  <c:v>1008.5048</c:v>
                </c:pt>
                <c:pt idx="3038">
                  <c:v>999.73360000000002</c:v>
                </c:pt>
                <c:pt idx="3039">
                  <c:v>984.67</c:v>
                </c:pt>
                <c:pt idx="3040">
                  <c:v>938.34220000000005</c:v>
                </c:pt>
                <c:pt idx="3041">
                  <c:v>935.57100000000003</c:v>
                </c:pt>
                <c:pt idx="3042">
                  <c:v>934.16210000000001</c:v>
                </c:pt>
                <c:pt idx="3043">
                  <c:v>922.54300000000001</c:v>
                </c:pt>
                <c:pt idx="3044">
                  <c:v>913.66989999999998</c:v>
                </c:pt>
                <c:pt idx="3045">
                  <c:v>932.76170000000002</c:v>
                </c:pt>
                <c:pt idx="3046">
                  <c:v>850.54589999999996</c:v>
                </c:pt>
                <c:pt idx="3047">
                  <c:v>771.43409999999994</c:v>
                </c:pt>
                <c:pt idx="3048">
                  <c:v>707.4787</c:v>
                </c:pt>
                <c:pt idx="3049">
                  <c:v>705.88890000000004</c:v>
                </c:pt>
                <c:pt idx="3050">
                  <c:v>698.13469999999995</c:v>
                </c:pt>
                <c:pt idx="3051">
                  <c:v>691.90899999999999</c:v>
                </c:pt>
                <c:pt idx="3052">
                  <c:v>687.9982</c:v>
                </c:pt>
                <c:pt idx="3053">
                  <c:v>743.47389999999996</c:v>
                </c:pt>
                <c:pt idx="3054">
                  <c:v>837.34929999999997</c:v>
                </c:pt>
                <c:pt idx="3055">
                  <c:v>956.65</c:v>
                </c:pt>
                <c:pt idx="3056">
                  <c:v>1029.1177</c:v>
                </c:pt>
                <c:pt idx="3057">
                  <c:v>1029.0552</c:v>
                </c:pt>
                <c:pt idx="3058">
                  <c:v>1023.4048</c:v>
                </c:pt>
                <c:pt idx="3059">
                  <c:v>987.72739999999999</c:v>
                </c:pt>
                <c:pt idx="3060">
                  <c:v>983.84910000000002</c:v>
                </c:pt>
                <c:pt idx="3061">
                  <c:v>967.79930000000002</c:v>
                </c:pt>
                <c:pt idx="3062">
                  <c:v>996.26620000000003</c:v>
                </c:pt>
                <c:pt idx="3063">
                  <c:v>1002.2747000000001</c:v>
                </c:pt>
                <c:pt idx="3064">
                  <c:v>967.16510000000005</c:v>
                </c:pt>
                <c:pt idx="3065">
                  <c:v>948.02670000000001</c:v>
                </c:pt>
                <c:pt idx="3066">
                  <c:v>926.89549999999997</c:v>
                </c:pt>
                <c:pt idx="3067">
                  <c:v>931.27570000000003</c:v>
                </c:pt>
                <c:pt idx="3068">
                  <c:v>925.38409999999999</c:v>
                </c:pt>
                <c:pt idx="3069">
                  <c:v>943.20579999999995</c:v>
                </c:pt>
                <c:pt idx="3070">
                  <c:v>876.03030000000001</c:v>
                </c:pt>
                <c:pt idx="3071">
                  <c:v>780.54269999999997</c:v>
                </c:pt>
                <c:pt idx="3072">
                  <c:v>750.9402</c:v>
                </c:pt>
                <c:pt idx="3073">
                  <c:v>728.8809</c:v>
                </c:pt>
                <c:pt idx="3074">
                  <c:v>726.38959999999997</c:v>
                </c:pt>
                <c:pt idx="3075">
                  <c:v>716.58609999999999</c:v>
                </c:pt>
                <c:pt idx="3076">
                  <c:v>704.16629999999998</c:v>
                </c:pt>
                <c:pt idx="3077">
                  <c:v>750.30449999999996</c:v>
                </c:pt>
                <c:pt idx="3078">
                  <c:v>867.06790000000001</c:v>
                </c:pt>
                <c:pt idx="3079">
                  <c:v>972.15989999999999</c:v>
                </c:pt>
                <c:pt idx="3080">
                  <c:v>1022.6064</c:v>
                </c:pt>
                <c:pt idx="3081">
                  <c:v>999.73760000000004</c:v>
                </c:pt>
                <c:pt idx="3082">
                  <c:v>991.14589999999998</c:v>
                </c:pt>
                <c:pt idx="3083">
                  <c:v>969.64059999999995</c:v>
                </c:pt>
                <c:pt idx="3084">
                  <c:v>972.47059999999999</c:v>
                </c:pt>
                <c:pt idx="3085">
                  <c:v>968.08320000000003</c:v>
                </c:pt>
                <c:pt idx="3086">
                  <c:v>952.79930000000002</c:v>
                </c:pt>
                <c:pt idx="3087">
                  <c:v>935.91780000000006</c:v>
                </c:pt>
                <c:pt idx="3088">
                  <c:v>904.26149999999996</c:v>
                </c:pt>
                <c:pt idx="3089">
                  <c:v>909.56029999999998</c:v>
                </c:pt>
                <c:pt idx="3090">
                  <c:v>897.56200000000001</c:v>
                </c:pt>
                <c:pt idx="3091">
                  <c:v>892.72969999999998</c:v>
                </c:pt>
                <c:pt idx="3092">
                  <c:v>885.21619999999996</c:v>
                </c:pt>
                <c:pt idx="3093">
                  <c:v>902.45830000000001</c:v>
                </c:pt>
                <c:pt idx="3094">
                  <c:v>834.65890000000002</c:v>
                </c:pt>
                <c:pt idx="3095">
                  <c:v>750.37139999999999</c:v>
                </c:pt>
                <c:pt idx="3096">
                  <c:v>704.47059999999999</c:v>
                </c:pt>
                <c:pt idx="3097">
                  <c:v>682.18430000000001</c:v>
                </c:pt>
                <c:pt idx="3098">
                  <c:v>670.17909999999995</c:v>
                </c:pt>
                <c:pt idx="3099">
                  <c:v>675.29160000000002</c:v>
                </c:pt>
                <c:pt idx="3100">
                  <c:v>651.52800000000002</c:v>
                </c:pt>
                <c:pt idx="3101">
                  <c:v>706.44460000000004</c:v>
                </c:pt>
                <c:pt idx="3102">
                  <c:v>857.03840000000002</c:v>
                </c:pt>
                <c:pt idx="3103">
                  <c:v>968.76969999999994</c:v>
                </c:pt>
                <c:pt idx="3104">
                  <c:v>1072.6714999999999</c:v>
                </c:pt>
                <c:pt idx="3105">
                  <c:v>1089.8154</c:v>
                </c:pt>
                <c:pt idx="3106">
                  <c:v>1083.0155</c:v>
                </c:pt>
                <c:pt idx="3107">
                  <c:v>1069.8933</c:v>
                </c:pt>
                <c:pt idx="3108">
                  <c:v>1082.9244000000001</c:v>
                </c:pt>
                <c:pt idx="3109">
                  <c:v>1086.7106000000001</c:v>
                </c:pt>
                <c:pt idx="3110">
                  <c:v>1067.1436000000001</c:v>
                </c:pt>
                <c:pt idx="3111">
                  <c:v>1053.0587</c:v>
                </c:pt>
                <c:pt idx="3112">
                  <c:v>1021.6972</c:v>
                </c:pt>
                <c:pt idx="3113">
                  <c:v>1007.9332000000001</c:v>
                </c:pt>
                <c:pt idx="3114">
                  <c:v>988.72559999999999</c:v>
                </c:pt>
                <c:pt idx="3115">
                  <c:v>975.93129999999996</c:v>
                </c:pt>
                <c:pt idx="3116">
                  <c:v>939.28689999999995</c:v>
                </c:pt>
                <c:pt idx="3117">
                  <c:v>922.02800000000002</c:v>
                </c:pt>
                <c:pt idx="3118">
                  <c:v>851.39869999999996</c:v>
                </c:pt>
                <c:pt idx="3119">
                  <c:v>768.06330000000003</c:v>
                </c:pt>
                <c:pt idx="3120">
                  <c:v>730.13229999999999</c:v>
                </c:pt>
                <c:pt idx="3121">
                  <c:v>695.31269999999995</c:v>
                </c:pt>
                <c:pt idx="3122">
                  <c:v>683.84469999999999</c:v>
                </c:pt>
                <c:pt idx="3123">
                  <c:v>674.38710000000003</c:v>
                </c:pt>
                <c:pt idx="3124">
                  <c:v>645.97820000000002</c:v>
                </c:pt>
                <c:pt idx="3125">
                  <c:v>650.38480000000004</c:v>
                </c:pt>
                <c:pt idx="3126">
                  <c:v>688.77560000000005</c:v>
                </c:pt>
                <c:pt idx="3127">
                  <c:v>756.93889999999999</c:v>
                </c:pt>
                <c:pt idx="3128">
                  <c:v>851.44410000000005</c:v>
                </c:pt>
                <c:pt idx="3129">
                  <c:v>882.322</c:v>
                </c:pt>
                <c:pt idx="3130">
                  <c:v>870.48440000000005</c:v>
                </c:pt>
                <c:pt idx="3131">
                  <c:v>880.85310000000004</c:v>
                </c:pt>
                <c:pt idx="3132">
                  <c:v>878.9307</c:v>
                </c:pt>
                <c:pt idx="3133">
                  <c:v>881.40840000000003</c:v>
                </c:pt>
                <c:pt idx="3134">
                  <c:v>880.80930000000001</c:v>
                </c:pt>
                <c:pt idx="3135">
                  <c:v>874.1635</c:v>
                </c:pt>
                <c:pt idx="3136">
                  <c:v>891.07230000000004</c:v>
                </c:pt>
                <c:pt idx="3137">
                  <c:v>890.7056</c:v>
                </c:pt>
                <c:pt idx="3138">
                  <c:v>875.74760000000003</c:v>
                </c:pt>
                <c:pt idx="3139">
                  <c:v>873.54070000000002</c:v>
                </c:pt>
                <c:pt idx="3140">
                  <c:v>839.56020000000001</c:v>
                </c:pt>
                <c:pt idx="3141">
                  <c:v>822.57449999999994</c:v>
                </c:pt>
                <c:pt idx="3142">
                  <c:v>766.45650000000001</c:v>
                </c:pt>
                <c:pt idx="3143">
                  <c:v>707.59469999999999</c:v>
                </c:pt>
                <c:pt idx="3144">
                  <c:v>654.17349999999999</c:v>
                </c:pt>
                <c:pt idx="3145">
                  <c:v>631.76930000000004</c:v>
                </c:pt>
                <c:pt idx="3146">
                  <c:v>630.56740000000002</c:v>
                </c:pt>
                <c:pt idx="3147">
                  <c:v>614.43129999999996</c:v>
                </c:pt>
                <c:pt idx="3148">
                  <c:v>582.8999</c:v>
                </c:pt>
                <c:pt idx="3149">
                  <c:v>587.53809999999999</c:v>
                </c:pt>
                <c:pt idx="3150">
                  <c:v>628.20519999999999</c:v>
                </c:pt>
                <c:pt idx="3151">
                  <c:v>694.46659999999997</c:v>
                </c:pt>
                <c:pt idx="3152">
                  <c:v>760.02459999999996</c:v>
                </c:pt>
                <c:pt idx="3153">
                  <c:v>800.45240000000001</c:v>
                </c:pt>
                <c:pt idx="3154">
                  <c:v>778.34789999999998</c:v>
                </c:pt>
                <c:pt idx="3155">
                  <c:v>779.80439999999999</c:v>
                </c:pt>
                <c:pt idx="3156">
                  <c:v>774.52909999999997</c:v>
                </c:pt>
                <c:pt idx="3157">
                  <c:v>749.34559999999999</c:v>
                </c:pt>
                <c:pt idx="3158">
                  <c:v>756.56560000000002</c:v>
                </c:pt>
                <c:pt idx="3159">
                  <c:v>742.9366</c:v>
                </c:pt>
                <c:pt idx="3160">
                  <c:v>755.34079999999994</c:v>
                </c:pt>
                <c:pt idx="3161">
                  <c:v>775.87649999999996</c:v>
                </c:pt>
                <c:pt idx="3162">
                  <c:v>795.86440000000005</c:v>
                </c:pt>
                <c:pt idx="3163">
                  <c:v>827.65329999999994</c:v>
                </c:pt>
                <c:pt idx="3164">
                  <c:v>829.84839999999997</c:v>
                </c:pt>
                <c:pt idx="3165">
                  <c:v>844.74350000000004</c:v>
                </c:pt>
                <c:pt idx="3166">
                  <c:v>816.32029999999997</c:v>
                </c:pt>
                <c:pt idx="3167">
                  <c:v>743.13509999999997</c:v>
                </c:pt>
                <c:pt idx="3168">
                  <c:v>699.35270000000003</c:v>
                </c:pt>
                <c:pt idx="3169">
                  <c:v>666.12300000000005</c:v>
                </c:pt>
                <c:pt idx="3170">
                  <c:v>658.29790000000003</c:v>
                </c:pt>
                <c:pt idx="3171">
                  <c:v>650.88210000000004</c:v>
                </c:pt>
                <c:pt idx="3172">
                  <c:v>633.6508</c:v>
                </c:pt>
                <c:pt idx="3173">
                  <c:v>695.52880000000005</c:v>
                </c:pt>
                <c:pt idx="3174">
                  <c:v>848.00490000000002</c:v>
                </c:pt>
                <c:pt idx="3175">
                  <c:v>968.226</c:v>
                </c:pt>
                <c:pt idx="3176">
                  <c:v>1085.4912999999999</c:v>
                </c:pt>
                <c:pt idx="3177">
                  <c:v>1077.2642000000001</c:v>
                </c:pt>
                <c:pt idx="3178">
                  <c:v>1068.0282</c:v>
                </c:pt>
                <c:pt idx="3179">
                  <c:v>1037.8933999999999</c:v>
                </c:pt>
                <c:pt idx="3180">
                  <c:v>1047.3452</c:v>
                </c:pt>
                <c:pt idx="3181">
                  <c:v>1083.644</c:v>
                </c:pt>
                <c:pt idx="3182">
                  <c:v>1085.9165</c:v>
                </c:pt>
                <c:pt idx="3183">
                  <c:v>1076.1234999999999</c:v>
                </c:pt>
                <c:pt idx="3184">
                  <c:v>1034.2399</c:v>
                </c:pt>
                <c:pt idx="3185">
                  <c:v>1040.3291999999999</c:v>
                </c:pt>
                <c:pt idx="3186">
                  <c:v>992.8904</c:v>
                </c:pt>
                <c:pt idx="3187">
                  <c:v>984.87789999999995</c:v>
                </c:pt>
                <c:pt idx="3188">
                  <c:v>958.08910000000003</c:v>
                </c:pt>
                <c:pt idx="3189">
                  <c:v>949.31979999999999</c:v>
                </c:pt>
                <c:pt idx="3190">
                  <c:v>861.40009999999995</c:v>
                </c:pt>
                <c:pt idx="3191">
                  <c:v>780.6277</c:v>
                </c:pt>
                <c:pt idx="3192">
                  <c:v>736.40459999999996</c:v>
                </c:pt>
                <c:pt idx="3193">
                  <c:v>717.25350000000003</c:v>
                </c:pt>
                <c:pt idx="3194">
                  <c:v>704.5856</c:v>
                </c:pt>
                <c:pt idx="3195">
                  <c:v>703.17259999999999</c:v>
                </c:pt>
                <c:pt idx="3196">
                  <c:v>689.38279999999997</c:v>
                </c:pt>
                <c:pt idx="3197">
                  <c:v>744.03689999999995</c:v>
                </c:pt>
                <c:pt idx="3198">
                  <c:v>903.47709999999995</c:v>
                </c:pt>
                <c:pt idx="3199">
                  <c:v>1017.0425</c:v>
                </c:pt>
                <c:pt idx="3200">
                  <c:v>1103.3525</c:v>
                </c:pt>
                <c:pt idx="3201">
                  <c:v>1107.3098</c:v>
                </c:pt>
                <c:pt idx="3202">
                  <c:v>1105.3557000000001</c:v>
                </c:pt>
                <c:pt idx="3203">
                  <c:v>1061.1703</c:v>
                </c:pt>
                <c:pt idx="3204">
                  <c:v>1051.7555</c:v>
                </c:pt>
                <c:pt idx="3205">
                  <c:v>1043.5501999999999</c:v>
                </c:pt>
                <c:pt idx="3206">
                  <c:v>1040.6005</c:v>
                </c:pt>
                <c:pt idx="3207">
                  <c:v>1018.051</c:v>
                </c:pt>
                <c:pt idx="3208">
                  <c:v>967.70140000000004</c:v>
                </c:pt>
                <c:pt idx="3209">
                  <c:v>964.79349999999999</c:v>
                </c:pt>
                <c:pt idx="3210">
                  <c:v>943.20920000000001</c:v>
                </c:pt>
                <c:pt idx="3211">
                  <c:v>930.16579999999999</c:v>
                </c:pt>
                <c:pt idx="3212">
                  <c:v>921.81349999999998</c:v>
                </c:pt>
                <c:pt idx="3213">
                  <c:v>924.38559999999995</c:v>
                </c:pt>
                <c:pt idx="3214">
                  <c:v>884.56629999999996</c:v>
                </c:pt>
                <c:pt idx="3215">
                  <c:v>796.87720000000002</c:v>
                </c:pt>
                <c:pt idx="3216">
                  <c:v>755.13059999999996</c:v>
                </c:pt>
                <c:pt idx="3217">
                  <c:v>722.09400000000005</c:v>
                </c:pt>
                <c:pt idx="3218">
                  <c:v>710.74760000000003</c:v>
                </c:pt>
                <c:pt idx="3219">
                  <c:v>703.72159999999997</c:v>
                </c:pt>
                <c:pt idx="3220">
                  <c:v>684.84469999999999</c:v>
                </c:pt>
                <c:pt idx="3221">
                  <c:v>743.15030000000002</c:v>
                </c:pt>
                <c:pt idx="3222">
                  <c:v>878.08540000000005</c:v>
                </c:pt>
                <c:pt idx="3223">
                  <c:v>971.86850000000004</c:v>
                </c:pt>
                <c:pt idx="3224">
                  <c:v>1032.1447000000001</c:v>
                </c:pt>
                <c:pt idx="3225">
                  <c:v>1026.0033000000001</c:v>
                </c:pt>
                <c:pt idx="3226">
                  <c:v>1020.9751</c:v>
                </c:pt>
                <c:pt idx="3227">
                  <c:v>986.65819999999997</c:v>
                </c:pt>
                <c:pt idx="3228">
                  <c:v>1007.3572</c:v>
                </c:pt>
                <c:pt idx="3229">
                  <c:v>997.14890000000003</c:v>
                </c:pt>
                <c:pt idx="3230">
                  <c:v>979.11199999999997</c:v>
                </c:pt>
                <c:pt idx="3231">
                  <c:v>968.6309</c:v>
                </c:pt>
                <c:pt idx="3232">
                  <c:v>941.17759999999998</c:v>
                </c:pt>
                <c:pt idx="3233">
                  <c:v>929.83010000000002</c:v>
                </c:pt>
                <c:pt idx="3234">
                  <c:v>918.90409999999997</c:v>
                </c:pt>
                <c:pt idx="3235">
                  <c:v>913.75260000000003</c:v>
                </c:pt>
                <c:pt idx="3236">
                  <c:v>897.08450000000005</c:v>
                </c:pt>
                <c:pt idx="3237">
                  <c:v>887.75599999999997</c:v>
                </c:pt>
                <c:pt idx="3238">
                  <c:v>859.625</c:v>
                </c:pt>
                <c:pt idx="3239">
                  <c:v>769.09050000000002</c:v>
                </c:pt>
                <c:pt idx="3240">
                  <c:v>734.64779999999996</c:v>
                </c:pt>
                <c:pt idx="3241">
                  <c:v>709.65300000000002</c:v>
                </c:pt>
                <c:pt idx="3242">
                  <c:v>696.44060000000002</c:v>
                </c:pt>
                <c:pt idx="3243">
                  <c:v>697.80470000000003</c:v>
                </c:pt>
                <c:pt idx="3244">
                  <c:v>679.87519999999995</c:v>
                </c:pt>
                <c:pt idx="3245">
                  <c:v>730.19529999999997</c:v>
                </c:pt>
                <c:pt idx="3246">
                  <c:v>877.02959999999996</c:v>
                </c:pt>
                <c:pt idx="3247">
                  <c:v>967.56370000000004</c:v>
                </c:pt>
                <c:pt idx="3248">
                  <c:v>1029.1332</c:v>
                </c:pt>
                <c:pt idx="3249">
                  <c:v>1024.6130000000001</c:v>
                </c:pt>
                <c:pt idx="3250">
                  <c:v>1004.27</c:v>
                </c:pt>
                <c:pt idx="3251">
                  <c:v>977.63109999999995</c:v>
                </c:pt>
                <c:pt idx="3252">
                  <c:v>989.10990000000004</c:v>
                </c:pt>
                <c:pt idx="3253">
                  <c:v>982.33690000000001</c:v>
                </c:pt>
                <c:pt idx="3254">
                  <c:v>978.02440000000001</c:v>
                </c:pt>
                <c:pt idx="3255">
                  <c:v>973.13599999999997</c:v>
                </c:pt>
                <c:pt idx="3256">
                  <c:v>944.53769999999997</c:v>
                </c:pt>
                <c:pt idx="3257">
                  <c:v>935.22040000000004</c:v>
                </c:pt>
                <c:pt idx="3258">
                  <c:v>916.0145</c:v>
                </c:pt>
                <c:pt idx="3259">
                  <c:v>908.048</c:v>
                </c:pt>
                <c:pt idx="3260">
                  <c:v>892.77419999999995</c:v>
                </c:pt>
                <c:pt idx="3261">
                  <c:v>878.88919999999996</c:v>
                </c:pt>
                <c:pt idx="3262">
                  <c:v>842.28200000000004</c:v>
                </c:pt>
                <c:pt idx="3263">
                  <c:v>761.20809999999994</c:v>
                </c:pt>
                <c:pt idx="3264">
                  <c:v>721.6028</c:v>
                </c:pt>
                <c:pt idx="3265">
                  <c:v>704.93870000000004</c:v>
                </c:pt>
                <c:pt idx="3266">
                  <c:v>691.92409999999995</c:v>
                </c:pt>
                <c:pt idx="3267">
                  <c:v>683.59109999999998</c:v>
                </c:pt>
                <c:pt idx="3268">
                  <c:v>669.90070000000003</c:v>
                </c:pt>
                <c:pt idx="3269">
                  <c:v>727.91309999999999</c:v>
                </c:pt>
                <c:pt idx="3270">
                  <c:v>856.24429999999995</c:v>
                </c:pt>
                <c:pt idx="3271">
                  <c:v>953.07539999999995</c:v>
                </c:pt>
                <c:pt idx="3272">
                  <c:v>1028.3013000000001</c:v>
                </c:pt>
                <c:pt idx="3273">
                  <c:v>1016.4571999999999</c:v>
                </c:pt>
                <c:pt idx="3274">
                  <c:v>1003.2498000000001</c:v>
                </c:pt>
                <c:pt idx="3275">
                  <c:v>965.40369999999996</c:v>
                </c:pt>
                <c:pt idx="3276">
                  <c:v>980.89419999999996</c:v>
                </c:pt>
                <c:pt idx="3277">
                  <c:v>981.01610000000005</c:v>
                </c:pt>
                <c:pt idx="3278">
                  <c:v>961.05930000000001</c:v>
                </c:pt>
                <c:pt idx="3279">
                  <c:v>948.89359999999999</c:v>
                </c:pt>
                <c:pt idx="3280">
                  <c:v>920.4194</c:v>
                </c:pt>
                <c:pt idx="3281">
                  <c:v>915.26930000000004</c:v>
                </c:pt>
                <c:pt idx="3282">
                  <c:v>894.55840000000001</c:v>
                </c:pt>
                <c:pt idx="3283">
                  <c:v>892.18060000000003</c:v>
                </c:pt>
                <c:pt idx="3284">
                  <c:v>861.29070000000002</c:v>
                </c:pt>
                <c:pt idx="3285">
                  <c:v>848.29399999999998</c:v>
                </c:pt>
                <c:pt idx="3286">
                  <c:v>824.25340000000006</c:v>
                </c:pt>
                <c:pt idx="3287">
                  <c:v>753.23929999999996</c:v>
                </c:pt>
                <c:pt idx="3288">
                  <c:v>697.23209999999995</c:v>
                </c:pt>
                <c:pt idx="3289">
                  <c:v>678.76319999999998</c:v>
                </c:pt>
                <c:pt idx="3290">
                  <c:v>664.11829999999998</c:v>
                </c:pt>
                <c:pt idx="3291">
                  <c:v>645.32119999999998</c:v>
                </c:pt>
                <c:pt idx="3292">
                  <c:v>602.67079999999999</c:v>
                </c:pt>
                <c:pt idx="3293">
                  <c:v>624.01379999999995</c:v>
                </c:pt>
                <c:pt idx="3294">
                  <c:v>669.14009999999996</c:v>
                </c:pt>
                <c:pt idx="3295">
                  <c:v>720.19370000000004</c:v>
                </c:pt>
                <c:pt idx="3296">
                  <c:v>785.2441</c:v>
                </c:pt>
                <c:pt idx="3297">
                  <c:v>822.13199999999995</c:v>
                </c:pt>
                <c:pt idx="3298">
                  <c:v>818.27739999999994</c:v>
                </c:pt>
                <c:pt idx="3299">
                  <c:v>799.81320000000005</c:v>
                </c:pt>
                <c:pt idx="3300">
                  <c:v>793.70870000000002</c:v>
                </c:pt>
                <c:pt idx="3301">
                  <c:v>785.04570000000001</c:v>
                </c:pt>
                <c:pt idx="3302">
                  <c:v>776.26149999999996</c:v>
                </c:pt>
                <c:pt idx="3303">
                  <c:v>778.82470000000001</c:v>
                </c:pt>
                <c:pt idx="3304">
                  <c:v>780.94309999999996</c:v>
                </c:pt>
                <c:pt idx="3305">
                  <c:v>788.09230000000002</c:v>
                </c:pt>
                <c:pt idx="3306">
                  <c:v>748.35720000000003</c:v>
                </c:pt>
                <c:pt idx="3307">
                  <c:v>793.29750000000001</c:v>
                </c:pt>
                <c:pt idx="3308">
                  <c:v>781.96310000000005</c:v>
                </c:pt>
                <c:pt idx="3309">
                  <c:v>764.81960000000004</c:v>
                </c:pt>
                <c:pt idx="3310">
                  <c:v>750.83579999999995</c:v>
                </c:pt>
                <c:pt idx="3311">
                  <c:v>703.40390000000002</c:v>
                </c:pt>
                <c:pt idx="3312">
                  <c:v>662.54060000000004</c:v>
                </c:pt>
                <c:pt idx="3313">
                  <c:v>629.91539999999998</c:v>
                </c:pt>
                <c:pt idx="3314">
                  <c:v>606.09379999999999</c:v>
                </c:pt>
                <c:pt idx="3315">
                  <c:v>591.47439999999995</c:v>
                </c:pt>
                <c:pt idx="3316">
                  <c:v>556.72730000000001</c:v>
                </c:pt>
                <c:pt idx="3317">
                  <c:v>575.06269999999995</c:v>
                </c:pt>
                <c:pt idx="3318">
                  <c:v>606.3646</c:v>
                </c:pt>
                <c:pt idx="3319">
                  <c:v>650.92049999999995</c:v>
                </c:pt>
                <c:pt idx="3320">
                  <c:v>729.80939999999998</c:v>
                </c:pt>
                <c:pt idx="3321">
                  <c:v>784.17660000000001</c:v>
                </c:pt>
                <c:pt idx="3322">
                  <c:v>800.55110000000002</c:v>
                </c:pt>
                <c:pt idx="3323">
                  <c:v>800.2088</c:v>
                </c:pt>
                <c:pt idx="3324">
                  <c:v>798.21420000000001</c:v>
                </c:pt>
                <c:pt idx="3325">
                  <c:v>794.99789999999996</c:v>
                </c:pt>
                <c:pt idx="3326">
                  <c:v>793.01559999999995</c:v>
                </c:pt>
                <c:pt idx="3327">
                  <c:v>789.52729999999997</c:v>
                </c:pt>
                <c:pt idx="3328">
                  <c:v>797.52949999999998</c:v>
                </c:pt>
                <c:pt idx="3329">
                  <c:v>817.00210000000004</c:v>
                </c:pt>
                <c:pt idx="3330">
                  <c:v>827.77250000000004</c:v>
                </c:pt>
                <c:pt idx="3331">
                  <c:v>838.28160000000003</c:v>
                </c:pt>
                <c:pt idx="3332">
                  <c:v>843.40380000000005</c:v>
                </c:pt>
                <c:pt idx="3333">
                  <c:v>825.3252</c:v>
                </c:pt>
                <c:pt idx="3334">
                  <c:v>802.88959999999997</c:v>
                </c:pt>
                <c:pt idx="3335">
                  <c:v>724.90660000000003</c:v>
                </c:pt>
                <c:pt idx="3336">
                  <c:v>671.69370000000004</c:v>
                </c:pt>
                <c:pt idx="3337">
                  <c:v>637.9008</c:v>
                </c:pt>
                <c:pt idx="3338">
                  <c:v>632.45119999999997</c:v>
                </c:pt>
                <c:pt idx="3339">
                  <c:v>622.15639999999996</c:v>
                </c:pt>
                <c:pt idx="3340">
                  <c:v>607.75199999999995</c:v>
                </c:pt>
                <c:pt idx="3341">
                  <c:v>669.95309999999995</c:v>
                </c:pt>
                <c:pt idx="3342">
                  <c:v>819.43190000000004</c:v>
                </c:pt>
                <c:pt idx="3343">
                  <c:v>942.68529999999998</c:v>
                </c:pt>
                <c:pt idx="3344">
                  <c:v>1027.4131</c:v>
                </c:pt>
                <c:pt idx="3345">
                  <c:v>1034.0688</c:v>
                </c:pt>
                <c:pt idx="3346">
                  <c:v>1034.5972999999999</c:v>
                </c:pt>
                <c:pt idx="3347">
                  <c:v>1025.2626</c:v>
                </c:pt>
                <c:pt idx="3348">
                  <c:v>1033.9159</c:v>
                </c:pt>
                <c:pt idx="3349">
                  <c:v>1046.2681</c:v>
                </c:pt>
                <c:pt idx="3350">
                  <c:v>1023.5586</c:v>
                </c:pt>
                <c:pt idx="3351">
                  <c:v>999.96879999999999</c:v>
                </c:pt>
                <c:pt idx="3352">
                  <c:v>961.43100000000004</c:v>
                </c:pt>
                <c:pt idx="3353">
                  <c:v>962.91200000000003</c:v>
                </c:pt>
                <c:pt idx="3354">
                  <c:v>934.80259999999998</c:v>
                </c:pt>
                <c:pt idx="3355">
                  <c:v>922.15009999999995</c:v>
                </c:pt>
                <c:pt idx="3356">
                  <c:v>898.65530000000001</c:v>
                </c:pt>
                <c:pt idx="3357">
                  <c:v>876.27470000000005</c:v>
                </c:pt>
                <c:pt idx="3358">
                  <c:v>822.45669999999996</c:v>
                </c:pt>
                <c:pt idx="3359">
                  <c:v>732.25019999999995</c:v>
                </c:pt>
                <c:pt idx="3360">
                  <c:v>700.18979999999999</c:v>
                </c:pt>
                <c:pt idx="3361">
                  <c:v>664.46910000000003</c:v>
                </c:pt>
                <c:pt idx="3362">
                  <c:v>630.69880000000001</c:v>
                </c:pt>
                <c:pt idx="3363">
                  <c:v>650.99329999999998</c:v>
                </c:pt>
                <c:pt idx="3364">
                  <c:v>625.25199999999995</c:v>
                </c:pt>
                <c:pt idx="3365">
                  <c:v>671.67020000000002</c:v>
                </c:pt>
                <c:pt idx="3366">
                  <c:v>822.33370000000002</c:v>
                </c:pt>
                <c:pt idx="3367">
                  <c:v>946.55740000000003</c:v>
                </c:pt>
                <c:pt idx="3368">
                  <c:v>1027.7889</c:v>
                </c:pt>
                <c:pt idx="3369">
                  <c:v>1030.2288000000001</c:v>
                </c:pt>
                <c:pt idx="3370">
                  <c:v>1043.1797999999999</c:v>
                </c:pt>
                <c:pt idx="3371">
                  <c:v>1009.5916999999999</c:v>
                </c:pt>
                <c:pt idx="3372">
                  <c:v>1021.9797</c:v>
                </c:pt>
                <c:pt idx="3373">
                  <c:v>1024.501</c:v>
                </c:pt>
                <c:pt idx="3374">
                  <c:v>1027.0553</c:v>
                </c:pt>
                <c:pt idx="3375">
                  <c:v>1023.638</c:v>
                </c:pt>
                <c:pt idx="3376">
                  <c:v>977.43389999999999</c:v>
                </c:pt>
                <c:pt idx="3377">
                  <c:v>978.26980000000003</c:v>
                </c:pt>
                <c:pt idx="3378">
                  <c:v>944.64700000000005</c:v>
                </c:pt>
                <c:pt idx="3379">
                  <c:v>933.48069999999996</c:v>
                </c:pt>
                <c:pt idx="3380">
                  <c:v>903.32889999999998</c:v>
                </c:pt>
                <c:pt idx="3381">
                  <c:v>882.25729999999999</c:v>
                </c:pt>
                <c:pt idx="3382">
                  <c:v>837.13670000000002</c:v>
                </c:pt>
                <c:pt idx="3383">
                  <c:v>753.76969999999994</c:v>
                </c:pt>
                <c:pt idx="3384">
                  <c:v>714.18190000000004</c:v>
                </c:pt>
                <c:pt idx="3385">
                  <c:v>681.09799999999996</c:v>
                </c:pt>
                <c:pt idx="3386">
                  <c:v>661.10749999999996</c:v>
                </c:pt>
                <c:pt idx="3387">
                  <c:v>650.10580000000004</c:v>
                </c:pt>
                <c:pt idx="3388">
                  <c:v>629.86469999999997</c:v>
                </c:pt>
                <c:pt idx="3389">
                  <c:v>678.70550000000003</c:v>
                </c:pt>
                <c:pt idx="3390">
                  <c:v>827.59810000000004</c:v>
                </c:pt>
                <c:pt idx="3391">
                  <c:v>936.03200000000004</c:v>
                </c:pt>
                <c:pt idx="3392">
                  <c:v>1012.1614</c:v>
                </c:pt>
                <c:pt idx="3393">
                  <c:v>1016.4405</c:v>
                </c:pt>
                <c:pt idx="3394">
                  <c:v>1016.925</c:v>
                </c:pt>
                <c:pt idx="3395">
                  <c:v>993.47900000000004</c:v>
                </c:pt>
                <c:pt idx="3396">
                  <c:v>1009.104</c:v>
                </c:pt>
                <c:pt idx="3397">
                  <c:v>1008.0201</c:v>
                </c:pt>
                <c:pt idx="3398">
                  <c:v>1002.5942</c:v>
                </c:pt>
                <c:pt idx="3399">
                  <c:v>996.78729999999996</c:v>
                </c:pt>
                <c:pt idx="3400">
                  <c:v>967.38930000000005</c:v>
                </c:pt>
                <c:pt idx="3401">
                  <c:v>968.06759999999997</c:v>
                </c:pt>
                <c:pt idx="3402">
                  <c:v>934.73490000000004</c:v>
                </c:pt>
                <c:pt idx="3403">
                  <c:v>927.21510000000001</c:v>
                </c:pt>
                <c:pt idx="3404">
                  <c:v>906.63019999999995</c:v>
                </c:pt>
                <c:pt idx="3405">
                  <c:v>877.71680000000003</c:v>
                </c:pt>
                <c:pt idx="3406">
                  <c:v>837.6431</c:v>
                </c:pt>
                <c:pt idx="3407">
                  <c:v>750.57979999999998</c:v>
                </c:pt>
                <c:pt idx="3408">
                  <c:v>706.05790000000002</c:v>
                </c:pt>
                <c:pt idx="3409">
                  <c:v>673.51189999999997</c:v>
                </c:pt>
                <c:pt idx="3410">
                  <c:v>661.19460000000004</c:v>
                </c:pt>
                <c:pt idx="3411">
                  <c:v>656.57860000000005</c:v>
                </c:pt>
                <c:pt idx="3412">
                  <c:v>629.8338</c:v>
                </c:pt>
                <c:pt idx="3413">
                  <c:v>681.60940000000005</c:v>
                </c:pt>
                <c:pt idx="3414">
                  <c:v>828.43020000000001</c:v>
                </c:pt>
                <c:pt idx="3415">
                  <c:v>931.17269999999996</c:v>
                </c:pt>
                <c:pt idx="3416">
                  <c:v>1008.6464999999999</c:v>
                </c:pt>
                <c:pt idx="3417">
                  <c:v>1018.0425</c:v>
                </c:pt>
                <c:pt idx="3418">
                  <c:v>1013.2277</c:v>
                </c:pt>
                <c:pt idx="3419">
                  <c:v>991.81230000000005</c:v>
                </c:pt>
                <c:pt idx="3420">
                  <c:v>996.19560000000001</c:v>
                </c:pt>
                <c:pt idx="3421">
                  <c:v>984.21410000000003</c:v>
                </c:pt>
                <c:pt idx="3422">
                  <c:v>981.928</c:v>
                </c:pt>
                <c:pt idx="3423">
                  <c:v>971.72969999999998</c:v>
                </c:pt>
                <c:pt idx="3424">
                  <c:v>938.58550000000002</c:v>
                </c:pt>
                <c:pt idx="3425">
                  <c:v>942.61210000000005</c:v>
                </c:pt>
                <c:pt idx="3426">
                  <c:v>901.58669999999995</c:v>
                </c:pt>
                <c:pt idx="3427">
                  <c:v>896.64229999999998</c:v>
                </c:pt>
                <c:pt idx="3428">
                  <c:v>877.67650000000003</c:v>
                </c:pt>
                <c:pt idx="3429">
                  <c:v>862.40060000000005</c:v>
                </c:pt>
                <c:pt idx="3430">
                  <c:v>822.94309999999996</c:v>
                </c:pt>
                <c:pt idx="3431">
                  <c:v>743.31510000000003</c:v>
                </c:pt>
                <c:pt idx="3432">
                  <c:v>697.29719999999998</c:v>
                </c:pt>
                <c:pt idx="3433">
                  <c:v>667.31979999999999</c:v>
                </c:pt>
                <c:pt idx="3434">
                  <c:v>650.67930000000001</c:v>
                </c:pt>
                <c:pt idx="3435">
                  <c:v>641.81150000000002</c:v>
                </c:pt>
                <c:pt idx="3436">
                  <c:v>627.64670000000001</c:v>
                </c:pt>
                <c:pt idx="3437">
                  <c:v>683.79930000000002</c:v>
                </c:pt>
                <c:pt idx="3438">
                  <c:v>822.79989999999998</c:v>
                </c:pt>
                <c:pt idx="3439">
                  <c:v>953.29949999999997</c:v>
                </c:pt>
                <c:pt idx="3440">
                  <c:v>1042.124</c:v>
                </c:pt>
                <c:pt idx="3441">
                  <c:v>1046.8880999999999</c:v>
                </c:pt>
                <c:pt idx="3442">
                  <c:v>1053.6732</c:v>
                </c:pt>
                <c:pt idx="3443">
                  <c:v>1037.5724</c:v>
                </c:pt>
                <c:pt idx="3444">
                  <c:v>1038.193</c:v>
                </c:pt>
                <c:pt idx="3445">
                  <c:v>1035.3291999999999</c:v>
                </c:pt>
                <c:pt idx="3446">
                  <c:v>1011.011</c:v>
                </c:pt>
                <c:pt idx="3447">
                  <c:v>987.29570000000001</c:v>
                </c:pt>
                <c:pt idx="3448">
                  <c:v>956.39139999999998</c:v>
                </c:pt>
                <c:pt idx="3449">
                  <c:v>935.77539999999999</c:v>
                </c:pt>
                <c:pt idx="3450">
                  <c:v>900.6807</c:v>
                </c:pt>
                <c:pt idx="3451">
                  <c:v>895.6694</c:v>
                </c:pt>
                <c:pt idx="3452">
                  <c:v>879.45699999999999</c:v>
                </c:pt>
                <c:pt idx="3453">
                  <c:v>859.50850000000003</c:v>
                </c:pt>
                <c:pt idx="3454">
                  <c:v>841.74419999999998</c:v>
                </c:pt>
                <c:pt idx="3455">
                  <c:v>768.67070000000001</c:v>
                </c:pt>
                <c:pt idx="3456">
                  <c:v>717.86260000000004</c:v>
                </c:pt>
                <c:pt idx="3457">
                  <c:v>693.82299999999998</c:v>
                </c:pt>
                <c:pt idx="3458">
                  <c:v>669.92830000000004</c:v>
                </c:pt>
                <c:pt idx="3459">
                  <c:v>656.15120000000002</c:v>
                </c:pt>
                <c:pt idx="3460">
                  <c:v>611.64359999999999</c:v>
                </c:pt>
                <c:pt idx="3461">
                  <c:v>632.17190000000005</c:v>
                </c:pt>
                <c:pt idx="3462">
                  <c:v>680.02030000000002</c:v>
                </c:pt>
                <c:pt idx="3463">
                  <c:v>734.93600000000004</c:v>
                </c:pt>
                <c:pt idx="3464">
                  <c:v>821.97900000000004</c:v>
                </c:pt>
                <c:pt idx="3465">
                  <c:v>862.09109999999998</c:v>
                </c:pt>
                <c:pt idx="3466">
                  <c:v>883.28340000000003</c:v>
                </c:pt>
                <c:pt idx="3467">
                  <c:v>870.68730000000005</c:v>
                </c:pt>
                <c:pt idx="3468">
                  <c:v>866.72950000000003</c:v>
                </c:pt>
                <c:pt idx="3469">
                  <c:v>857.80989999999997</c:v>
                </c:pt>
                <c:pt idx="3470">
                  <c:v>838.46969999999999</c:v>
                </c:pt>
                <c:pt idx="3471">
                  <c:v>821.56079999999997</c:v>
                </c:pt>
                <c:pt idx="3472">
                  <c:v>827.86329999999998</c:v>
                </c:pt>
                <c:pt idx="3473">
                  <c:v>838.04290000000003</c:v>
                </c:pt>
                <c:pt idx="3474">
                  <c:v>830.86310000000003</c:v>
                </c:pt>
                <c:pt idx="3475">
                  <c:v>840.64229999999998</c:v>
                </c:pt>
                <c:pt idx="3476">
                  <c:v>823.67759999999998</c:v>
                </c:pt>
                <c:pt idx="3477">
                  <c:v>813.14940000000001</c:v>
                </c:pt>
                <c:pt idx="3478">
                  <c:v>796.75900000000001</c:v>
                </c:pt>
                <c:pt idx="3479">
                  <c:v>731.41920000000005</c:v>
                </c:pt>
                <c:pt idx="3480">
                  <c:v>690.77279999999996</c:v>
                </c:pt>
                <c:pt idx="3481">
                  <c:v>654.31610000000001</c:v>
                </c:pt>
                <c:pt idx="3482">
                  <c:v>638.7192</c:v>
                </c:pt>
                <c:pt idx="3483">
                  <c:v>646.05150000000003</c:v>
                </c:pt>
                <c:pt idx="3484">
                  <c:v>595.74059999999997</c:v>
                </c:pt>
                <c:pt idx="3485">
                  <c:v>617.66240000000005</c:v>
                </c:pt>
                <c:pt idx="3486">
                  <c:v>635.08100000000002</c:v>
                </c:pt>
                <c:pt idx="3487">
                  <c:v>686.95780000000002</c:v>
                </c:pt>
                <c:pt idx="3488">
                  <c:v>755.47640000000001</c:v>
                </c:pt>
                <c:pt idx="3489">
                  <c:v>803.94949999999994</c:v>
                </c:pt>
                <c:pt idx="3490">
                  <c:v>827.19039999999995</c:v>
                </c:pt>
                <c:pt idx="3491">
                  <c:v>844.71169999999995</c:v>
                </c:pt>
                <c:pt idx="3492">
                  <c:v>844.40300000000002</c:v>
                </c:pt>
                <c:pt idx="3493">
                  <c:v>843.95270000000005</c:v>
                </c:pt>
                <c:pt idx="3494">
                  <c:v>850.46659999999997</c:v>
                </c:pt>
                <c:pt idx="3495">
                  <c:v>855.32119999999998</c:v>
                </c:pt>
                <c:pt idx="3496">
                  <c:v>863.0779</c:v>
                </c:pt>
                <c:pt idx="3497">
                  <c:v>865.4837</c:v>
                </c:pt>
                <c:pt idx="3498">
                  <c:v>868.86130000000003</c:v>
                </c:pt>
                <c:pt idx="3499">
                  <c:v>879.61940000000004</c:v>
                </c:pt>
                <c:pt idx="3500">
                  <c:v>850.43650000000002</c:v>
                </c:pt>
                <c:pt idx="3501">
                  <c:v>835.12130000000002</c:v>
                </c:pt>
                <c:pt idx="3502">
                  <c:v>798.51340000000005</c:v>
                </c:pt>
                <c:pt idx="3503">
                  <c:v>734.62540000000001</c:v>
                </c:pt>
                <c:pt idx="3504">
                  <c:v>697.49149999999997</c:v>
                </c:pt>
                <c:pt idx="3505">
                  <c:v>659.149</c:v>
                </c:pt>
                <c:pt idx="3506">
                  <c:v>640.07640000000004</c:v>
                </c:pt>
                <c:pt idx="3507">
                  <c:v>636.14819999999997</c:v>
                </c:pt>
                <c:pt idx="3508">
                  <c:v>639.62469999999996</c:v>
                </c:pt>
                <c:pt idx="3509">
                  <c:v>695.82690000000002</c:v>
                </c:pt>
                <c:pt idx="3510">
                  <c:v>839.23140000000001</c:v>
                </c:pt>
                <c:pt idx="3511">
                  <c:v>958.58420000000001</c:v>
                </c:pt>
                <c:pt idx="3512">
                  <c:v>1055.8806999999999</c:v>
                </c:pt>
                <c:pt idx="3513">
                  <c:v>1071.7953</c:v>
                </c:pt>
                <c:pt idx="3514">
                  <c:v>1069.8227999999999</c:v>
                </c:pt>
                <c:pt idx="3515">
                  <c:v>1044.9235000000001</c:v>
                </c:pt>
                <c:pt idx="3516">
                  <c:v>1060.6256000000001</c:v>
                </c:pt>
                <c:pt idx="3517">
                  <c:v>1051.3416999999999</c:v>
                </c:pt>
                <c:pt idx="3518">
                  <c:v>1037.5896</c:v>
                </c:pt>
                <c:pt idx="3519">
                  <c:v>1035.4649999999999</c:v>
                </c:pt>
                <c:pt idx="3520">
                  <c:v>1004.5281</c:v>
                </c:pt>
                <c:pt idx="3521">
                  <c:v>999.09119999999996</c:v>
                </c:pt>
                <c:pt idx="3522">
                  <c:v>967.3098</c:v>
                </c:pt>
                <c:pt idx="3523">
                  <c:v>965.55930000000001</c:v>
                </c:pt>
                <c:pt idx="3524">
                  <c:v>930.14760000000001</c:v>
                </c:pt>
                <c:pt idx="3525">
                  <c:v>910.13720000000001</c:v>
                </c:pt>
                <c:pt idx="3526">
                  <c:v>857.66279999999995</c:v>
                </c:pt>
                <c:pt idx="3527">
                  <c:v>779.59770000000003</c:v>
                </c:pt>
                <c:pt idx="3528">
                  <c:v>718.38120000000004</c:v>
                </c:pt>
                <c:pt idx="3529">
                  <c:v>704.29579999999999</c:v>
                </c:pt>
                <c:pt idx="3530">
                  <c:v>685.12990000000002</c:v>
                </c:pt>
                <c:pt idx="3531">
                  <c:v>678.89580000000001</c:v>
                </c:pt>
                <c:pt idx="3532">
                  <c:v>671.26530000000002</c:v>
                </c:pt>
                <c:pt idx="3533">
                  <c:v>714.73209999999995</c:v>
                </c:pt>
                <c:pt idx="3534">
                  <c:v>877.56089999999995</c:v>
                </c:pt>
                <c:pt idx="3535">
                  <c:v>972.05269999999996</c:v>
                </c:pt>
                <c:pt idx="3536">
                  <c:v>1053.3483000000001</c:v>
                </c:pt>
                <c:pt idx="3537">
                  <c:v>1050.1713</c:v>
                </c:pt>
                <c:pt idx="3538">
                  <c:v>1054.4287999999999</c:v>
                </c:pt>
                <c:pt idx="3539">
                  <c:v>1019.9943</c:v>
                </c:pt>
                <c:pt idx="3540">
                  <c:v>1043.8115</c:v>
                </c:pt>
                <c:pt idx="3541">
                  <c:v>1045.6158</c:v>
                </c:pt>
                <c:pt idx="3542">
                  <c:v>1024.3081</c:v>
                </c:pt>
                <c:pt idx="3543">
                  <c:v>1020.4832</c:v>
                </c:pt>
                <c:pt idx="3544">
                  <c:v>988.97040000000004</c:v>
                </c:pt>
                <c:pt idx="3545">
                  <c:v>991.98360000000002</c:v>
                </c:pt>
                <c:pt idx="3546">
                  <c:v>965.30280000000005</c:v>
                </c:pt>
                <c:pt idx="3547">
                  <c:v>940.08810000000005</c:v>
                </c:pt>
                <c:pt idx="3548">
                  <c:v>918.89290000000005</c:v>
                </c:pt>
                <c:pt idx="3549">
                  <c:v>884.40070000000003</c:v>
                </c:pt>
                <c:pt idx="3550">
                  <c:v>829.47519999999997</c:v>
                </c:pt>
                <c:pt idx="3551">
                  <c:v>752.53639999999996</c:v>
                </c:pt>
                <c:pt idx="3552">
                  <c:v>694.66729999999995</c:v>
                </c:pt>
                <c:pt idx="3553">
                  <c:v>673.76080000000002</c:v>
                </c:pt>
                <c:pt idx="3554">
                  <c:v>654.14430000000004</c:v>
                </c:pt>
                <c:pt idx="3555">
                  <c:v>659.1739</c:v>
                </c:pt>
                <c:pt idx="3556">
                  <c:v>650.50660000000005</c:v>
                </c:pt>
                <c:pt idx="3557">
                  <c:v>701.44899999999996</c:v>
                </c:pt>
                <c:pt idx="3558">
                  <c:v>851.86940000000004</c:v>
                </c:pt>
                <c:pt idx="3559">
                  <c:v>959.20460000000003</c:v>
                </c:pt>
                <c:pt idx="3560">
                  <c:v>1052.5275999999999</c:v>
                </c:pt>
                <c:pt idx="3561">
                  <c:v>1048.3810000000001</c:v>
                </c:pt>
                <c:pt idx="3562">
                  <c:v>1048.4387999999999</c:v>
                </c:pt>
                <c:pt idx="3563">
                  <c:v>1015.3367</c:v>
                </c:pt>
                <c:pt idx="3564">
                  <c:v>1031.9297999999999</c:v>
                </c:pt>
                <c:pt idx="3565">
                  <c:v>1010.446</c:v>
                </c:pt>
                <c:pt idx="3566">
                  <c:v>987.14859999999999</c:v>
                </c:pt>
                <c:pt idx="3567">
                  <c:v>970.86680000000001</c:v>
                </c:pt>
                <c:pt idx="3568">
                  <c:v>935.18330000000003</c:v>
                </c:pt>
                <c:pt idx="3569">
                  <c:v>935.37649999999996</c:v>
                </c:pt>
                <c:pt idx="3570">
                  <c:v>919.21510000000001</c:v>
                </c:pt>
                <c:pt idx="3571">
                  <c:v>901.0865</c:v>
                </c:pt>
                <c:pt idx="3572">
                  <c:v>913.27110000000005</c:v>
                </c:pt>
                <c:pt idx="3573">
                  <c:v>888.34320000000002</c:v>
                </c:pt>
                <c:pt idx="3574">
                  <c:v>846.39480000000003</c:v>
                </c:pt>
                <c:pt idx="3575">
                  <c:v>782.5222</c:v>
                </c:pt>
                <c:pt idx="3576">
                  <c:v>741.32889999999998</c:v>
                </c:pt>
                <c:pt idx="3577">
                  <c:v>714.07830000000001</c:v>
                </c:pt>
                <c:pt idx="3578">
                  <c:v>697.94169999999997</c:v>
                </c:pt>
                <c:pt idx="3579">
                  <c:v>684.19949999999994</c:v>
                </c:pt>
                <c:pt idx="3580">
                  <c:v>680.79430000000002</c:v>
                </c:pt>
                <c:pt idx="3581">
                  <c:v>738.10170000000005</c:v>
                </c:pt>
                <c:pt idx="3582">
                  <c:v>863.24149999999997</c:v>
                </c:pt>
                <c:pt idx="3583">
                  <c:v>959.32680000000005</c:v>
                </c:pt>
                <c:pt idx="3584">
                  <c:v>1034.3800000000001</c:v>
                </c:pt>
                <c:pt idx="3585">
                  <c:v>1022.0246</c:v>
                </c:pt>
                <c:pt idx="3586">
                  <c:v>1012.8755</c:v>
                </c:pt>
                <c:pt idx="3587">
                  <c:v>993.21439999999996</c:v>
                </c:pt>
                <c:pt idx="3588">
                  <c:v>1006.7102</c:v>
                </c:pt>
                <c:pt idx="3589">
                  <c:v>1005.5674</c:v>
                </c:pt>
                <c:pt idx="3590">
                  <c:v>998.87300000000005</c:v>
                </c:pt>
                <c:pt idx="3591">
                  <c:v>980.4597</c:v>
                </c:pt>
                <c:pt idx="3592">
                  <c:v>950.58550000000002</c:v>
                </c:pt>
                <c:pt idx="3593">
                  <c:v>940.00739999999996</c:v>
                </c:pt>
                <c:pt idx="3594">
                  <c:v>929.35860000000002</c:v>
                </c:pt>
                <c:pt idx="3595">
                  <c:v>919.41880000000003</c:v>
                </c:pt>
                <c:pt idx="3596">
                  <c:v>897.20360000000005</c:v>
                </c:pt>
                <c:pt idx="3597">
                  <c:v>883.11159999999995</c:v>
                </c:pt>
                <c:pt idx="3598">
                  <c:v>849.34010000000001</c:v>
                </c:pt>
                <c:pt idx="3599">
                  <c:v>772.4067</c:v>
                </c:pt>
                <c:pt idx="3600">
                  <c:v>733.91089999999997</c:v>
                </c:pt>
                <c:pt idx="3601">
                  <c:v>706.80550000000005</c:v>
                </c:pt>
                <c:pt idx="3602">
                  <c:v>678.15769999999998</c:v>
                </c:pt>
                <c:pt idx="3603">
                  <c:v>640.81759999999997</c:v>
                </c:pt>
                <c:pt idx="3604">
                  <c:v>630.77589999999998</c:v>
                </c:pt>
                <c:pt idx="3605">
                  <c:v>692.88750000000005</c:v>
                </c:pt>
                <c:pt idx="3606">
                  <c:v>836.62750000000005</c:v>
                </c:pt>
                <c:pt idx="3607">
                  <c:v>960.38019999999995</c:v>
                </c:pt>
                <c:pt idx="3608">
                  <c:v>1044.8701000000001</c:v>
                </c:pt>
                <c:pt idx="3609">
                  <c:v>1070.4124999999999</c:v>
                </c:pt>
                <c:pt idx="3610">
                  <c:v>1062.3361</c:v>
                </c:pt>
                <c:pt idx="3611">
                  <c:v>1028.5204000000001</c:v>
                </c:pt>
                <c:pt idx="3612">
                  <c:v>1032.3280999999999</c:v>
                </c:pt>
                <c:pt idx="3613">
                  <c:v>1023.0008</c:v>
                </c:pt>
                <c:pt idx="3614">
                  <c:v>999.64089999999999</c:v>
                </c:pt>
                <c:pt idx="3615">
                  <c:v>973.12199999999996</c:v>
                </c:pt>
                <c:pt idx="3616">
                  <c:v>937.7473</c:v>
                </c:pt>
                <c:pt idx="3617">
                  <c:v>924.18359999999996</c:v>
                </c:pt>
                <c:pt idx="3618">
                  <c:v>894.47170000000006</c:v>
                </c:pt>
                <c:pt idx="3619">
                  <c:v>883.49360000000001</c:v>
                </c:pt>
                <c:pt idx="3620">
                  <c:v>874.06320000000005</c:v>
                </c:pt>
                <c:pt idx="3621">
                  <c:v>834.74189999999999</c:v>
                </c:pt>
                <c:pt idx="3622">
                  <c:v>824.28549999999996</c:v>
                </c:pt>
                <c:pt idx="3623">
                  <c:v>762.8279</c:v>
                </c:pt>
                <c:pt idx="3624">
                  <c:v>710.23580000000004</c:v>
                </c:pt>
                <c:pt idx="3625">
                  <c:v>686.62789999999995</c:v>
                </c:pt>
                <c:pt idx="3626">
                  <c:v>664.75540000000001</c:v>
                </c:pt>
                <c:pt idx="3627">
                  <c:v>635.7627</c:v>
                </c:pt>
                <c:pt idx="3628">
                  <c:v>622.20979999999997</c:v>
                </c:pt>
                <c:pt idx="3629">
                  <c:v>635.11109999999996</c:v>
                </c:pt>
                <c:pt idx="3630">
                  <c:v>666.44619999999998</c:v>
                </c:pt>
                <c:pt idx="3631">
                  <c:v>723.55939999999998</c:v>
                </c:pt>
                <c:pt idx="3632">
                  <c:v>791.43320000000006</c:v>
                </c:pt>
                <c:pt idx="3633">
                  <c:v>817.68240000000003</c:v>
                </c:pt>
                <c:pt idx="3634">
                  <c:v>803.30370000000005</c:v>
                </c:pt>
                <c:pt idx="3635">
                  <c:v>786.37009999999998</c:v>
                </c:pt>
                <c:pt idx="3636">
                  <c:v>772.83180000000004</c:v>
                </c:pt>
                <c:pt idx="3637">
                  <c:v>765.03060000000005</c:v>
                </c:pt>
                <c:pt idx="3638">
                  <c:v>766.15940000000001</c:v>
                </c:pt>
                <c:pt idx="3639">
                  <c:v>784.67819999999995</c:v>
                </c:pt>
                <c:pt idx="3640">
                  <c:v>784.83860000000004</c:v>
                </c:pt>
                <c:pt idx="3641">
                  <c:v>789.06700000000001</c:v>
                </c:pt>
                <c:pt idx="3642">
                  <c:v>788.87400000000002</c:v>
                </c:pt>
                <c:pt idx="3643">
                  <c:v>794.15719999999999</c:v>
                </c:pt>
                <c:pt idx="3644">
                  <c:v>785.02779999999996</c:v>
                </c:pt>
                <c:pt idx="3645">
                  <c:v>776.47410000000002</c:v>
                </c:pt>
                <c:pt idx="3646">
                  <c:v>763.31169999999997</c:v>
                </c:pt>
                <c:pt idx="3647">
                  <c:v>721.702</c:v>
                </c:pt>
                <c:pt idx="3648">
                  <c:v>658.68920000000003</c:v>
                </c:pt>
                <c:pt idx="3649">
                  <c:v>626.69719999999995</c:v>
                </c:pt>
                <c:pt idx="3650">
                  <c:v>594.30060000000003</c:v>
                </c:pt>
                <c:pt idx="3651">
                  <c:v>591.59400000000005</c:v>
                </c:pt>
                <c:pt idx="3652">
                  <c:v>565.59659999999997</c:v>
                </c:pt>
                <c:pt idx="3653">
                  <c:v>587.48469999999998</c:v>
                </c:pt>
                <c:pt idx="3654">
                  <c:v>625.59479999999996</c:v>
                </c:pt>
                <c:pt idx="3655">
                  <c:v>678.76260000000002</c:v>
                </c:pt>
                <c:pt idx="3656">
                  <c:v>752.97249999999997</c:v>
                </c:pt>
                <c:pt idx="3657">
                  <c:v>783.01009999999997</c:v>
                </c:pt>
                <c:pt idx="3658">
                  <c:v>808.35979999999995</c:v>
                </c:pt>
                <c:pt idx="3659">
                  <c:v>802.7817</c:v>
                </c:pt>
                <c:pt idx="3660">
                  <c:v>792.28150000000005</c:v>
                </c:pt>
                <c:pt idx="3661">
                  <c:v>782.92020000000002</c:v>
                </c:pt>
                <c:pt idx="3662">
                  <c:v>783.62009999999998</c:v>
                </c:pt>
                <c:pt idx="3663">
                  <c:v>777.16409999999996</c:v>
                </c:pt>
                <c:pt idx="3664">
                  <c:v>775.697</c:v>
                </c:pt>
                <c:pt idx="3665">
                  <c:v>779.14549999999997</c:v>
                </c:pt>
                <c:pt idx="3666">
                  <c:v>787.49170000000004</c:v>
                </c:pt>
                <c:pt idx="3667">
                  <c:v>779.23929999999996</c:v>
                </c:pt>
                <c:pt idx="3668">
                  <c:v>791.447</c:v>
                </c:pt>
                <c:pt idx="3669">
                  <c:v>767.89</c:v>
                </c:pt>
                <c:pt idx="3670">
                  <c:v>744.80219999999997</c:v>
                </c:pt>
                <c:pt idx="3671">
                  <c:v>695.38750000000005</c:v>
                </c:pt>
                <c:pt idx="3672">
                  <c:v>643.34349999999995</c:v>
                </c:pt>
                <c:pt idx="3673">
                  <c:v>614.49980000000005</c:v>
                </c:pt>
                <c:pt idx="3674">
                  <c:v>617.29290000000003</c:v>
                </c:pt>
                <c:pt idx="3675">
                  <c:v>579.61180000000002</c:v>
                </c:pt>
                <c:pt idx="3676">
                  <c:v>585.58330000000001</c:v>
                </c:pt>
                <c:pt idx="3677">
                  <c:v>628.73900000000003</c:v>
                </c:pt>
                <c:pt idx="3678">
                  <c:v>763.07600000000002</c:v>
                </c:pt>
                <c:pt idx="3679">
                  <c:v>870.76049999999998</c:v>
                </c:pt>
                <c:pt idx="3680">
                  <c:v>941.23260000000005</c:v>
                </c:pt>
                <c:pt idx="3681">
                  <c:v>945.3596</c:v>
                </c:pt>
                <c:pt idx="3682">
                  <c:v>946.3605</c:v>
                </c:pt>
                <c:pt idx="3683">
                  <c:v>916.03449999999998</c:v>
                </c:pt>
                <c:pt idx="3684">
                  <c:v>929.33180000000004</c:v>
                </c:pt>
                <c:pt idx="3685">
                  <c:v>931.31029999999998</c:v>
                </c:pt>
                <c:pt idx="3686">
                  <c:v>929.55589999999995</c:v>
                </c:pt>
                <c:pt idx="3687">
                  <c:v>913.77919999999995</c:v>
                </c:pt>
                <c:pt idx="3688">
                  <c:v>893.07619999999997</c:v>
                </c:pt>
                <c:pt idx="3689">
                  <c:v>895.36180000000002</c:v>
                </c:pt>
                <c:pt idx="3690">
                  <c:v>874.09529999999995</c:v>
                </c:pt>
                <c:pt idx="3691">
                  <c:v>860.33820000000003</c:v>
                </c:pt>
                <c:pt idx="3692">
                  <c:v>857.04660000000001</c:v>
                </c:pt>
                <c:pt idx="3693">
                  <c:v>818.95429999999999</c:v>
                </c:pt>
                <c:pt idx="3694">
                  <c:v>783.84280000000001</c:v>
                </c:pt>
                <c:pt idx="3695">
                  <c:v>705.06219999999996</c:v>
                </c:pt>
                <c:pt idx="3696">
                  <c:v>653.48310000000004</c:v>
                </c:pt>
                <c:pt idx="3697">
                  <c:v>627.73810000000003</c:v>
                </c:pt>
                <c:pt idx="3698">
                  <c:v>619.95309999999995</c:v>
                </c:pt>
                <c:pt idx="3699">
                  <c:v>598.54430000000002</c:v>
                </c:pt>
                <c:pt idx="3700">
                  <c:v>587.09609999999998</c:v>
                </c:pt>
                <c:pt idx="3701">
                  <c:v>641.94069999999999</c:v>
                </c:pt>
                <c:pt idx="3702">
                  <c:v>774.27719999999999</c:v>
                </c:pt>
                <c:pt idx="3703">
                  <c:v>891.11159999999995</c:v>
                </c:pt>
                <c:pt idx="3704">
                  <c:v>967.20069999999998</c:v>
                </c:pt>
                <c:pt idx="3705">
                  <c:v>968.94569999999999</c:v>
                </c:pt>
                <c:pt idx="3706">
                  <c:v>969.14179999999999</c:v>
                </c:pt>
                <c:pt idx="3707">
                  <c:v>964.96630000000005</c:v>
                </c:pt>
                <c:pt idx="3708">
                  <c:v>980.9864</c:v>
                </c:pt>
                <c:pt idx="3709">
                  <c:v>990.3125</c:v>
                </c:pt>
                <c:pt idx="3710">
                  <c:v>944.64919999999995</c:v>
                </c:pt>
                <c:pt idx="3711">
                  <c:v>933.51340000000005</c:v>
                </c:pt>
                <c:pt idx="3712">
                  <c:v>908.72339999999997</c:v>
                </c:pt>
                <c:pt idx="3713">
                  <c:v>917.43129999999996</c:v>
                </c:pt>
                <c:pt idx="3714">
                  <c:v>879.70899999999995</c:v>
                </c:pt>
                <c:pt idx="3715">
                  <c:v>870.97990000000004</c:v>
                </c:pt>
                <c:pt idx="3716">
                  <c:v>859.20429999999999</c:v>
                </c:pt>
                <c:pt idx="3717">
                  <c:v>825.77509999999995</c:v>
                </c:pt>
                <c:pt idx="3718">
                  <c:v>781.35</c:v>
                </c:pt>
                <c:pt idx="3719">
                  <c:v>699.02099999999996</c:v>
                </c:pt>
                <c:pt idx="3720">
                  <c:v>670.53610000000003</c:v>
                </c:pt>
                <c:pt idx="3721">
                  <c:v>612.05340000000001</c:v>
                </c:pt>
                <c:pt idx="3722">
                  <c:v>619.10479999999995</c:v>
                </c:pt>
                <c:pt idx="3723">
                  <c:v>565.47439999999995</c:v>
                </c:pt>
                <c:pt idx="3724">
                  <c:v>576.72090000000003</c:v>
                </c:pt>
                <c:pt idx="3725">
                  <c:v>632.83720000000005</c:v>
                </c:pt>
                <c:pt idx="3726">
                  <c:v>775.37919999999997</c:v>
                </c:pt>
                <c:pt idx="3727">
                  <c:v>885.69209999999998</c:v>
                </c:pt>
                <c:pt idx="3728">
                  <c:v>981.77290000000005</c:v>
                </c:pt>
                <c:pt idx="3729">
                  <c:v>990.95479999999998</c:v>
                </c:pt>
                <c:pt idx="3730">
                  <c:v>990.06470000000002</c:v>
                </c:pt>
                <c:pt idx="3731">
                  <c:v>967.03139999999996</c:v>
                </c:pt>
                <c:pt idx="3732">
                  <c:v>980.42330000000004</c:v>
                </c:pt>
                <c:pt idx="3733">
                  <c:v>969.30880000000002</c:v>
                </c:pt>
                <c:pt idx="3734">
                  <c:v>976.05129999999997</c:v>
                </c:pt>
                <c:pt idx="3735">
                  <c:v>971.30200000000002</c:v>
                </c:pt>
                <c:pt idx="3736">
                  <c:v>934.68219999999997</c:v>
                </c:pt>
                <c:pt idx="3737">
                  <c:v>937.06569999999999</c:v>
                </c:pt>
                <c:pt idx="3738">
                  <c:v>904.75729999999999</c:v>
                </c:pt>
                <c:pt idx="3739">
                  <c:v>885.15070000000003</c:v>
                </c:pt>
                <c:pt idx="3740">
                  <c:v>870.67499999999995</c:v>
                </c:pt>
                <c:pt idx="3741">
                  <c:v>842.67499999999995</c:v>
                </c:pt>
                <c:pt idx="3742">
                  <c:v>799.42250000000001</c:v>
                </c:pt>
                <c:pt idx="3743">
                  <c:v>722.28639999999996</c:v>
                </c:pt>
                <c:pt idx="3744">
                  <c:v>647.66579999999999</c:v>
                </c:pt>
                <c:pt idx="3745">
                  <c:v>634.63869999999997</c:v>
                </c:pt>
                <c:pt idx="3746">
                  <c:v>623.93730000000005</c:v>
                </c:pt>
                <c:pt idx="3747">
                  <c:v>628.49260000000004</c:v>
                </c:pt>
                <c:pt idx="3748">
                  <c:v>628.98239999999998</c:v>
                </c:pt>
                <c:pt idx="3749">
                  <c:v>669.24630000000002</c:v>
                </c:pt>
                <c:pt idx="3750">
                  <c:v>813.17759999999998</c:v>
                </c:pt>
                <c:pt idx="3751">
                  <c:v>940.41499999999996</c:v>
                </c:pt>
                <c:pt idx="3752">
                  <c:v>1030.17</c:v>
                </c:pt>
                <c:pt idx="3753">
                  <c:v>1035.0018</c:v>
                </c:pt>
                <c:pt idx="3754">
                  <c:v>1035.3121000000001</c:v>
                </c:pt>
                <c:pt idx="3755">
                  <c:v>1017.8423</c:v>
                </c:pt>
                <c:pt idx="3756">
                  <c:v>1036.1012000000001</c:v>
                </c:pt>
                <c:pt idx="3757">
                  <c:v>1023.3641</c:v>
                </c:pt>
                <c:pt idx="3758">
                  <c:v>1013.759</c:v>
                </c:pt>
                <c:pt idx="3759">
                  <c:v>1011.2194</c:v>
                </c:pt>
                <c:pt idx="3760">
                  <c:v>971.05790000000002</c:v>
                </c:pt>
                <c:pt idx="3761">
                  <c:v>971.77620000000002</c:v>
                </c:pt>
                <c:pt idx="3762">
                  <c:v>943.70389999999998</c:v>
                </c:pt>
                <c:pt idx="3763">
                  <c:v>936.26149999999996</c:v>
                </c:pt>
                <c:pt idx="3764">
                  <c:v>910.97609999999997</c:v>
                </c:pt>
                <c:pt idx="3765">
                  <c:v>878.62159999999994</c:v>
                </c:pt>
                <c:pt idx="3766">
                  <c:v>822.73710000000005</c:v>
                </c:pt>
                <c:pt idx="3767">
                  <c:v>758.43489999999997</c:v>
                </c:pt>
                <c:pt idx="3768">
                  <c:v>710.80420000000004</c:v>
                </c:pt>
                <c:pt idx="3769">
                  <c:v>679.06629999999996</c:v>
                </c:pt>
                <c:pt idx="3770">
                  <c:v>650.24639999999999</c:v>
                </c:pt>
                <c:pt idx="3771">
                  <c:v>621.62429999999995</c:v>
                </c:pt>
                <c:pt idx="3772">
                  <c:v>623.375</c:v>
                </c:pt>
                <c:pt idx="3773">
                  <c:v>679.80909999999994</c:v>
                </c:pt>
                <c:pt idx="3774">
                  <c:v>818.5566</c:v>
                </c:pt>
                <c:pt idx="3775">
                  <c:v>941.73220000000003</c:v>
                </c:pt>
                <c:pt idx="3776">
                  <c:v>1013.7430000000001</c:v>
                </c:pt>
                <c:pt idx="3777">
                  <c:v>1032.6747</c:v>
                </c:pt>
                <c:pt idx="3778">
                  <c:v>1040.2288000000001</c:v>
                </c:pt>
                <c:pt idx="3779">
                  <c:v>1014.5635</c:v>
                </c:pt>
                <c:pt idx="3780">
                  <c:v>1029.5009</c:v>
                </c:pt>
                <c:pt idx="3781">
                  <c:v>1033.1886</c:v>
                </c:pt>
                <c:pt idx="3782">
                  <c:v>1010.0737</c:v>
                </c:pt>
                <c:pt idx="3783">
                  <c:v>982.00519999999995</c:v>
                </c:pt>
                <c:pt idx="3784">
                  <c:v>951.84690000000001</c:v>
                </c:pt>
                <c:pt idx="3785">
                  <c:v>945.59619999999995</c:v>
                </c:pt>
                <c:pt idx="3786">
                  <c:v>894.25800000000004</c:v>
                </c:pt>
                <c:pt idx="3787">
                  <c:v>881.30290000000002</c:v>
                </c:pt>
                <c:pt idx="3788">
                  <c:v>867.42330000000004</c:v>
                </c:pt>
                <c:pt idx="3789">
                  <c:v>842.34820000000002</c:v>
                </c:pt>
                <c:pt idx="3790">
                  <c:v>816.26369999999997</c:v>
                </c:pt>
                <c:pt idx="3791">
                  <c:v>756.20119999999997</c:v>
                </c:pt>
                <c:pt idx="3792">
                  <c:v>711.82860000000005</c:v>
                </c:pt>
                <c:pt idx="3793">
                  <c:v>680.49980000000005</c:v>
                </c:pt>
                <c:pt idx="3794">
                  <c:v>651.23630000000003</c:v>
                </c:pt>
                <c:pt idx="3795">
                  <c:v>619.24369999999999</c:v>
                </c:pt>
                <c:pt idx="3796">
                  <c:v>616.8845</c:v>
                </c:pt>
                <c:pt idx="3797">
                  <c:v>611.37789999999995</c:v>
                </c:pt>
                <c:pt idx="3798">
                  <c:v>652.37909999999999</c:v>
                </c:pt>
                <c:pt idx="3799">
                  <c:v>702.49220000000003</c:v>
                </c:pt>
                <c:pt idx="3800">
                  <c:v>780.42160000000001</c:v>
                </c:pt>
                <c:pt idx="3801">
                  <c:v>820.73910000000001</c:v>
                </c:pt>
                <c:pt idx="3802">
                  <c:v>821.74789999999996</c:v>
                </c:pt>
                <c:pt idx="3803">
                  <c:v>815.33349999999996</c:v>
                </c:pt>
                <c:pt idx="3804">
                  <c:v>800.79859999999996</c:v>
                </c:pt>
                <c:pt idx="3805">
                  <c:v>796.40620000000001</c:v>
                </c:pt>
                <c:pt idx="3806">
                  <c:v>794.39279999999997</c:v>
                </c:pt>
                <c:pt idx="3807">
                  <c:v>786.22479999999996</c:v>
                </c:pt>
                <c:pt idx="3808">
                  <c:v>795.25710000000004</c:v>
                </c:pt>
                <c:pt idx="3809">
                  <c:v>796.35029999999995</c:v>
                </c:pt>
                <c:pt idx="3810">
                  <c:v>783.41520000000003</c:v>
                </c:pt>
                <c:pt idx="3811">
                  <c:v>775.71209999999996</c:v>
                </c:pt>
                <c:pt idx="3812">
                  <c:v>772.85040000000004</c:v>
                </c:pt>
                <c:pt idx="3813">
                  <c:v>753.40499999999997</c:v>
                </c:pt>
                <c:pt idx="3814">
                  <c:v>740.09839999999997</c:v>
                </c:pt>
                <c:pt idx="3815">
                  <c:v>697.46280000000002</c:v>
                </c:pt>
                <c:pt idx="3816">
                  <c:v>647.68889999999999</c:v>
                </c:pt>
                <c:pt idx="3817">
                  <c:v>612.26909999999998</c:v>
                </c:pt>
                <c:pt idx="3818">
                  <c:v>585.05510000000004</c:v>
                </c:pt>
                <c:pt idx="3819">
                  <c:v>559.37950000000001</c:v>
                </c:pt>
                <c:pt idx="3820">
                  <c:v>552.95809999999994</c:v>
                </c:pt>
                <c:pt idx="3821">
                  <c:v>558.4819</c:v>
                </c:pt>
                <c:pt idx="3822">
                  <c:v>593.32370000000003</c:v>
                </c:pt>
                <c:pt idx="3823">
                  <c:v>648.04049999999995</c:v>
                </c:pt>
                <c:pt idx="3824">
                  <c:v>710.17179999999996</c:v>
                </c:pt>
                <c:pt idx="3825">
                  <c:v>762.86490000000003</c:v>
                </c:pt>
                <c:pt idx="3826">
                  <c:v>773.11609999999996</c:v>
                </c:pt>
                <c:pt idx="3827">
                  <c:v>763.11959999999999</c:v>
                </c:pt>
                <c:pt idx="3828">
                  <c:v>744.78880000000004</c:v>
                </c:pt>
                <c:pt idx="3829">
                  <c:v>741.08690000000001</c:v>
                </c:pt>
                <c:pt idx="3830">
                  <c:v>733.50350000000003</c:v>
                </c:pt>
                <c:pt idx="3831">
                  <c:v>736.33140000000003</c:v>
                </c:pt>
                <c:pt idx="3832">
                  <c:v>743.16129999999998</c:v>
                </c:pt>
                <c:pt idx="3833">
                  <c:v>770.65229999999997</c:v>
                </c:pt>
                <c:pt idx="3834">
                  <c:v>776.66110000000003</c:v>
                </c:pt>
                <c:pt idx="3835">
                  <c:v>791.42319999999995</c:v>
                </c:pt>
                <c:pt idx="3836">
                  <c:v>781.16240000000005</c:v>
                </c:pt>
                <c:pt idx="3837">
                  <c:v>758.25779999999997</c:v>
                </c:pt>
                <c:pt idx="3838">
                  <c:v>733.75149999999996</c:v>
                </c:pt>
                <c:pt idx="3839">
                  <c:v>692.96559999999999</c:v>
                </c:pt>
                <c:pt idx="3840">
                  <c:v>648.70010000000002</c:v>
                </c:pt>
                <c:pt idx="3841">
                  <c:v>616.80340000000001</c:v>
                </c:pt>
                <c:pt idx="3842">
                  <c:v>601.21040000000005</c:v>
                </c:pt>
                <c:pt idx="3843">
                  <c:v>576.62090000000001</c:v>
                </c:pt>
                <c:pt idx="3844">
                  <c:v>571.06470000000002</c:v>
                </c:pt>
                <c:pt idx="3845">
                  <c:v>635.00559999999996</c:v>
                </c:pt>
                <c:pt idx="3846">
                  <c:v>757.83280000000002</c:v>
                </c:pt>
                <c:pt idx="3847">
                  <c:v>876.37760000000003</c:v>
                </c:pt>
                <c:pt idx="3848">
                  <c:v>975.57770000000005</c:v>
                </c:pt>
                <c:pt idx="3849">
                  <c:v>974.04470000000003</c:v>
                </c:pt>
                <c:pt idx="3850">
                  <c:v>971.72709999999995</c:v>
                </c:pt>
                <c:pt idx="3851">
                  <c:v>962.58540000000005</c:v>
                </c:pt>
                <c:pt idx="3852">
                  <c:v>977.84450000000004</c:v>
                </c:pt>
                <c:pt idx="3853">
                  <c:v>966.84960000000001</c:v>
                </c:pt>
                <c:pt idx="3854">
                  <c:v>972.96220000000005</c:v>
                </c:pt>
                <c:pt idx="3855">
                  <c:v>974.47019999999998</c:v>
                </c:pt>
                <c:pt idx="3856">
                  <c:v>939.22749999999996</c:v>
                </c:pt>
                <c:pt idx="3857">
                  <c:v>914.24339999999995</c:v>
                </c:pt>
                <c:pt idx="3858">
                  <c:v>885.38649999999996</c:v>
                </c:pt>
                <c:pt idx="3859">
                  <c:v>898.48979999999995</c:v>
                </c:pt>
                <c:pt idx="3860">
                  <c:v>884.99289999999996</c:v>
                </c:pt>
                <c:pt idx="3861">
                  <c:v>855.68399999999997</c:v>
                </c:pt>
                <c:pt idx="3862">
                  <c:v>824.45159999999998</c:v>
                </c:pt>
                <c:pt idx="3863">
                  <c:v>750.87300000000005</c:v>
                </c:pt>
                <c:pt idx="3864">
                  <c:v>681.60249999999996</c:v>
                </c:pt>
                <c:pt idx="3865">
                  <c:v>656.28959999999995</c:v>
                </c:pt>
                <c:pt idx="3866">
                  <c:v>644.62009999999998</c:v>
                </c:pt>
                <c:pt idx="3867">
                  <c:v>613.50540000000001</c:v>
                </c:pt>
                <c:pt idx="3868">
                  <c:v>611.2047</c:v>
                </c:pt>
                <c:pt idx="3869">
                  <c:v>664.19889999999998</c:v>
                </c:pt>
                <c:pt idx="3870">
                  <c:v>798.40060000000005</c:v>
                </c:pt>
                <c:pt idx="3871">
                  <c:v>915.84299999999996</c:v>
                </c:pt>
                <c:pt idx="3872">
                  <c:v>995.75829999999996</c:v>
                </c:pt>
                <c:pt idx="3873">
                  <c:v>996.51020000000005</c:v>
                </c:pt>
                <c:pt idx="3874">
                  <c:v>1006.3586</c:v>
                </c:pt>
                <c:pt idx="3875">
                  <c:v>989.89940000000001</c:v>
                </c:pt>
                <c:pt idx="3876">
                  <c:v>1039.9039</c:v>
                </c:pt>
                <c:pt idx="3877">
                  <c:v>1039.4185</c:v>
                </c:pt>
                <c:pt idx="3878">
                  <c:v>1024.0951</c:v>
                </c:pt>
                <c:pt idx="3879">
                  <c:v>1003.6845</c:v>
                </c:pt>
                <c:pt idx="3880">
                  <c:v>980.09870000000001</c:v>
                </c:pt>
                <c:pt idx="3881">
                  <c:v>966.62139999999999</c:v>
                </c:pt>
                <c:pt idx="3882">
                  <c:v>926.02809999999999</c:v>
                </c:pt>
                <c:pt idx="3883">
                  <c:v>919.83839999999998</c:v>
                </c:pt>
                <c:pt idx="3884">
                  <c:v>913.6472</c:v>
                </c:pt>
                <c:pt idx="3885">
                  <c:v>876.62959999999998</c:v>
                </c:pt>
                <c:pt idx="3886">
                  <c:v>823.04570000000001</c:v>
                </c:pt>
                <c:pt idx="3887">
                  <c:v>755.52869999999996</c:v>
                </c:pt>
                <c:pt idx="3888">
                  <c:v>702.74590000000001</c:v>
                </c:pt>
                <c:pt idx="3889">
                  <c:v>675.01279999999997</c:v>
                </c:pt>
                <c:pt idx="3890">
                  <c:v>661.58259999999996</c:v>
                </c:pt>
                <c:pt idx="3891">
                  <c:v>631.03920000000005</c:v>
                </c:pt>
                <c:pt idx="3892">
                  <c:v>630.88589999999999</c:v>
                </c:pt>
                <c:pt idx="3893">
                  <c:v>682.00450000000001</c:v>
                </c:pt>
                <c:pt idx="3894">
                  <c:v>805.83889999999997</c:v>
                </c:pt>
                <c:pt idx="3895">
                  <c:v>919.94849999999997</c:v>
                </c:pt>
                <c:pt idx="3896">
                  <c:v>988.26639999999998</c:v>
                </c:pt>
                <c:pt idx="3897">
                  <c:v>997.7971</c:v>
                </c:pt>
                <c:pt idx="3898">
                  <c:v>996.72059999999999</c:v>
                </c:pt>
                <c:pt idx="3899">
                  <c:v>981.52359999999999</c:v>
                </c:pt>
                <c:pt idx="3900">
                  <c:v>1001.5449</c:v>
                </c:pt>
                <c:pt idx="3901">
                  <c:v>1000.4118999999999</c:v>
                </c:pt>
                <c:pt idx="3902">
                  <c:v>988.77290000000005</c:v>
                </c:pt>
                <c:pt idx="3903">
                  <c:v>980.69870000000003</c:v>
                </c:pt>
                <c:pt idx="3904">
                  <c:v>952.56489999999997</c:v>
                </c:pt>
                <c:pt idx="3905">
                  <c:v>935.13620000000003</c:v>
                </c:pt>
                <c:pt idx="3906">
                  <c:v>914.52520000000004</c:v>
                </c:pt>
                <c:pt idx="3907">
                  <c:v>910.42290000000003</c:v>
                </c:pt>
                <c:pt idx="3908">
                  <c:v>889.81010000000003</c:v>
                </c:pt>
                <c:pt idx="3909">
                  <c:v>848.67579999999998</c:v>
                </c:pt>
                <c:pt idx="3910">
                  <c:v>798.69240000000002</c:v>
                </c:pt>
                <c:pt idx="3911">
                  <c:v>765.16399999999999</c:v>
                </c:pt>
                <c:pt idx="3912">
                  <c:v>701.75689999999997</c:v>
                </c:pt>
                <c:pt idx="3913">
                  <c:v>663.36239999999998</c:v>
                </c:pt>
                <c:pt idx="3914">
                  <c:v>642.32899999999995</c:v>
                </c:pt>
                <c:pt idx="3915">
                  <c:v>628.02560000000005</c:v>
                </c:pt>
                <c:pt idx="3916">
                  <c:v>622.4769</c:v>
                </c:pt>
                <c:pt idx="3917">
                  <c:v>677.47220000000004</c:v>
                </c:pt>
                <c:pt idx="3918">
                  <c:v>816.72799999999995</c:v>
                </c:pt>
                <c:pt idx="3919">
                  <c:v>932.33</c:v>
                </c:pt>
                <c:pt idx="3920">
                  <c:v>1027.8972000000001</c:v>
                </c:pt>
                <c:pt idx="3921">
                  <c:v>1058.3429000000001</c:v>
                </c:pt>
                <c:pt idx="3922">
                  <c:v>1043.5281</c:v>
                </c:pt>
                <c:pt idx="3923">
                  <c:v>1008.3467000000001</c:v>
                </c:pt>
                <c:pt idx="3924">
                  <c:v>1018.8151</c:v>
                </c:pt>
                <c:pt idx="3925">
                  <c:v>1008.3203999999999</c:v>
                </c:pt>
                <c:pt idx="3926">
                  <c:v>1013.6415</c:v>
                </c:pt>
                <c:pt idx="3927">
                  <c:v>1021.7549</c:v>
                </c:pt>
                <c:pt idx="3928">
                  <c:v>986.08659999999998</c:v>
                </c:pt>
                <c:pt idx="3929">
                  <c:v>989.68259999999998</c:v>
                </c:pt>
                <c:pt idx="3930">
                  <c:v>964.08510000000001</c:v>
                </c:pt>
                <c:pt idx="3931">
                  <c:v>945.21270000000004</c:v>
                </c:pt>
                <c:pt idx="3932">
                  <c:v>946.36289999999997</c:v>
                </c:pt>
                <c:pt idx="3933">
                  <c:v>927.3098</c:v>
                </c:pt>
                <c:pt idx="3934">
                  <c:v>873.25239999999997</c:v>
                </c:pt>
                <c:pt idx="3935">
                  <c:v>804.09649999999999</c:v>
                </c:pt>
                <c:pt idx="3936">
                  <c:v>753.64520000000005</c:v>
                </c:pt>
                <c:pt idx="3937">
                  <c:v>722.94579999999996</c:v>
                </c:pt>
                <c:pt idx="3938">
                  <c:v>712.73739999999998</c:v>
                </c:pt>
                <c:pt idx="3939">
                  <c:v>680.15359999999998</c:v>
                </c:pt>
                <c:pt idx="3940">
                  <c:v>670.50139999999999</c:v>
                </c:pt>
                <c:pt idx="3941">
                  <c:v>711.24549999999999</c:v>
                </c:pt>
                <c:pt idx="3942">
                  <c:v>839.27059999999994</c:v>
                </c:pt>
                <c:pt idx="3943">
                  <c:v>956.49429999999995</c:v>
                </c:pt>
                <c:pt idx="3944">
                  <c:v>1047.0150000000001</c:v>
                </c:pt>
                <c:pt idx="3945">
                  <c:v>1065.9005</c:v>
                </c:pt>
                <c:pt idx="3946">
                  <c:v>1082.5274999999999</c:v>
                </c:pt>
                <c:pt idx="3947">
                  <c:v>1067.5404000000001</c:v>
                </c:pt>
                <c:pt idx="3948">
                  <c:v>1073.1012000000001</c:v>
                </c:pt>
                <c:pt idx="3949">
                  <c:v>1066.5791999999999</c:v>
                </c:pt>
                <c:pt idx="3950">
                  <c:v>1048.8434999999999</c:v>
                </c:pt>
                <c:pt idx="3951">
                  <c:v>1019.9626</c:v>
                </c:pt>
                <c:pt idx="3952">
                  <c:v>980.86440000000005</c:v>
                </c:pt>
                <c:pt idx="3953">
                  <c:v>955.92660000000001</c:v>
                </c:pt>
                <c:pt idx="3954">
                  <c:v>934.7482</c:v>
                </c:pt>
                <c:pt idx="3955">
                  <c:v>907.57090000000005</c:v>
                </c:pt>
                <c:pt idx="3956">
                  <c:v>882.92460000000005</c:v>
                </c:pt>
                <c:pt idx="3957">
                  <c:v>848.39400000000001</c:v>
                </c:pt>
                <c:pt idx="3958">
                  <c:v>812.91309999999999</c:v>
                </c:pt>
                <c:pt idx="3959">
                  <c:v>771.13160000000005</c:v>
                </c:pt>
                <c:pt idx="3960">
                  <c:v>718.34550000000002</c:v>
                </c:pt>
                <c:pt idx="3961">
                  <c:v>666.82809999999995</c:v>
                </c:pt>
                <c:pt idx="3962">
                  <c:v>662.27800000000002</c:v>
                </c:pt>
                <c:pt idx="3963">
                  <c:v>620.81129999999996</c:v>
                </c:pt>
                <c:pt idx="3964">
                  <c:v>607.95699999999999</c:v>
                </c:pt>
                <c:pt idx="3965">
                  <c:v>627.31740000000002</c:v>
                </c:pt>
                <c:pt idx="3966">
                  <c:v>669.55439999999999</c:v>
                </c:pt>
                <c:pt idx="3967">
                  <c:v>730.83979999999997</c:v>
                </c:pt>
                <c:pt idx="3968">
                  <c:v>791.27499999999998</c:v>
                </c:pt>
                <c:pt idx="3969">
                  <c:v>824.10760000000005</c:v>
                </c:pt>
                <c:pt idx="3970">
                  <c:v>827.49490000000003</c:v>
                </c:pt>
                <c:pt idx="3971">
                  <c:v>813.68020000000001</c:v>
                </c:pt>
                <c:pt idx="3972">
                  <c:v>811.75120000000004</c:v>
                </c:pt>
                <c:pt idx="3973">
                  <c:v>801.84649999999999</c:v>
                </c:pt>
                <c:pt idx="3974">
                  <c:v>791.63800000000003</c:v>
                </c:pt>
                <c:pt idx="3975">
                  <c:v>780.71709999999996</c:v>
                </c:pt>
                <c:pt idx="3976">
                  <c:v>777.75540000000001</c:v>
                </c:pt>
                <c:pt idx="3977">
                  <c:v>781.20320000000004</c:v>
                </c:pt>
                <c:pt idx="3978">
                  <c:v>783.48760000000004</c:v>
                </c:pt>
                <c:pt idx="3979">
                  <c:v>783.2319</c:v>
                </c:pt>
                <c:pt idx="3980">
                  <c:v>772.68510000000003</c:v>
                </c:pt>
                <c:pt idx="3981">
                  <c:v>754.31709999999998</c:v>
                </c:pt>
                <c:pt idx="3982">
                  <c:v>732.26099999999997</c:v>
                </c:pt>
                <c:pt idx="3983">
                  <c:v>720.95370000000003</c:v>
                </c:pt>
                <c:pt idx="3984">
                  <c:v>676.81050000000005</c:v>
                </c:pt>
                <c:pt idx="3985">
                  <c:v>644.68949999999995</c:v>
                </c:pt>
                <c:pt idx="3986">
                  <c:v>620.27059999999994</c:v>
                </c:pt>
                <c:pt idx="3987">
                  <c:v>590.00289999999995</c:v>
                </c:pt>
                <c:pt idx="3988">
                  <c:v>568.8492</c:v>
                </c:pt>
                <c:pt idx="3989">
                  <c:v>586.66830000000004</c:v>
                </c:pt>
                <c:pt idx="3990">
                  <c:v>616.46280000000002</c:v>
                </c:pt>
                <c:pt idx="3991">
                  <c:v>671.72280000000001</c:v>
                </c:pt>
                <c:pt idx="3992">
                  <c:v>730.40009999999995</c:v>
                </c:pt>
                <c:pt idx="3993">
                  <c:v>776.6123</c:v>
                </c:pt>
                <c:pt idx="3994">
                  <c:v>781.92539999999997</c:v>
                </c:pt>
                <c:pt idx="3995">
                  <c:v>775.57569999999998</c:v>
                </c:pt>
                <c:pt idx="3996">
                  <c:v>780.61080000000004</c:v>
                </c:pt>
                <c:pt idx="3997">
                  <c:v>777.91930000000002</c:v>
                </c:pt>
                <c:pt idx="3998">
                  <c:v>775.15899999999999</c:v>
                </c:pt>
                <c:pt idx="3999">
                  <c:v>772.82240000000002</c:v>
                </c:pt>
                <c:pt idx="4000">
                  <c:v>787.90060000000005</c:v>
                </c:pt>
                <c:pt idx="4001">
                  <c:v>793.35450000000003</c:v>
                </c:pt>
                <c:pt idx="4002">
                  <c:v>794.55349999999999</c:v>
                </c:pt>
                <c:pt idx="4003">
                  <c:v>810.79250000000002</c:v>
                </c:pt>
                <c:pt idx="4004">
                  <c:v>799.52369999999996</c:v>
                </c:pt>
                <c:pt idx="4005">
                  <c:v>777.44150000000002</c:v>
                </c:pt>
                <c:pt idx="4006">
                  <c:v>746.8904</c:v>
                </c:pt>
                <c:pt idx="4007">
                  <c:v>722.45929999999998</c:v>
                </c:pt>
                <c:pt idx="4008">
                  <c:v>670.83860000000004</c:v>
                </c:pt>
                <c:pt idx="4009">
                  <c:v>653.71630000000005</c:v>
                </c:pt>
                <c:pt idx="4010">
                  <c:v>636.94439999999997</c:v>
                </c:pt>
                <c:pt idx="4011">
                  <c:v>611.34770000000003</c:v>
                </c:pt>
                <c:pt idx="4012">
                  <c:v>615.6386</c:v>
                </c:pt>
                <c:pt idx="4013">
                  <c:v>656.30129999999997</c:v>
                </c:pt>
                <c:pt idx="4014">
                  <c:v>774.9289</c:v>
                </c:pt>
                <c:pt idx="4015">
                  <c:v>890.60770000000002</c:v>
                </c:pt>
                <c:pt idx="4016">
                  <c:v>989.34500000000003</c:v>
                </c:pt>
                <c:pt idx="4017">
                  <c:v>979.09640000000002</c:v>
                </c:pt>
                <c:pt idx="4018">
                  <c:v>1006.8594000000001</c:v>
                </c:pt>
                <c:pt idx="4019">
                  <c:v>1005.6165</c:v>
                </c:pt>
                <c:pt idx="4020">
                  <c:v>1018.5239</c:v>
                </c:pt>
                <c:pt idx="4021">
                  <c:v>1001.9525</c:v>
                </c:pt>
                <c:pt idx="4022">
                  <c:v>999.87239999999997</c:v>
                </c:pt>
                <c:pt idx="4023">
                  <c:v>974.24369999999999</c:v>
                </c:pt>
                <c:pt idx="4024">
                  <c:v>950.00070000000005</c:v>
                </c:pt>
                <c:pt idx="4025">
                  <c:v>928.51430000000005</c:v>
                </c:pt>
                <c:pt idx="4026">
                  <c:v>898.47429999999997</c:v>
                </c:pt>
                <c:pt idx="4027">
                  <c:v>888.60170000000005</c:v>
                </c:pt>
                <c:pt idx="4028">
                  <c:v>890.34519999999998</c:v>
                </c:pt>
                <c:pt idx="4029">
                  <c:v>836.60580000000004</c:v>
                </c:pt>
                <c:pt idx="4030">
                  <c:v>764.40459999999996</c:v>
                </c:pt>
                <c:pt idx="4031">
                  <c:v>723.95489999999995</c:v>
                </c:pt>
                <c:pt idx="4032">
                  <c:v>673.19140000000004</c:v>
                </c:pt>
                <c:pt idx="4033">
                  <c:v>645.12800000000004</c:v>
                </c:pt>
                <c:pt idx="4034">
                  <c:v>635.44979999999998</c:v>
                </c:pt>
                <c:pt idx="4035">
                  <c:v>595.17380000000003</c:v>
                </c:pt>
                <c:pt idx="4036">
                  <c:v>600.91369999999995</c:v>
                </c:pt>
                <c:pt idx="4037">
                  <c:v>665.0992</c:v>
                </c:pt>
                <c:pt idx="4038">
                  <c:v>803.11770000000001</c:v>
                </c:pt>
                <c:pt idx="4039">
                  <c:v>908.60299999999995</c:v>
                </c:pt>
                <c:pt idx="4040">
                  <c:v>979.31399999999996</c:v>
                </c:pt>
                <c:pt idx="4041">
                  <c:v>981.70479999999998</c:v>
                </c:pt>
                <c:pt idx="4042">
                  <c:v>990.29859999999996</c:v>
                </c:pt>
                <c:pt idx="4043">
                  <c:v>969.76840000000004</c:v>
                </c:pt>
                <c:pt idx="4044">
                  <c:v>985.14909999999998</c:v>
                </c:pt>
                <c:pt idx="4045">
                  <c:v>975.55029999999999</c:v>
                </c:pt>
                <c:pt idx="4046">
                  <c:v>965.0693</c:v>
                </c:pt>
                <c:pt idx="4047">
                  <c:v>962.81410000000005</c:v>
                </c:pt>
                <c:pt idx="4048">
                  <c:v>933.47540000000004</c:v>
                </c:pt>
                <c:pt idx="4049">
                  <c:v>932.95259999999996</c:v>
                </c:pt>
                <c:pt idx="4050">
                  <c:v>904.49549999999999</c:v>
                </c:pt>
                <c:pt idx="4051">
                  <c:v>890.66079999999999</c:v>
                </c:pt>
                <c:pt idx="4052">
                  <c:v>867.71709999999996</c:v>
                </c:pt>
                <c:pt idx="4053">
                  <c:v>845.87860000000001</c:v>
                </c:pt>
                <c:pt idx="4054">
                  <c:v>783.34720000000004</c:v>
                </c:pt>
                <c:pt idx="4055">
                  <c:v>742.0213</c:v>
                </c:pt>
                <c:pt idx="4056">
                  <c:v>696.43209999999999</c:v>
                </c:pt>
                <c:pt idx="4057">
                  <c:v>665.26499999999999</c:v>
                </c:pt>
                <c:pt idx="4058">
                  <c:v>653.43610000000001</c:v>
                </c:pt>
                <c:pt idx="4059">
                  <c:v>613.68979999999999</c:v>
                </c:pt>
                <c:pt idx="4060">
                  <c:v>615.66650000000004</c:v>
                </c:pt>
                <c:pt idx="4061">
                  <c:v>667.18179999999995</c:v>
                </c:pt>
                <c:pt idx="4062">
                  <c:v>794.12699999999995</c:v>
                </c:pt>
                <c:pt idx="4063">
                  <c:v>891.30280000000005</c:v>
                </c:pt>
                <c:pt idx="4064">
                  <c:v>968.88509999999997</c:v>
                </c:pt>
                <c:pt idx="4065">
                  <c:v>986.31690000000003</c:v>
                </c:pt>
                <c:pt idx="4066">
                  <c:v>994.62869999999998</c:v>
                </c:pt>
                <c:pt idx="4067">
                  <c:v>975.04610000000002</c:v>
                </c:pt>
                <c:pt idx="4068">
                  <c:v>984.86710000000005</c:v>
                </c:pt>
                <c:pt idx="4069">
                  <c:v>986.08130000000006</c:v>
                </c:pt>
                <c:pt idx="4070">
                  <c:v>972.22159999999997</c:v>
                </c:pt>
                <c:pt idx="4071">
                  <c:v>961.29930000000002</c:v>
                </c:pt>
                <c:pt idx="4072">
                  <c:v>929.98440000000005</c:v>
                </c:pt>
                <c:pt idx="4073">
                  <c:v>933.01130000000001</c:v>
                </c:pt>
                <c:pt idx="4074">
                  <c:v>901.95209999999997</c:v>
                </c:pt>
                <c:pt idx="4075">
                  <c:v>886.15260000000001</c:v>
                </c:pt>
                <c:pt idx="4076">
                  <c:v>845.4144</c:v>
                </c:pt>
                <c:pt idx="4077">
                  <c:v>823.26480000000004</c:v>
                </c:pt>
                <c:pt idx="4078">
                  <c:v>781.02760000000001</c:v>
                </c:pt>
                <c:pt idx="4079">
                  <c:v>718.24289999999996</c:v>
                </c:pt>
                <c:pt idx="4080">
                  <c:v>673.63310000000001</c:v>
                </c:pt>
                <c:pt idx="4081">
                  <c:v>637.75710000000004</c:v>
                </c:pt>
                <c:pt idx="4082">
                  <c:v>621.3646</c:v>
                </c:pt>
                <c:pt idx="4083">
                  <c:v>585.20650000000001</c:v>
                </c:pt>
                <c:pt idx="4084">
                  <c:v>579.94920000000002</c:v>
                </c:pt>
                <c:pt idx="4085">
                  <c:v>635.36519999999996</c:v>
                </c:pt>
                <c:pt idx="4086">
                  <c:v>759.81880000000001</c:v>
                </c:pt>
                <c:pt idx="4087">
                  <c:v>870.76319999999998</c:v>
                </c:pt>
                <c:pt idx="4088">
                  <c:v>958.2106</c:v>
                </c:pt>
                <c:pt idx="4089">
                  <c:v>983.077</c:v>
                </c:pt>
                <c:pt idx="4090">
                  <c:v>994.73260000000005</c:v>
                </c:pt>
                <c:pt idx="4091">
                  <c:v>977.18719999999996</c:v>
                </c:pt>
                <c:pt idx="4092">
                  <c:v>986.36749999999995</c:v>
                </c:pt>
                <c:pt idx="4093">
                  <c:v>982.47889999999995</c:v>
                </c:pt>
                <c:pt idx="4094">
                  <c:v>982.13779999999997</c:v>
                </c:pt>
                <c:pt idx="4095">
                  <c:v>971.47950000000003</c:v>
                </c:pt>
                <c:pt idx="4096">
                  <c:v>917.55200000000002</c:v>
                </c:pt>
                <c:pt idx="4097">
                  <c:v>902.31399999999996</c:v>
                </c:pt>
                <c:pt idx="4098">
                  <c:v>877.43799999999999</c:v>
                </c:pt>
                <c:pt idx="4099">
                  <c:v>862.1354</c:v>
                </c:pt>
                <c:pt idx="4100">
                  <c:v>831.64649999999995</c:v>
                </c:pt>
                <c:pt idx="4101">
                  <c:v>796.08550000000002</c:v>
                </c:pt>
                <c:pt idx="4102">
                  <c:v>747.31759999999997</c:v>
                </c:pt>
                <c:pt idx="4103">
                  <c:v>711.32399999999996</c:v>
                </c:pt>
                <c:pt idx="4104">
                  <c:v>656.02509999999995</c:v>
                </c:pt>
                <c:pt idx="4105">
                  <c:v>621.17430000000002</c:v>
                </c:pt>
                <c:pt idx="4106">
                  <c:v>612.97649999999999</c:v>
                </c:pt>
                <c:pt idx="4107">
                  <c:v>568.31230000000005</c:v>
                </c:pt>
                <c:pt idx="4108">
                  <c:v>583.81050000000005</c:v>
                </c:pt>
                <c:pt idx="4109">
                  <c:v>642.55939999999998</c:v>
                </c:pt>
                <c:pt idx="4110">
                  <c:v>756.10910000000001</c:v>
                </c:pt>
                <c:pt idx="4111">
                  <c:v>878.91420000000005</c:v>
                </c:pt>
                <c:pt idx="4112">
                  <c:v>967.82640000000004</c:v>
                </c:pt>
                <c:pt idx="4113">
                  <c:v>985.26760000000002</c:v>
                </c:pt>
                <c:pt idx="4114">
                  <c:v>990.50070000000005</c:v>
                </c:pt>
                <c:pt idx="4115">
                  <c:v>967.64350000000002</c:v>
                </c:pt>
                <c:pt idx="4116">
                  <c:v>976.6694</c:v>
                </c:pt>
                <c:pt idx="4117">
                  <c:v>958.30510000000004</c:v>
                </c:pt>
                <c:pt idx="4118">
                  <c:v>934.62009999999998</c:v>
                </c:pt>
                <c:pt idx="4119">
                  <c:v>908.32809999999995</c:v>
                </c:pt>
                <c:pt idx="4120">
                  <c:v>899.29390000000001</c:v>
                </c:pt>
                <c:pt idx="4121">
                  <c:v>887.54600000000005</c:v>
                </c:pt>
                <c:pt idx="4122">
                  <c:v>858.84670000000006</c:v>
                </c:pt>
                <c:pt idx="4123">
                  <c:v>840.95090000000005</c:v>
                </c:pt>
                <c:pt idx="4124">
                  <c:v>806.43399999999997</c:v>
                </c:pt>
                <c:pt idx="4125">
                  <c:v>765.14409999999998</c:v>
                </c:pt>
                <c:pt idx="4126">
                  <c:v>735.46900000000005</c:v>
                </c:pt>
                <c:pt idx="4127">
                  <c:v>710.33690000000001</c:v>
                </c:pt>
                <c:pt idx="4128">
                  <c:v>665.87509999999997</c:v>
                </c:pt>
                <c:pt idx="4129">
                  <c:v>626.97</c:v>
                </c:pt>
                <c:pt idx="4130">
                  <c:v>600.66279999999995</c:v>
                </c:pt>
                <c:pt idx="4131">
                  <c:v>555.56010000000003</c:v>
                </c:pt>
                <c:pt idx="4132">
                  <c:v>537.82050000000004</c:v>
                </c:pt>
                <c:pt idx="4133">
                  <c:v>564.25149999999996</c:v>
                </c:pt>
                <c:pt idx="4134">
                  <c:v>596.2088</c:v>
                </c:pt>
                <c:pt idx="4135">
                  <c:v>650.55060000000003</c:v>
                </c:pt>
                <c:pt idx="4136">
                  <c:v>723.28579999999999</c:v>
                </c:pt>
                <c:pt idx="4137">
                  <c:v>750.2568</c:v>
                </c:pt>
                <c:pt idx="4138">
                  <c:v>782.11300000000006</c:v>
                </c:pt>
                <c:pt idx="4139">
                  <c:v>776.80449999999996</c:v>
                </c:pt>
                <c:pt idx="4140">
                  <c:v>759.0095</c:v>
                </c:pt>
                <c:pt idx="4141">
                  <c:v>737.04100000000005</c:v>
                </c:pt>
                <c:pt idx="4142">
                  <c:v>727.91200000000003</c:v>
                </c:pt>
                <c:pt idx="4143">
                  <c:v>717.93849999999998</c:v>
                </c:pt>
                <c:pt idx="4144">
                  <c:v>722.93629999999996</c:v>
                </c:pt>
                <c:pt idx="4145">
                  <c:v>718.0874</c:v>
                </c:pt>
                <c:pt idx="4146">
                  <c:v>709.55269999999996</c:v>
                </c:pt>
                <c:pt idx="4147">
                  <c:v>713.79489999999998</c:v>
                </c:pt>
                <c:pt idx="4148">
                  <c:v>693.46100000000001</c:v>
                </c:pt>
                <c:pt idx="4149">
                  <c:v>672.83280000000002</c:v>
                </c:pt>
                <c:pt idx="4150">
                  <c:v>660.30740000000003</c:v>
                </c:pt>
                <c:pt idx="4151">
                  <c:v>642.08000000000004</c:v>
                </c:pt>
                <c:pt idx="4152">
                  <c:v>609.00779999999997</c:v>
                </c:pt>
                <c:pt idx="4153">
                  <c:v>582.79219999999998</c:v>
                </c:pt>
                <c:pt idx="4154">
                  <c:v>545.95420000000001</c:v>
                </c:pt>
                <c:pt idx="4155">
                  <c:v>520.46500000000003</c:v>
                </c:pt>
                <c:pt idx="4156">
                  <c:v>510.06849999999997</c:v>
                </c:pt>
                <c:pt idx="4157">
                  <c:v>518.85760000000005</c:v>
                </c:pt>
                <c:pt idx="4158">
                  <c:v>530.9547</c:v>
                </c:pt>
                <c:pt idx="4159">
                  <c:v>593.125</c:v>
                </c:pt>
                <c:pt idx="4160">
                  <c:v>647.78660000000002</c:v>
                </c:pt>
                <c:pt idx="4161">
                  <c:v>675.62760000000003</c:v>
                </c:pt>
                <c:pt idx="4162">
                  <c:v>697.63959999999997</c:v>
                </c:pt>
                <c:pt idx="4163">
                  <c:v>693.37159999999994</c:v>
                </c:pt>
                <c:pt idx="4164">
                  <c:v>684.12459999999999</c:v>
                </c:pt>
                <c:pt idx="4165">
                  <c:v>674.702</c:v>
                </c:pt>
                <c:pt idx="4166">
                  <c:v>674.69640000000004</c:v>
                </c:pt>
                <c:pt idx="4167">
                  <c:v>660.17729999999995</c:v>
                </c:pt>
                <c:pt idx="4168">
                  <c:v>673.90830000000005</c:v>
                </c:pt>
                <c:pt idx="4169">
                  <c:v>672.30349999999999</c:v>
                </c:pt>
                <c:pt idx="4170">
                  <c:v>660.36360000000002</c:v>
                </c:pt>
                <c:pt idx="4171">
                  <c:v>660.76980000000003</c:v>
                </c:pt>
                <c:pt idx="4172">
                  <c:v>638.52779999999996</c:v>
                </c:pt>
                <c:pt idx="4173">
                  <c:v>622.80119999999999</c:v>
                </c:pt>
                <c:pt idx="4174">
                  <c:v>626.822</c:v>
                </c:pt>
                <c:pt idx="4175">
                  <c:v>636.0806</c:v>
                </c:pt>
                <c:pt idx="4176">
                  <c:v>599.11189999999999</c:v>
                </c:pt>
                <c:pt idx="4177">
                  <c:v>575.52589999999998</c:v>
                </c:pt>
                <c:pt idx="4178">
                  <c:v>545.05399999999997</c:v>
                </c:pt>
                <c:pt idx="4179">
                  <c:v>513.19629999999995</c:v>
                </c:pt>
                <c:pt idx="4180">
                  <c:v>498.7593</c:v>
                </c:pt>
                <c:pt idx="4181">
                  <c:v>514.98350000000005</c:v>
                </c:pt>
                <c:pt idx="4182">
                  <c:v>543.79669999999999</c:v>
                </c:pt>
                <c:pt idx="4183">
                  <c:v>590.22929999999997</c:v>
                </c:pt>
                <c:pt idx="4184">
                  <c:v>626.3854</c:v>
                </c:pt>
                <c:pt idx="4185">
                  <c:v>660.54610000000002</c:v>
                </c:pt>
                <c:pt idx="4186">
                  <c:v>675.8664</c:v>
                </c:pt>
                <c:pt idx="4187">
                  <c:v>679.90359999999998</c:v>
                </c:pt>
                <c:pt idx="4188">
                  <c:v>682.72490000000005</c:v>
                </c:pt>
                <c:pt idx="4189">
                  <c:v>679.06179999999995</c:v>
                </c:pt>
                <c:pt idx="4190">
                  <c:v>679.96259999999995</c:v>
                </c:pt>
                <c:pt idx="4191">
                  <c:v>675.21569999999997</c:v>
                </c:pt>
                <c:pt idx="4192">
                  <c:v>681.10680000000002</c:v>
                </c:pt>
                <c:pt idx="4193">
                  <c:v>692.38070000000005</c:v>
                </c:pt>
                <c:pt idx="4194">
                  <c:v>702.19759999999997</c:v>
                </c:pt>
                <c:pt idx="4195">
                  <c:v>709.17139999999995</c:v>
                </c:pt>
                <c:pt idx="4196">
                  <c:v>712.62599999999998</c:v>
                </c:pt>
                <c:pt idx="4197">
                  <c:v>692.5779</c:v>
                </c:pt>
                <c:pt idx="4198">
                  <c:v>657.50030000000004</c:v>
                </c:pt>
                <c:pt idx="4199">
                  <c:v>632.78629999999998</c:v>
                </c:pt>
                <c:pt idx="4200">
                  <c:v>589.11189999999999</c:v>
                </c:pt>
                <c:pt idx="4201">
                  <c:v>575.26220000000001</c:v>
                </c:pt>
                <c:pt idx="4202">
                  <c:v>547.88750000000005</c:v>
                </c:pt>
                <c:pt idx="4203">
                  <c:v>516.7192</c:v>
                </c:pt>
                <c:pt idx="4204">
                  <c:v>525.47260000000006</c:v>
                </c:pt>
                <c:pt idx="4205">
                  <c:v>583.85270000000003</c:v>
                </c:pt>
                <c:pt idx="4206">
                  <c:v>725.76149999999996</c:v>
                </c:pt>
                <c:pt idx="4207">
                  <c:v>832.8818</c:v>
                </c:pt>
                <c:pt idx="4208">
                  <c:v>925.66330000000005</c:v>
                </c:pt>
                <c:pt idx="4209">
                  <c:v>949.99019999999996</c:v>
                </c:pt>
                <c:pt idx="4210">
                  <c:v>951.90830000000005</c:v>
                </c:pt>
                <c:pt idx="4211">
                  <c:v>946.8021</c:v>
                </c:pt>
                <c:pt idx="4212">
                  <c:v>966.45479999999998</c:v>
                </c:pt>
                <c:pt idx="4213">
                  <c:v>948.52520000000004</c:v>
                </c:pt>
                <c:pt idx="4214">
                  <c:v>946.94010000000003</c:v>
                </c:pt>
                <c:pt idx="4215">
                  <c:v>924.14779999999996</c:v>
                </c:pt>
                <c:pt idx="4216">
                  <c:v>905.22019999999998</c:v>
                </c:pt>
                <c:pt idx="4217">
                  <c:v>898.9606</c:v>
                </c:pt>
                <c:pt idx="4218">
                  <c:v>877.93209999999999</c:v>
                </c:pt>
                <c:pt idx="4219">
                  <c:v>859.74850000000004</c:v>
                </c:pt>
                <c:pt idx="4220">
                  <c:v>833.77589999999998</c:v>
                </c:pt>
                <c:pt idx="4221">
                  <c:v>809.30899999999997</c:v>
                </c:pt>
                <c:pt idx="4222">
                  <c:v>762.95950000000005</c:v>
                </c:pt>
                <c:pt idx="4223">
                  <c:v>676.27610000000004</c:v>
                </c:pt>
                <c:pt idx="4224">
                  <c:v>618.7414</c:v>
                </c:pt>
                <c:pt idx="4225">
                  <c:v>592.30439999999999</c:v>
                </c:pt>
                <c:pt idx="4226">
                  <c:v>585.96370000000002</c:v>
                </c:pt>
                <c:pt idx="4227">
                  <c:v>560.81399999999996</c:v>
                </c:pt>
                <c:pt idx="4228">
                  <c:v>556.20719999999994</c:v>
                </c:pt>
                <c:pt idx="4229">
                  <c:v>606.87519999999995</c:v>
                </c:pt>
                <c:pt idx="4230">
                  <c:v>733.3768</c:v>
                </c:pt>
                <c:pt idx="4231">
                  <c:v>852.69060000000002</c:v>
                </c:pt>
                <c:pt idx="4232">
                  <c:v>935.60599999999999</c:v>
                </c:pt>
                <c:pt idx="4233">
                  <c:v>965.60680000000002</c:v>
                </c:pt>
                <c:pt idx="4234">
                  <c:v>980.88750000000005</c:v>
                </c:pt>
                <c:pt idx="4235">
                  <c:v>964.13559999999995</c:v>
                </c:pt>
                <c:pt idx="4236">
                  <c:v>985.84720000000004</c:v>
                </c:pt>
                <c:pt idx="4237">
                  <c:v>979.58450000000005</c:v>
                </c:pt>
                <c:pt idx="4238">
                  <c:v>976.72320000000002</c:v>
                </c:pt>
                <c:pt idx="4239">
                  <c:v>965.54610000000002</c:v>
                </c:pt>
                <c:pt idx="4240">
                  <c:v>924.39350000000002</c:v>
                </c:pt>
                <c:pt idx="4241">
                  <c:v>918.66650000000004</c:v>
                </c:pt>
                <c:pt idx="4242">
                  <c:v>888.71040000000005</c:v>
                </c:pt>
                <c:pt idx="4243">
                  <c:v>881.86469999999997</c:v>
                </c:pt>
                <c:pt idx="4244">
                  <c:v>864.75599999999997</c:v>
                </c:pt>
                <c:pt idx="4245">
                  <c:v>833.23019999999997</c:v>
                </c:pt>
                <c:pt idx="4246">
                  <c:v>786.33770000000004</c:v>
                </c:pt>
                <c:pt idx="4247">
                  <c:v>704.07150000000001</c:v>
                </c:pt>
                <c:pt idx="4248">
                  <c:v>653.95370000000003</c:v>
                </c:pt>
                <c:pt idx="4249">
                  <c:v>620.71500000000003</c:v>
                </c:pt>
                <c:pt idx="4250">
                  <c:v>611.57669999999996</c:v>
                </c:pt>
                <c:pt idx="4251">
                  <c:v>589.72500000000002</c:v>
                </c:pt>
                <c:pt idx="4252">
                  <c:v>575.73599999999999</c:v>
                </c:pt>
                <c:pt idx="4253">
                  <c:v>631.51009999999997</c:v>
                </c:pt>
                <c:pt idx="4254">
                  <c:v>747.32180000000005</c:v>
                </c:pt>
                <c:pt idx="4255">
                  <c:v>864.80190000000005</c:v>
                </c:pt>
                <c:pt idx="4256">
                  <c:v>959.7713</c:v>
                </c:pt>
                <c:pt idx="4257">
                  <c:v>992.54390000000001</c:v>
                </c:pt>
                <c:pt idx="4258">
                  <c:v>999.303</c:v>
                </c:pt>
                <c:pt idx="4259">
                  <c:v>986.6309</c:v>
                </c:pt>
                <c:pt idx="4260">
                  <c:v>1001.0222</c:v>
                </c:pt>
                <c:pt idx="4261">
                  <c:v>987.08100000000002</c:v>
                </c:pt>
                <c:pt idx="4262">
                  <c:v>974.54190000000006</c:v>
                </c:pt>
                <c:pt idx="4263">
                  <c:v>952.62199999999996</c:v>
                </c:pt>
                <c:pt idx="4264">
                  <c:v>911.78240000000005</c:v>
                </c:pt>
                <c:pt idx="4265">
                  <c:v>911.9375</c:v>
                </c:pt>
                <c:pt idx="4266">
                  <c:v>887.5086</c:v>
                </c:pt>
                <c:pt idx="4267">
                  <c:v>865.90920000000006</c:v>
                </c:pt>
                <c:pt idx="4268">
                  <c:v>845.81780000000003</c:v>
                </c:pt>
                <c:pt idx="4269">
                  <c:v>811.04809999999998</c:v>
                </c:pt>
                <c:pt idx="4270">
                  <c:v>763.36260000000004</c:v>
                </c:pt>
                <c:pt idx="4271">
                  <c:v>704.08010000000002</c:v>
                </c:pt>
                <c:pt idx="4272">
                  <c:v>662.62869999999998</c:v>
                </c:pt>
                <c:pt idx="4273">
                  <c:v>611.99570000000006</c:v>
                </c:pt>
                <c:pt idx="4274">
                  <c:v>602.12879999999996</c:v>
                </c:pt>
                <c:pt idx="4275">
                  <c:v>567.60969999999998</c:v>
                </c:pt>
                <c:pt idx="4276">
                  <c:v>575.37159999999994</c:v>
                </c:pt>
                <c:pt idx="4277">
                  <c:v>628.26419999999996</c:v>
                </c:pt>
                <c:pt idx="4278">
                  <c:v>740.86009999999999</c:v>
                </c:pt>
                <c:pt idx="4279">
                  <c:v>851.84220000000005</c:v>
                </c:pt>
                <c:pt idx="4280">
                  <c:v>925.30849999999998</c:v>
                </c:pt>
                <c:pt idx="4281">
                  <c:v>951.11720000000003</c:v>
                </c:pt>
                <c:pt idx="4282">
                  <c:v>944.06089999999995</c:v>
                </c:pt>
                <c:pt idx="4283">
                  <c:v>921.23540000000003</c:v>
                </c:pt>
                <c:pt idx="4284">
                  <c:v>930.67769999999996</c:v>
                </c:pt>
                <c:pt idx="4285">
                  <c:v>921.4778</c:v>
                </c:pt>
                <c:pt idx="4286">
                  <c:v>902.10990000000004</c:v>
                </c:pt>
                <c:pt idx="4287">
                  <c:v>892.44500000000005</c:v>
                </c:pt>
                <c:pt idx="4288">
                  <c:v>883.70749999999998</c:v>
                </c:pt>
                <c:pt idx="4289">
                  <c:v>880.54</c:v>
                </c:pt>
                <c:pt idx="4290">
                  <c:v>852.55280000000005</c:v>
                </c:pt>
                <c:pt idx="4291">
                  <c:v>834.24680000000001</c:v>
                </c:pt>
                <c:pt idx="4292">
                  <c:v>824.88559999999995</c:v>
                </c:pt>
                <c:pt idx="4293">
                  <c:v>792.57479999999998</c:v>
                </c:pt>
                <c:pt idx="4294">
                  <c:v>741.80960000000005</c:v>
                </c:pt>
                <c:pt idx="4295">
                  <c:v>694.30340000000001</c:v>
                </c:pt>
                <c:pt idx="4296">
                  <c:v>653.82539999999995</c:v>
                </c:pt>
                <c:pt idx="4297">
                  <c:v>610.82889999999998</c:v>
                </c:pt>
                <c:pt idx="4298">
                  <c:v>593.15440000000001</c:v>
                </c:pt>
                <c:pt idx="4299">
                  <c:v>559.87099999999998</c:v>
                </c:pt>
                <c:pt idx="4300">
                  <c:v>546.87459999999999</c:v>
                </c:pt>
                <c:pt idx="4301">
                  <c:v>568.98620000000005</c:v>
                </c:pt>
                <c:pt idx="4302">
                  <c:v>601.80669999999998</c:v>
                </c:pt>
                <c:pt idx="4303">
                  <c:v>664.90949999999998</c:v>
                </c:pt>
                <c:pt idx="4304">
                  <c:v>728.2944</c:v>
                </c:pt>
                <c:pt idx="4305">
                  <c:v>777.22649999999999</c:v>
                </c:pt>
                <c:pt idx="4306">
                  <c:v>788.74260000000004</c:v>
                </c:pt>
                <c:pt idx="4307">
                  <c:v>784.54499999999996</c:v>
                </c:pt>
                <c:pt idx="4308">
                  <c:v>774.25440000000003</c:v>
                </c:pt>
                <c:pt idx="4309">
                  <c:v>761.90480000000002</c:v>
                </c:pt>
                <c:pt idx="4310">
                  <c:v>743.03290000000004</c:v>
                </c:pt>
                <c:pt idx="4311">
                  <c:v>746.20180000000005</c:v>
                </c:pt>
                <c:pt idx="4312">
                  <c:v>750.12530000000004</c:v>
                </c:pt>
                <c:pt idx="4313">
                  <c:v>760.60659999999996</c:v>
                </c:pt>
                <c:pt idx="4314">
                  <c:v>748.61959999999999</c:v>
                </c:pt>
                <c:pt idx="4315">
                  <c:v>762.63329999999996</c:v>
                </c:pt>
                <c:pt idx="4316">
                  <c:v>747.11329999999998</c:v>
                </c:pt>
                <c:pt idx="4317">
                  <c:v>719.3125</c:v>
                </c:pt>
                <c:pt idx="4318">
                  <c:v>700.53070000000002</c:v>
                </c:pt>
                <c:pt idx="4319">
                  <c:v>678.48249999999996</c:v>
                </c:pt>
                <c:pt idx="4320">
                  <c:v>632.28240000000005</c:v>
                </c:pt>
                <c:pt idx="4321">
                  <c:v>632.13430000000005</c:v>
                </c:pt>
                <c:pt idx="4322">
                  <c:v>609.92550000000006</c:v>
                </c:pt>
                <c:pt idx="4323">
                  <c:v>572.8569</c:v>
                </c:pt>
                <c:pt idx="4324">
                  <c:v>562.96169999999995</c:v>
                </c:pt>
                <c:pt idx="4325">
                  <c:v>579.40729999999996</c:v>
                </c:pt>
                <c:pt idx="4326">
                  <c:v>610.33789999999999</c:v>
                </c:pt>
                <c:pt idx="4327">
                  <c:v>655.87729999999999</c:v>
                </c:pt>
                <c:pt idx="4328">
                  <c:v>705.92430000000002</c:v>
                </c:pt>
                <c:pt idx="4329">
                  <c:v>751.32100000000003</c:v>
                </c:pt>
                <c:pt idx="4330">
                  <c:v>724.61869999999999</c:v>
                </c:pt>
                <c:pt idx="4331">
                  <c:v>716.73879999999997</c:v>
                </c:pt>
                <c:pt idx="4332">
                  <c:v>723.87940000000003</c:v>
                </c:pt>
                <c:pt idx="4333">
                  <c:v>709.14409999999998</c:v>
                </c:pt>
                <c:pt idx="4334">
                  <c:v>714.82460000000003</c:v>
                </c:pt>
                <c:pt idx="4335">
                  <c:v>712.09619999999995</c:v>
                </c:pt>
                <c:pt idx="4336">
                  <c:v>712.76570000000004</c:v>
                </c:pt>
                <c:pt idx="4337">
                  <c:v>737.39170000000001</c:v>
                </c:pt>
                <c:pt idx="4338">
                  <c:v>751.12599999999998</c:v>
                </c:pt>
                <c:pt idx="4339">
                  <c:v>761.08489999999995</c:v>
                </c:pt>
                <c:pt idx="4340">
                  <c:v>756.05039999999997</c:v>
                </c:pt>
                <c:pt idx="4341">
                  <c:v>747.69349999999997</c:v>
                </c:pt>
                <c:pt idx="4342">
                  <c:v>707.65859999999998</c:v>
                </c:pt>
                <c:pt idx="4343">
                  <c:v>672.14760000000001</c:v>
                </c:pt>
                <c:pt idx="4344">
                  <c:v>627.82680000000005</c:v>
                </c:pt>
                <c:pt idx="4345">
                  <c:v>587.44929999999999</c:v>
                </c:pt>
                <c:pt idx="4346">
                  <c:v>569.72370000000001</c:v>
                </c:pt>
                <c:pt idx="4347">
                  <c:v>512.08330000000001</c:v>
                </c:pt>
                <c:pt idx="4348">
                  <c:v>585.0865</c:v>
                </c:pt>
                <c:pt idx="4349">
                  <c:v>585.96640000000002</c:v>
                </c:pt>
                <c:pt idx="4350">
                  <c:v>702.51289999999995</c:v>
                </c:pt>
                <c:pt idx="4351">
                  <c:v>813.29190000000006</c:v>
                </c:pt>
                <c:pt idx="4352">
                  <c:v>905.19420000000002</c:v>
                </c:pt>
                <c:pt idx="4353">
                  <c:v>922.53899999999999</c:v>
                </c:pt>
                <c:pt idx="4354">
                  <c:v>940.24800000000005</c:v>
                </c:pt>
                <c:pt idx="4355">
                  <c:v>915.38239999999996</c:v>
                </c:pt>
                <c:pt idx="4356">
                  <c:v>923.2441</c:v>
                </c:pt>
                <c:pt idx="4357">
                  <c:v>927.02610000000004</c:v>
                </c:pt>
                <c:pt idx="4358">
                  <c:v>911.68269999999995</c:v>
                </c:pt>
                <c:pt idx="4359">
                  <c:v>901.63570000000004</c:v>
                </c:pt>
                <c:pt idx="4360">
                  <c:v>922.65</c:v>
                </c:pt>
                <c:pt idx="4361">
                  <c:v>918.58540000000005</c:v>
                </c:pt>
                <c:pt idx="4362">
                  <c:v>897.83939999999996</c:v>
                </c:pt>
                <c:pt idx="4363">
                  <c:v>882.34109999999998</c:v>
                </c:pt>
                <c:pt idx="4364">
                  <c:v>865.99779999999998</c:v>
                </c:pt>
                <c:pt idx="4365">
                  <c:v>824.04449999999997</c:v>
                </c:pt>
                <c:pt idx="4366">
                  <c:v>767.69069999999999</c:v>
                </c:pt>
                <c:pt idx="4367">
                  <c:v>712.2056</c:v>
                </c:pt>
                <c:pt idx="4368">
                  <c:v>644.26750000000004</c:v>
                </c:pt>
                <c:pt idx="4369">
                  <c:v>607.83510000000001</c:v>
                </c:pt>
                <c:pt idx="4370">
                  <c:v>578.68589999999995</c:v>
                </c:pt>
                <c:pt idx="4371">
                  <c:v>546.37599999999998</c:v>
                </c:pt>
                <c:pt idx="4372">
                  <c:v>542.02819999999997</c:v>
                </c:pt>
                <c:pt idx="4373">
                  <c:v>578.60040000000004</c:v>
                </c:pt>
                <c:pt idx="4374">
                  <c:v>730.08090000000004</c:v>
                </c:pt>
                <c:pt idx="4375">
                  <c:v>833.58989999999994</c:v>
                </c:pt>
                <c:pt idx="4376">
                  <c:v>919.44479999999999</c:v>
                </c:pt>
                <c:pt idx="4377">
                  <c:v>938.73659999999995</c:v>
                </c:pt>
                <c:pt idx="4378">
                  <c:v>925.05640000000005</c:v>
                </c:pt>
                <c:pt idx="4379">
                  <c:v>922.23220000000003</c:v>
                </c:pt>
                <c:pt idx="4380">
                  <c:v>923.23099999999999</c:v>
                </c:pt>
                <c:pt idx="4381">
                  <c:v>929.16639999999995</c:v>
                </c:pt>
                <c:pt idx="4382">
                  <c:v>919.10820000000001</c:v>
                </c:pt>
                <c:pt idx="4383">
                  <c:v>899.23800000000006</c:v>
                </c:pt>
                <c:pt idx="4384">
                  <c:v>878.8954</c:v>
                </c:pt>
                <c:pt idx="4385">
                  <c:v>859.74289999999996</c:v>
                </c:pt>
                <c:pt idx="4386">
                  <c:v>844.32309999999995</c:v>
                </c:pt>
                <c:pt idx="4387">
                  <c:v>826.81780000000003</c:v>
                </c:pt>
                <c:pt idx="4388">
                  <c:v>802.65470000000005</c:v>
                </c:pt>
                <c:pt idx="4389">
                  <c:v>766.65859999999998</c:v>
                </c:pt>
                <c:pt idx="4390">
                  <c:v>718.35350000000005</c:v>
                </c:pt>
                <c:pt idx="4391">
                  <c:v>670.39670000000001</c:v>
                </c:pt>
                <c:pt idx="4392">
                  <c:v>603.44780000000003</c:v>
                </c:pt>
                <c:pt idx="4393">
                  <c:v>595.64530000000002</c:v>
                </c:pt>
                <c:pt idx="4394">
                  <c:v>581.28</c:v>
                </c:pt>
                <c:pt idx="4395">
                  <c:v>567.0136</c:v>
                </c:pt>
                <c:pt idx="4396">
                  <c:v>554.97929999999997</c:v>
                </c:pt>
                <c:pt idx="4397">
                  <c:v>598.70330000000001</c:v>
                </c:pt>
                <c:pt idx="4398">
                  <c:v>697.55219999999997</c:v>
                </c:pt>
                <c:pt idx="4399">
                  <c:v>825.90260000000001</c:v>
                </c:pt>
                <c:pt idx="4400">
                  <c:v>908.69600000000003</c:v>
                </c:pt>
                <c:pt idx="4401">
                  <c:v>944.60180000000003</c:v>
                </c:pt>
                <c:pt idx="4402">
                  <c:v>968.78520000000003</c:v>
                </c:pt>
                <c:pt idx="4403">
                  <c:v>940.72339999999997</c:v>
                </c:pt>
                <c:pt idx="4404">
                  <c:v>960.97339999999997</c:v>
                </c:pt>
                <c:pt idx="4405">
                  <c:v>955.18439999999998</c:v>
                </c:pt>
                <c:pt idx="4406">
                  <c:v>939.45650000000001</c:v>
                </c:pt>
                <c:pt idx="4407">
                  <c:v>939.88570000000004</c:v>
                </c:pt>
                <c:pt idx="4408">
                  <c:v>896.77329999999995</c:v>
                </c:pt>
                <c:pt idx="4409">
                  <c:v>886.94600000000003</c:v>
                </c:pt>
                <c:pt idx="4410">
                  <c:v>849.64179999999999</c:v>
                </c:pt>
                <c:pt idx="4411">
                  <c:v>845.82150000000001</c:v>
                </c:pt>
                <c:pt idx="4412">
                  <c:v>837.68409999999994</c:v>
                </c:pt>
                <c:pt idx="4413">
                  <c:v>785.96360000000004</c:v>
                </c:pt>
                <c:pt idx="4414">
                  <c:v>743.1386</c:v>
                </c:pt>
                <c:pt idx="4415">
                  <c:v>699.10720000000003</c:v>
                </c:pt>
                <c:pt idx="4416">
                  <c:v>638.49289999999996</c:v>
                </c:pt>
                <c:pt idx="4417">
                  <c:v>607.01700000000005</c:v>
                </c:pt>
                <c:pt idx="4418">
                  <c:v>590.39170000000001</c:v>
                </c:pt>
                <c:pt idx="4419">
                  <c:v>566.98850000000004</c:v>
                </c:pt>
                <c:pt idx="4420">
                  <c:v>562.86839999999995</c:v>
                </c:pt>
                <c:pt idx="4421">
                  <c:v>606.40170000000001</c:v>
                </c:pt>
                <c:pt idx="4422">
                  <c:v>727.26869999999997</c:v>
                </c:pt>
                <c:pt idx="4423">
                  <c:v>829.99440000000004</c:v>
                </c:pt>
                <c:pt idx="4424">
                  <c:v>905.71360000000004</c:v>
                </c:pt>
                <c:pt idx="4425">
                  <c:v>907.125</c:v>
                </c:pt>
                <c:pt idx="4426">
                  <c:v>911.5829</c:v>
                </c:pt>
                <c:pt idx="4427">
                  <c:v>889.88580000000002</c:v>
                </c:pt>
                <c:pt idx="4428">
                  <c:v>890.34190000000001</c:v>
                </c:pt>
                <c:pt idx="4429">
                  <c:v>903.87729999999999</c:v>
                </c:pt>
                <c:pt idx="4430">
                  <c:v>902.00429999999994</c:v>
                </c:pt>
                <c:pt idx="4431">
                  <c:v>896.71799999999996</c:v>
                </c:pt>
                <c:pt idx="4432">
                  <c:v>872.0027</c:v>
                </c:pt>
                <c:pt idx="4433">
                  <c:v>857.45060000000001</c:v>
                </c:pt>
                <c:pt idx="4434">
                  <c:v>830.86540000000002</c:v>
                </c:pt>
                <c:pt idx="4435">
                  <c:v>835.83989999999994</c:v>
                </c:pt>
                <c:pt idx="4436">
                  <c:v>820.89649999999995</c:v>
                </c:pt>
                <c:pt idx="4437">
                  <c:v>801.3836</c:v>
                </c:pt>
                <c:pt idx="4438">
                  <c:v>773.99480000000005</c:v>
                </c:pt>
                <c:pt idx="4439">
                  <c:v>710.91060000000004</c:v>
                </c:pt>
                <c:pt idx="4440">
                  <c:v>662.697</c:v>
                </c:pt>
                <c:pt idx="4441">
                  <c:v>628.74400000000003</c:v>
                </c:pt>
                <c:pt idx="4442">
                  <c:v>617.92129999999997</c:v>
                </c:pt>
                <c:pt idx="4443">
                  <c:v>579.91899999999998</c:v>
                </c:pt>
                <c:pt idx="4444">
                  <c:v>575.26390000000004</c:v>
                </c:pt>
                <c:pt idx="4445">
                  <c:v>605.10260000000005</c:v>
                </c:pt>
                <c:pt idx="4446">
                  <c:v>713.57590000000005</c:v>
                </c:pt>
                <c:pt idx="4447">
                  <c:v>829.39229999999998</c:v>
                </c:pt>
                <c:pt idx="4448">
                  <c:v>912.31830000000002</c:v>
                </c:pt>
                <c:pt idx="4449">
                  <c:v>932.5729</c:v>
                </c:pt>
                <c:pt idx="4450">
                  <c:v>934.58540000000005</c:v>
                </c:pt>
                <c:pt idx="4451">
                  <c:v>922.44889999999998</c:v>
                </c:pt>
                <c:pt idx="4452">
                  <c:v>927.41139999999996</c:v>
                </c:pt>
                <c:pt idx="4453">
                  <c:v>921.39549999999997</c:v>
                </c:pt>
                <c:pt idx="4454">
                  <c:v>900.05859999999996</c:v>
                </c:pt>
                <c:pt idx="4455">
                  <c:v>891.55840000000001</c:v>
                </c:pt>
                <c:pt idx="4456">
                  <c:v>876.96119999999996</c:v>
                </c:pt>
                <c:pt idx="4457">
                  <c:v>850.3777</c:v>
                </c:pt>
                <c:pt idx="4458">
                  <c:v>834.82100000000003</c:v>
                </c:pt>
                <c:pt idx="4459">
                  <c:v>813.98320000000001</c:v>
                </c:pt>
                <c:pt idx="4460">
                  <c:v>801.57370000000003</c:v>
                </c:pt>
                <c:pt idx="4461">
                  <c:v>775.58249999999998</c:v>
                </c:pt>
                <c:pt idx="4462">
                  <c:v>742.6961</c:v>
                </c:pt>
                <c:pt idx="4463">
                  <c:v>696.17610000000002</c:v>
                </c:pt>
                <c:pt idx="4464">
                  <c:v>646.63900000000001</c:v>
                </c:pt>
                <c:pt idx="4465">
                  <c:v>608.9529</c:v>
                </c:pt>
                <c:pt idx="4466">
                  <c:v>593.55880000000002</c:v>
                </c:pt>
                <c:pt idx="4467">
                  <c:v>574.40449999999998</c:v>
                </c:pt>
                <c:pt idx="4468">
                  <c:v>554.76760000000002</c:v>
                </c:pt>
                <c:pt idx="4469">
                  <c:v>558.00319999999999</c:v>
                </c:pt>
                <c:pt idx="4470">
                  <c:v>602.92579999999998</c:v>
                </c:pt>
                <c:pt idx="4471">
                  <c:v>653.52110000000005</c:v>
                </c:pt>
                <c:pt idx="4472">
                  <c:v>717.84249999999997</c:v>
                </c:pt>
                <c:pt idx="4473">
                  <c:v>760.88679999999999</c:v>
                </c:pt>
                <c:pt idx="4474">
                  <c:v>779.51030000000003</c:v>
                </c:pt>
                <c:pt idx="4475">
                  <c:v>775.38009999999997</c:v>
                </c:pt>
                <c:pt idx="4476">
                  <c:v>764.27790000000005</c:v>
                </c:pt>
                <c:pt idx="4477">
                  <c:v>746.27030000000002</c:v>
                </c:pt>
                <c:pt idx="4478">
                  <c:v>736.053</c:v>
                </c:pt>
                <c:pt idx="4479">
                  <c:v>729.23379999999997</c:v>
                </c:pt>
                <c:pt idx="4480">
                  <c:v>718.23770000000002</c:v>
                </c:pt>
                <c:pt idx="4481">
                  <c:v>737.56370000000004</c:v>
                </c:pt>
                <c:pt idx="4482">
                  <c:v>740.07420000000002</c:v>
                </c:pt>
                <c:pt idx="4483">
                  <c:v>731.55889999999999</c:v>
                </c:pt>
                <c:pt idx="4484">
                  <c:v>720.91030000000001</c:v>
                </c:pt>
                <c:pt idx="4485">
                  <c:v>699.23580000000004</c:v>
                </c:pt>
                <c:pt idx="4486">
                  <c:v>675.10770000000002</c:v>
                </c:pt>
                <c:pt idx="4487">
                  <c:v>666.13310000000001</c:v>
                </c:pt>
                <c:pt idx="4488">
                  <c:v>619.54610000000002</c:v>
                </c:pt>
                <c:pt idx="4489">
                  <c:v>605.55999999999995</c:v>
                </c:pt>
                <c:pt idx="4490">
                  <c:v>593.64580000000001</c:v>
                </c:pt>
                <c:pt idx="4491">
                  <c:v>566.80259999999998</c:v>
                </c:pt>
                <c:pt idx="4492">
                  <c:v>553.93619999999999</c:v>
                </c:pt>
                <c:pt idx="4493">
                  <c:v>559.35969999999998</c:v>
                </c:pt>
                <c:pt idx="4494">
                  <c:v>588.87850000000003</c:v>
                </c:pt>
                <c:pt idx="4495">
                  <c:v>644.09090000000003</c:v>
                </c:pt>
                <c:pt idx="4496">
                  <c:v>702.10640000000001</c:v>
                </c:pt>
                <c:pt idx="4497">
                  <c:v>747.13639999999998</c:v>
                </c:pt>
                <c:pt idx="4498">
                  <c:v>757.19489999999996</c:v>
                </c:pt>
                <c:pt idx="4499">
                  <c:v>735.92309999999998</c:v>
                </c:pt>
                <c:pt idx="4500">
                  <c:v>731.14890000000003</c:v>
                </c:pt>
                <c:pt idx="4501">
                  <c:v>725.32060000000001</c:v>
                </c:pt>
                <c:pt idx="4502">
                  <c:v>730.54639999999995</c:v>
                </c:pt>
                <c:pt idx="4503">
                  <c:v>723.32920000000001</c:v>
                </c:pt>
                <c:pt idx="4504">
                  <c:v>730.25620000000004</c:v>
                </c:pt>
                <c:pt idx="4505">
                  <c:v>734.32809999999995</c:v>
                </c:pt>
                <c:pt idx="4506">
                  <c:v>740.66300000000001</c:v>
                </c:pt>
                <c:pt idx="4507">
                  <c:v>735.73209999999995</c:v>
                </c:pt>
                <c:pt idx="4508">
                  <c:v>742.79549999999995</c:v>
                </c:pt>
                <c:pt idx="4509">
                  <c:v>725.77790000000005</c:v>
                </c:pt>
                <c:pt idx="4510">
                  <c:v>723.08489999999995</c:v>
                </c:pt>
                <c:pt idx="4511">
                  <c:v>669.93389999999999</c:v>
                </c:pt>
                <c:pt idx="4512">
                  <c:v>619.57420000000002</c:v>
                </c:pt>
                <c:pt idx="4513">
                  <c:v>597.98400000000004</c:v>
                </c:pt>
                <c:pt idx="4514">
                  <c:v>584.54579999999999</c:v>
                </c:pt>
                <c:pt idx="4515">
                  <c:v>567.27790000000005</c:v>
                </c:pt>
                <c:pt idx="4516">
                  <c:v>552.78800000000001</c:v>
                </c:pt>
                <c:pt idx="4517">
                  <c:v>608.41769999999997</c:v>
                </c:pt>
                <c:pt idx="4518">
                  <c:v>703.50699999999995</c:v>
                </c:pt>
                <c:pt idx="4519">
                  <c:v>813.20169999999996</c:v>
                </c:pt>
                <c:pt idx="4520">
                  <c:v>890.9547</c:v>
                </c:pt>
                <c:pt idx="4521">
                  <c:v>915.75959999999998</c:v>
                </c:pt>
                <c:pt idx="4522">
                  <c:v>927.51559999999995</c:v>
                </c:pt>
                <c:pt idx="4523">
                  <c:v>910.22720000000004</c:v>
                </c:pt>
                <c:pt idx="4524">
                  <c:v>918.55719999999997</c:v>
                </c:pt>
                <c:pt idx="4525">
                  <c:v>921.7704</c:v>
                </c:pt>
                <c:pt idx="4526">
                  <c:v>902.75829999999996</c:v>
                </c:pt>
                <c:pt idx="4527">
                  <c:v>889.95640000000003</c:v>
                </c:pt>
                <c:pt idx="4528">
                  <c:v>852.08590000000004</c:v>
                </c:pt>
                <c:pt idx="4529">
                  <c:v>848.04629999999997</c:v>
                </c:pt>
                <c:pt idx="4530">
                  <c:v>821.16920000000005</c:v>
                </c:pt>
                <c:pt idx="4531">
                  <c:v>812.98519999999996</c:v>
                </c:pt>
                <c:pt idx="4532">
                  <c:v>791.17169999999999</c:v>
                </c:pt>
                <c:pt idx="4533">
                  <c:v>764.69309999999996</c:v>
                </c:pt>
                <c:pt idx="4534">
                  <c:v>745.14459999999997</c:v>
                </c:pt>
                <c:pt idx="4535">
                  <c:v>670.23249999999996</c:v>
                </c:pt>
                <c:pt idx="4536">
                  <c:v>629.39840000000004</c:v>
                </c:pt>
                <c:pt idx="4537">
                  <c:v>601.60080000000005</c:v>
                </c:pt>
                <c:pt idx="4538">
                  <c:v>594.04229999999995</c:v>
                </c:pt>
                <c:pt idx="4539">
                  <c:v>579.37429999999995</c:v>
                </c:pt>
                <c:pt idx="4540">
                  <c:v>560.10659999999996</c:v>
                </c:pt>
                <c:pt idx="4541">
                  <c:v>600.97270000000003</c:v>
                </c:pt>
                <c:pt idx="4542">
                  <c:v>707.51070000000004</c:v>
                </c:pt>
                <c:pt idx="4543">
                  <c:v>818.29899999999998</c:v>
                </c:pt>
                <c:pt idx="4544">
                  <c:v>914.14020000000005</c:v>
                </c:pt>
                <c:pt idx="4545">
                  <c:v>936.01300000000003</c:v>
                </c:pt>
                <c:pt idx="4546">
                  <c:v>949.36040000000003</c:v>
                </c:pt>
                <c:pt idx="4547">
                  <c:v>937.5258</c:v>
                </c:pt>
                <c:pt idx="4548">
                  <c:v>937.77760000000001</c:v>
                </c:pt>
                <c:pt idx="4549">
                  <c:v>946.34699999999998</c:v>
                </c:pt>
                <c:pt idx="4550">
                  <c:v>936.49239999999998</c:v>
                </c:pt>
                <c:pt idx="4551">
                  <c:v>919.24350000000004</c:v>
                </c:pt>
                <c:pt idx="4552">
                  <c:v>891.65769999999998</c:v>
                </c:pt>
                <c:pt idx="4553">
                  <c:v>892.50959999999998</c:v>
                </c:pt>
                <c:pt idx="4554">
                  <c:v>871.8211</c:v>
                </c:pt>
                <c:pt idx="4555">
                  <c:v>849.39670000000001</c:v>
                </c:pt>
                <c:pt idx="4556">
                  <c:v>841.25930000000005</c:v>
                </c:pt>
                <c:pt idx="4557">
                  <c:v>814.48490000000004</c:v>
                </c:pt>
                <c:pt idx="4558">
                  <c:v>769.96529999999996</c:v>
                </c:pt>
                <c:pt idx="4559">
                  <c:v>693.14790000000005</c:v>
                </c:pt>
                <c:pt idx="4560">
                  <c:v>640.20010000000002</c:v>
                </c:pt>
                <c:pt idx="4561">
                  <c:v>605.64459999999997</c:v>
                </c:pt>
                <c:pt idx="4562">
                  <c:v>597.65610000000004</c:v>
                </c:pt>
                <c:pt idx="4563">
                  <c:v>582.77369999999996</c:v>
                </c:pt>
                <c:pt idx="4564">
                  <c:v>564.44870000000003</c:v>
                </c:pt>
                <c:pt idx="4565">
                  <c:v>611.94230000000005</c:v>
                </c:pt>
                <c:pt idx="4566">
                  <c:v>702.10829999999999</c:v>
                </c:pt>
                <c:pt idx="4567">
                  <c:v>821.24270000000001</c:v>
                </c:pt>
                <c:pt idx="4568">
                  <c:v>921.38689999999997</c:v>
                </c:pt>
                <c:pt idx="4569">
                  <c:v>937.32429999999999</c:v>
                </c:pt>
                <c:pt idx="4570">
                  <c:v>939.53740000000005</c:v>
                </c:pt>
                <c:pt idx="4571">
                  <c:v>925.28009999999995</c:v>
                </c:pt>
                <c:pt idx="4572">
                  <c:v>931.19219999999996</c:v>
                </c:pt>
                <c:pt idx="4573">
                  <c:v>926.75149999999996</c:v>
                </c:pt>
                <c:pt idx="4574">
                  <c:v>898.51070000000004</c:v>
                </c:pt>
                <c:pt idx="4575">
                  <c:v>891.1182</c:v>
                </c:pt>
                <c:pt idx="4576">
                  <c:v>856.99850000000004</c:v>
                </c:pt>
                <c:pt idx="4577">
                  <c:v>853.84059999999999</c:v>
                </c:pt>
                <c:pt idx="4578">
                  <c:v>850.01459999999997</c:v>
                </c:pt>
                <c:pt idx="4579">
                  <c:v>835.92430000000002</c:v>
                </c:pt>
                <c:pt idx="4580">
                  <c:v>814.69320000000005</c:v>
                </c:pt>
                <c:pt idx="4581">
                  <c:v>804.71100000000001</c:v>
                </c:pt>
                <c:pt idx="4582">
                  <c:v>775.1748</c:v>
                </c:pt>
                <c:pt idx="4583">
                  <c:v>712.31010000000003</c:v>
                </c:pt>
                <c:pt idx="4584">
                  <c:v>658.50350000000003</c:v>
                </c:pt>
                <c:pt idx="4585">
                  <c:v>615.9085</c:v>
                </c:pt>
                <c:pt idx="4586">
                  <c:v>586.55489999999998</c:v>
                </c:pt>
                <c:pt idx="4587">
                  <c:v>572.39670000000001</c:v>
                </c:pt>
                <c:pt idx="4588">
                  <c:v>549.45590000000004</c:v>
                </c:pt>
                <c:pt idx="4589">
                  <c:v>584.33600000000001</c:v>
                </c:pt>
                <c:pt idx="4590">
                  <c:v>702.26859999999999</c:v>
                </c:pt>
                <c:pt idx="4591">
                  <c:v>813.62630000000001</c:v>
                </c:pt>
                <c:pt idx="4592">
                  <c:v>899.69680000000005</c:v>
                </c:pt>
                <c:pt idx="4593">
                  <c:v>921.98969999999997</c:v>
                </c:pt>
                <c:pt idx="4594">
                  <c:v>930.07370000000003</c:v>
                </c:pt>
                <c:pt idx="4595">
                  <c:v>905.71310000000005</c:v>
                </c:pt>
                <c:pt idx="4596">
                  <c:v>913.13530000000003</c:v>
                </c:pt>
                <c:pt idx="4597">
                  <c:v>930.73739999999998</c:v>
                </c:pt>
                <c:pt idx="4598">
                  <c:v>922.0213</c:v>
                </c:pt>
                <c:pt idx="4599">
                  <c:v>912.94150000000002</c:v>
                </c:pt>
                <c:pt idx="4600">
                  <c:v>881.11569999999995</c:v>
                </c:pt>
                <c:pt idx="4601">
                  <c:v>862.83910000000003</c:v>
                </c:pt>
                <c:pt idx="4602">
                  <c:v>837.62909999999999</c:v>
                </c:pt>
                <c:pt idx="4603">
                  <c:v>832.94380000000001</c:v>
                </c:pt>
                <c:pt idx="4604">
                  <c:v>814.16949999999997</c:v>
                </c:pt>
                <c:pt idx="4605">
                  <c:v>777.25710000000004</c:v>
                </c:pt>
                <c:pt idx="4606">
                  <c:v>762.08130000000006</c:v>
                </c:pt>
                <c:pt idx="4607">
                  <c:v>704.17679999999996</c:v>
                </c:pt>
                <c:pt idx="4608">
                  <c:v>658.0009</c:v>
                </c:pt>
                <c:pt idx="4609">
                  <c:v>636.59770000000003</c:v>
                </c:pt>
                <c:pt idx="4610">
                  <c:v>626.38760000000002</c:v>
                </c:pt>
                <c:pt idx="4611">
                  <c:v>607.93039999999996</c:v>
                </c:pt>
                <c:pt idx="4612">
                  <c:v>585.65160000000003</c:v>
                </c:pt>
                <c:pt idx="4613">
                  <c:v>623.12549999999999</c:v>
                </c:pt>
                <c:pt idx="4614">
                  <c:v>727.6472</c:v>
                </c:pt>
                <c:pt idx="4615">
                  <c:v>818.69460000000004</c:v>
                </c:pt>
                <c:pt idx="4616">
                  <c:v>889.13469999999995</c:v>
                </c:pt>
                <c:pt idx="4617">
                  <c:v>918.94449999999995</c:v>
                </c:pt>
                <c:pt idx="4618">
                  <c:v>911.00580000000002</c:v>
                </c:pt>
                <c:pt idx="4619">
                  <c:v>902.29269999999997</c:v>
                </c:pt>
                <c:pt idx="4620">
                  <c:v>895.28089999999997</c:v>
                </c:pt>
                <c:pt idx="4621">
                  <c:v>891.32500000000005</c:v>
                </c:pt>
                <c:pt idx="4622">
                  <c:v>877.26170000000002</c:v>
                </c:pt>
                <c:pt idx="4623">
                  <c:v>867.7672</c:v>
                </c:pt>
                <c:pt idx="4624">
                  <c:v>839.29840000000002</c:v>
                </c:pt>
                <c:pt idx="4625">
                  <c:v>832.42679999999996</c:v>
                </c:pt>
                <c:pt idx="4626">
                  <c:v>808.27359999999999</c:v>
                </c:pt>
                <c:pt idx="4627">
                  <c:v>790.27670000000001</c:v>
                </c:pt>
                <c:pt idx="4628">
                  <c:v>773.51030000000003</c:v>
                </c:pt>
                <c:pt idx="4629">
                  <c:v>738.82429999999999</c:v>
                </c:pt>
                <c:pt idx="4630">
                  <c:v>723.30899999999997</c:v>
                </c:pt>
                <c:pt idx="4631">
                  <c:v>688.99659999999994</c:v>
                </c:pt>
                <c:pt idx="4632">
                  <c:v>633.197</c:v>
                </c:pt>
                <c:pt idx="4633">
                  <c:v>609.24440000000004</c:v>
                </c:pt>
                <c:pt idx="4634">
                  <c:v>587.44839999999999</c:v>
                </c:pt>
                <c:pt idx="4635">
                  <c:v>570.91099999999994</c:v>
                </c:pt>
                <c:pt idx="4636">
                  <c:v>544.75729999999999</c:v>
                </c:pt>
                <c:pt idx="4637">
                  <c:v>563.96040000000005</c:v>
                </c:pt>
                <c:pt idx="4638">
                  <c:v>588.55949999999996</c:v>
                </c:pt>
                <c:pt idx="4639">
                  <c:v>659.8211</c:v>
                </c:pt>
                <c:pt idx="4640">
                  <c:v>719.54499999999996</c:v>
                </c:pt>
                <c:pt idx="4641">
                  <c:v>753.34339999999997</c:v>
                </c:pt>
                <c:pt idx="4642">
                  <c:v>751.97339999999997</c:v>
                </c:pt>
                <c:pt idx="4643">
                  <c:v>759.35249999999996</c:v>
                </c:pt>
                <c:pt idx="4644">
                  <c:v>744.72149999999999</c:v>
                </c:pt>
                <c:pt idx="4645">
                  <c:v>745.11839999999995</c:v>
                </c:pt>
                <c:pt idx="4646">
                  <c:v>740.19629999999995</c:v>
                </c:pt>
                <c:pt idx="4647">
                  <c:v>739.4153</c:v>
                </c:pt>
                <c:pt idx="4648">
                  <c:v>734.68889999999999</c:v>
                </c:pt>
                <c:pt idx="4649">
                  <c:v>745.60670000000005</c:v>
                </c:pt>
                <c:pt idx="4650">
                  <c:v>731.56679999999994</c:v>
                </c:pt>
                <c:pt idx="4651">
                  <c:v>735.11400000000003</c:v>
                </c:pt>
                <c:pt idx="4652">
                  <c:v>731.41549999999995</c:v>
                </c:pt>
                <c:pt idx="4653">
                  <c:v>712.7586</c:v>
                </c:pt>
                <c:pt idx="4654">
                  <c:v>719.54240000000004</c:v>
                </c:pt>
                <c:pt idx="4655">
                  <c:v>664.89859999999999</c:v>
                </c:pt>
                <c:pt idx="4656">
                  <c:v>624.35760000000005</c:v>
                </c:pt>
                <c:pt idx="4657">
                  <c:v>604.94399999999996</c:v>
                </c:pt>
                <c:pt idx="4658">
                  <c:v>588.05539999999996</c:v>
                </c:pt>
                <c:pt idx="4659">
                  <c:v>564.23109999999997</c:v>
                </c:pt>
                <c:pt idx="4660">
                  <c:v>534.79160000000002</c:v>
                </c:pt>
                <c:pt idx="4661">
                  <c:v>544.65520000000004</c:v>
                </c:pt>
                <c:pt idx="4662">
                  <c:v>566.33069999999998</c:v>
                </c:pt>
                <c:pt idx="4663">
                  <c:v>618.51900000000001</c:v>
                </c:pt>
                <c:pt idx="4664">
                  <c:v>692.30809999999997</c:v>
                </c:pt>
                <c:pt idx="4665">
                  <c:v>718.01739999999995</c:v>
                </c:pt>
                <c:pt idx="4666">
                  <c:v>738.97149999999999</c:v>
                </c:pt>
                <c:pt idx="4667">
                  <c:v>738.56169999999997</c:v>
                </c:pt>
                <c:pt idx="4668">
                  <c:v>733.94759999999997</c:v>
                </c:pt>
                <c:pt idx="4669">
                  <c:v>724.79989999999998</c:v>
                </c:pt>
                <c:pt idx="4670">
                  <c:v>712.10040000000004</c:v>
                </c:pt>
                <c:pt idx="4671">
                  <c:v>708.66669999999999</c:v>
                </c:pt>
                <c:pt idx="4672">
                  <c:v>722.17349999999999</c:v>
                </c:pt>
                <c:pt idx="4673">
                  <c:v>727.18309999999997</c:v>
                </c:pt>
                <c:pt idx="4674">
                  <c:v>730.52250000000004</c:v>
                </c:pt>
                <c:pt idx="4675">
                  <c:v>740.60760000000005</c:v>
                </c:pt>
                <c:pt idx="4676">
                  <c:v>738.42290000000003</c:v>
                </c:pt>
                <c:pt idx="4677">
                  <c:v>721.62959999999998</c:v>
                </c:pt>
                <c:pt idx="4678">
                  <c:v>717.88909999999998</c:v>
                </c:pt>
                <c:pt idx="4679">
                  <c:v>667.8184</c:v>
                </c:pt>
                <c:pt idx="4680">
                  <c:v>616.67740000000003</c:v>
                </c:pt>
                <c:pt idx="4681">
                  <c:v>583.1404</c:v>
                </c:pt>
                <c:pt idx="4682">
                  <c:v>569.68290000000002</c:v>
                </c:pt>
                <c:pt idx="4683">
                  <c:v>563.0607</c:v>
                </c:pt>
                <c:pt idx="4684">
                  <c:v>546.55520000000001</c:v>
                </c:pt>
                <c:pt idx="4685">
                  <c:v>581.3569</c:v>
                </c:pt>
                <c:pt idx="4686">
                  <c:v>657.30100000000004</c:v>
                </c:pt>
                <c:pt idx="4687">
                  <c:v>760.70939999999996</c:v>
                </c:pt>
                <c:pt idx="4688">
                  <c:v>850.51409999999998</c:v>
                </c:pt>
                <c:pt idx="4689">
                  <c:v>862.33479999999997</c:v>
                </c:pt>
                <c:pt idx="4690">
                  <c:v>871.83939999999996</c:v>
                </c:pt>
                <c:pt idx="4691">
                  <c:v>874.2269</c:v>
                </c:pt>
                <c:pt idx="4692">
                  <c:v>867.26369999999997</c:v>
                </c:pt>
                <c:pt idx="4693">
                  <c:v>868.17250000000001</c:v>
                </c:pt>
                <c:pt idx="4694">
                  <c:v>858.77200000000005</c:v>
                </c:pt>
                <c:pt idx="4695">
                  <c:v>854.01350000000002</c:v>
                </c:pt>
                <c:pt idx="4696">
                  <c:v>847.44560000000001</c:v>
                </c:pt>
                <c:pt idx="4697">
                  <c:v>844.81100000000004</c:v>
                </c:pt>
                <c:pt idx="4698">
                  <c:v>831.86599999999999</c:v>
                </c:pt>
                <c:pt idx="4699">
                  <c:v>810.08249999999998</c:v>
                </c:pt>
                <c:pt idx="4700">
                  <c:v>799.09559999999999</c:v>
                </c:pt>
                <c:pt idx="4701">
                  <c:v>783.49459999999999</c:v>
                </c:pt>
                <c:pt idx="4702">
                  <c:v>763.1472</c:v>
                </c:pt>
                <c:pt idx="4703">
                  <c:v>684.03030000000001</c:v>
                </c:pt>
                <c:pt idx="4704">
                  <c:v>630.00490000000002</c:v>
                </c:pt>
                <c:pt idx="4705">
                  <c:v>594.08050000000003</c:v>
                </c:pt>
                <c:pt idx="4706">
                  <c:v>578.58820000000003</c:v>
                </c:pt>
                <c:pt idx="4707">
                  <c:v>579.69349999999997</c:v>
                </c:pt>
                <c:pt idx="4708">
                  <c:v>552.10860000000002</c:v>
                </c:pt>
                <c:pt idx="4709">
                  <c:v>600.07029999999997</c:v>
                </c:pt>
                <c:pt idx="4710">
                  <c:v>686.13229999999999</c:v>
                </c:pt>
                <c:pt idx="4711">
                  <c:v>787.74429999999995</c:v>
                </c:pt>
                <c:pt idx="4712">
                  <c:v>866.89120000000003</c:v>
                </c:pt>
                <c:pt idx="4713">
                  <c:v>872.55119999999999</c:v>
                </c:pt>
                <c:pt idx="4714">
                  <c:v>888.16650000000004</c:v>
                </c:pt>
                <c:pt idx="4715">
                  <c:v>871.04549999999995</c:v>
                </c:pt>
                <c:pt idx="4716">
                  <c:v>880.1789</c:v>
                </c:pt>
                <c:pt idx="4717">
                  <c:v>867.68960000000004</c:v>
                </c:pt>
                <c:pt idx="4718">
                  <c:v>880.65620000000001</c:v>
                </c:pt>
                <c:pt idx="4719">
                  <c:v>884.01880000000006</c:v>
                </c:pt>
                <c:pt idx="4720">
                  <c:v>878.43100000000004</c:v>
                </c:pt>
                <c:pt idx="4721">
                  <c:v>868.96759999999995</c:v>
                </c:pt>
                <c:pt idx="4722">
                  <c:v>846.59</c:v>
                </c:pt>
                <c:pt idx="4723">
                  <c:v>824.15809999999999</c:v>
                </c:pt>
                <c:pt idx="4724">
                  <c:v>792.94320000000005</c:v>
                </c:pt>
                <c:pt idx="4725">
                  <c:v>773.1413</c:v>
                </c:pt>
                <c:pt idx="4726">
                  <c:v>750.96839999999997</c:v>
                </c:pt>
                <c:pt idx="4727">
                  <c:v>674.83579999999995</c:v>
                </c:pt>
                <c:pt idx="4728">
                  <c:v>632.95920000000001</c:v>
                </c:pt>
                <c:pt idx="4729">
                  <c:v>596.95420000000001</c:v>
                </c:pt>
                <c:pt idx="4730">
                  <c:v>578.43100000000004</c:v>
                </c:pt>
                <c:pt idx="4731">
                  <c:v>575.11919999999998</c:v>
                </c:pt>
                <c:pt idx="4732">
                  <c:v>547.42139999999995</c:v>
                </c:pt>
                <c:pt idx="4733">
                  <c:v>588.39790000000005</c:v>
                </c:pt>
                <c:pt idx="4734">
                  <c:v>676.56939999999997</c:v>
                </c:pt>
                <c:pt idx="4735">
                  <c:v>793.81230000000005</c:v>
                </c:pt>
                <c:pt idx="4736">
                  <c:v>854.18700000000001</c:v>
                </c:pt>
                <c:pt idx="4737">
                  <c:v>879.69619999999998</c:v>
                </c:pt>
                <c:pt idx="4738">
                  <c:v>878.37369999999999</c:v>
                </c:pt>
                <c:pt idx="4739">
                  <c:v>868.49109999999996</c:v>
                </c:pt>
                <c:pt idx="4740">
                  <c:v>870.86300000000006</c:v>
                </c:pt>
                <c:pt idx="4741">
                  <c:v>884.64919999999995</c:v>
                </c:pt>
                <c:pt idx="4742">
                  <c:v>873.82500000000005</c:v>
                </c:pt>
                <c:pt idx="4743">
                  <c:v>851.87519999999995</c:v>
                </c:pt>
                <c:pt idx="4744">
                  <c:v>836.18340000000001</c:v>
                </c:pt>
                <c:pt idx="4745">
                  <c:v>842.67899999999997</c:v>
                </c:pt>
                <c:pt idx="4746">
                  <c:v>825.10940000000005</c:v>
                </c:pt>
                <c:pt idx="4747">
                  <c:v>809.60220000000004</c:v>
                </c:pt>
                <c:pt idx="4748">
                  <c:v>793.26819999999998</c:v>
                </c:pt>
                <c:pt idx="4749">
                  <c:v>772.35249999999996</c:v>
                </c:pt>
                <c:pt idx="4750">
                  <c:v>750.84640000000002</c:v>
                </c:pt>
                <c:pt idx="4751">
                  <c:v>686.60050000000001</c:v>
                </c:pt>
                <c:pt idx="4752">
                  <c:v>631.34670000000006</c:v>
                </c:pt>
                <c:pt idx="4753">
                  <c:v>597.21579999999994</c:v>
                </c:pt>
                <c:pt idx="4754">
                  <c:v>580.01620000000003</c:v>
                </c:pt>
                <c:pt idx="4755">
                  <c:v>573.06899999999996</c:v>
                </c:pt>
                <c:pt idx="4756">
                  <c:v>548.99369999999999</c:v>
                </c:pt>
                <c:pt idx="4757">
                  <c:v>583.13869999999997</c:v>
                </c:pt>
                <c:pt idx="4758">
                  <c:v>686.88400000000001</c:v>
                </c:pt>
                <c:pt idx="4759">
                  <c:v>778.70460000000003</c:v>
                </c:pt>
                <c:pt idx="4760">
                  <c:v>863.75789999999995</c:v>
                </c:pt>
                <c:pt idx="4761">
                  <c:v>888.51649999999995</c:v>
                </c:pt>
                <c:pt idx="4762">
                  <c:v>889.91459999999995</c:v>
                </c:pt>
                <c:pt idx="4763">
                  <c:v>869.21450000000004</c:v>
                </c:pt>
                <c:pt idx="4764">
                  <c:v>898.47640000000001</c:v>
                </c:pt>
                <c:pt idx="4765">
                  <c:v>887.63279999999997</c:v>
                </c:pt>
                <c:pt idx="4766">
                  <c:v>886.96699999999998</c:v>
                </c:pt>
                <c:pt idx="4767">
                  <c:v>879.23770000000002</c:v>
                </c:pt>
                <c:pt idx="4768">
                  <c:v>862.64670000000001</c:v>
                </c:pt>
                <c:pt idx="4769">
                  <c:v>856.00189999999998</c:v>
                </c:pt>
                <c:pt idx="4770">
                  <c:v>839.6277</c:v>
                </c:pt>
                <c:pt idx="4771">
                  <c:v>823.77149999999995</c:v>
                </c:pt>
                <c:pt idx="4772">
                  <c:v>811.12149999999997</c:v>
                </c:pt>
                <c:pt idx="4773">
                  <c:v>776.03250000000003</c:v>
                </c:pt>
                <c:pt idx="4774">
                  <c:v>759.05349999999999</c:v>
                </c:pt>
                <c:pt idx="4775">
                  <c:v>691.01930000000004</c:v>
                </c:pt>
                <c:pt idx="4776">
                  <c:v>641.93560000000002</c:v>
                </c:pt>
                <c:pt idx="4777">
                  <c:v>609.08079999999995</c:v>
                </c:pt>
                <c:pt idx="4778">
                  <c:v>590.00429999999994</c:v>
                </c:pt>
                <c:pt idx="4779">
                  <c:v>580.89179999999999</c:v>
                </c:pt>
                <c:pt idx="4780">
                  <c:v>558.05489999999998</c:v>
                </c:pt>
                <c:pt idx="4781">
                  <c:v>595.24929999999995</c:v>
                </c:pt>
                <c:pt idx="4782">
                  <c:v>693.41790000000003</c:v>
                </c:pt>
                <c:pt idx="4783">
                  <c:v>799.96680000000003</c:v>
                </c:pt>
                <c:pt idx="4784">
                  <c:v>883.44560000000001</c:v>
                </c:pt>
                <c:pt idx="4785">
                  <c:v>909.62620000000004</c:v>
                </c:pt>
                <c:pt idx="4786">
                  <c:v>910.66010000000006</c:v>
                </c:pt>
                <c:pt idx="4787">
                  <c:v>891.54859999999996</c:v>
                </c:pt>
                <c:pt idx="4788">
                  <c:v>901.86959999999999</c:v>
                </c:pt>
                <c:pt idx="4789">
                  <c:v>899.94090000000006</c:v>
                </c:pt>
                <c:pt idx="4790">
                  <c:v>883.91499999999996</c:v>
                </c:pt>
                <c:pt idx="4791">
                  <c:v>865.88130000000001</c:v>
                </c:pt>
                <c:pt idx="4792">
                  <c:v>851.33960000000002</c:v>
                </c:pt>
                <c:pt idx="4793">
                  <c:v>839.67290000000003</c:v>
                </c:pt>
                <c:pt idx="4794">
                  <c:v>818.4819</c:v>
                </c:pt>
                <c:pt idx="4795">
                  <c:v>798.97190000000001</c:v>
                </c:pt>
                <c:pt idx="4796">
                  <c:v>785.91070000000002</c:v>
                </c:pt>
                <c:pt idx="4797">
                  <c:v>760.91690000000006</c:v>
                </c:pt>
                <c:pt idx="4798">
                  <c:v>741.31380000000001</c:v>
                </c:pt>
                <c:pt idx="4799">
                  <c:v>690.66679999999997</c:v>
                </c:pt>
                <c:pt idx="4800">
                  <c:v>642.98069999999996</c:v>
                </c:pt>
                <c:pt idx="4801">
                  <c:v>613.98289999999997</c:v>
                </c:pt>
                <c:pt idx="4802">
                  <c:v>601.63789999999995</c:v>
                </c:pt>
                <c:pt idx="4803">
                  <c:v>584.23119999999994</c:v>
                </c:pt>
                <c:pt idx="4804">
                  <c:v>540.81679999999994</c:v>
                </c:pt>
                <c:pt idx="4805">
                  <c:v>555.40940000000001</c:v>
                </c:pt>
                <c:pt idx="4806">
                  <c:v>592.16959999999995</c:v>
                </c:pt>
                <c:pt idx="4807">
                  <c:v>658.32249999999999</c:v>
                </c:pt>
                <c:pt idx="4808">
                  <c:v>725.44460000000004</c:v>
                </c:pt>
                <c:pt idx="4809">
                  <c:v>763.58479999999997</c:v>
                </c:pt>
                <c:pt idx="4810">
                  <c:v>773.01930000000004</c:v>
                </c:pt>
                <c:pt idx="4811">
                  <c:v>755.18989999999997</c:v>
                </c:pt>
                <c:pt idx="4812">
                  <c:v>746.45069999999998</c:v>
                </c:pt>
                <c:pt idx="4813">
                  <c:v>726.43380000000002</c:v>
                </c:pt>
                <c:pt idx="4814">
                  <c:v>717.3356</c:v>
                </c:pt>
                <c:pt idx="4815">
                  <c:v>732.54340000000002</c:v>
                </c:pt>
                <c:pt idx="4816">
                  <c:v>736.19939999999997</c:v>
                </c:pt>
                <c:pt idx="4817">
                  <c:v>745.82590000000005</c:v>
                </c:pt>
                <c:pt idx="4818">
                  <c:v>753.28060000000005</c:v>
                </c:pt>
                <c:pt idx="4819">
                  <c:v>756.82690000000002</c:v>
                </c:pt>
                <c:pt idx="4820">
                  <c:v>742.03340000000003</c:v>
                </c:pt>
                <c:pt idx="4821">
                  <c:v>707.85599999999999</c:v>
                </c:pt>
                <c:pt idx="4822">
                  <c:v>718.65309999999999</c:v>
                </c:pt>
                <c:pt idx="4823">
                  <c:v>673.45579999999995</c:v>
                </c:pt>
                <c:pt idx="4824">
                  <c:v>619.89959999999996</c:v>
                </c:pt>
                <c:pt idx="4825">
                  <c:v>595.37149999999997</c:v>
                </c:pt>
                <c:pt idx="4826">
                  <c:v>581.24659999999994</c:v>
                </c:pt>
                <c:pt idx="4827">
                  <c:v>568.84299999999996</c:v>
                </c:pt>
                <c:pt idx="4828">
                  <c:v>536.31659999999999</c:v>
                </c:pt>
                <c:pt idx="4829">
                  <c:v>525.53930000000003</c:v>
                </c:pt>
                <c:pt idx="4830">
                  <c:v>568.60040000000004</c:v>
                </c:pt>
                <c:pt idx="4831">
                  <c:v>628.94169999999997</c:v>
                </c:pt>
                <c:pt idx="4832">
                  <c:v>684.71969999999999</c:v>
                </c:pt>
                <c:pt idx="4833">
                  <c:v>733.14400000000001</c:v>
                </c:pt>
                <c:pt idx="4834">
                  <c:v>736.1191</c:v>
                </c:pt>
                <c:pt idx="4835">
                  <c:v>733.077</c:v>
                </c:pt>
                <c:pt idx="4836">
                  <c:v>728.8777</c:v>
                </c:pt>
                <c:pt idx="4837">
                  <c:v>725.20659999999998</c:v>
                </c:pt>
                <c:pt idx="4838">
                  <c:v>716.71799999999996</c:v>
                </c:pt>
                <c:pt idx="4839">
                  <c:v>726.26170000000002</c:v>
                </c:pt>
                <c:pt idx="4840">
                  <c:v>741.17769999999996</c:v>
                </c:pt>
                <c:pt idx="4841">
                  <c:v>754.48270000000002</c:v>
                </c:pt>
                <c:pt idx="4842">
                  <c:v>765.67219999999998</c:v>
                </c:pt>
                <c:pt idx="4843">
                  <c:v>771.37750000000005</c:v>
                </c:pt>
                <c:pt idx="4844">
                  <c:v>776.49869999999999</c:v>
                </c:pt>
                <c:pt idx="4845">
                  <c:v>748.1558</c:v>
                </c:pt>
                <c:pt idx="4846">
                  <c:v>734.4683</c:v>
                </c:pt>
                <c:pt idx="4847">
                  <c:v>676.46929999999998</c:v>
                </c:pt>
                <c:pt idx="4848">
                  <c:v>629.49329999999998</c:v>
                </c:pt>
                <c:pt idx="4849">
                  <c:v>596.92510000000004</c:v>
                </c:pt>
                <c:pt idx="4850">
                  <c:v>579.60239999999999</c:v>
                </c:pt>
                <c:pt idx="4851">
                  <c:v>568.55840000000001</c:v>
                </c:pt>
                <c:pt idx="4852">
                  <c:v>538.39880000000005</c:v>
                </c:pt>
                <c:pt idx="4853">
                  <c:v>580.50990000000002</c:v>
                </c:pt>
                <c:pt idx="4854">
                  <c:v>685.72140000000002</c:v>
                </c:pt>
                <c:pt idx="4855">
                  <c:v>796.5684</c:v>
                </c:pt>
                <c:pt idx="4856">
                  <c:v>901.22820000000002</c:v>
                </c:pt>
                <c:pt idx="4857">
                  <c:v>939.98379999999997</c:v>
                </c:pt>
                <c:pt idx="4858">
                  <c:v>951.93020000000001</c:v>
                </c:pt>
                <c:pt idx="4859">
                  <c:v>945.78440000000001</c:v>
                </c:pt>
                <c:pt idx="4860">
                  <c:v>953.89970000000005</c:v>
                </c:pt>
                <c:pt idx="4861">
                  <c:v>959.55730000000005</c:v>
                </c:pt>
                <c:pt idx="4862">
                  <c:v>943.16060000000004</c:v>
                </c:pt>
                <c:pt idx="4863">
                  <c:v>934.09780000000001</c:v>
                </c:pt>
                <c:pt idx="4864">
                  <c:v>903.80880000000002</c:v>
                </c:pt>
                <c:pt idx="4865">
                  <c:v>903.84140000000002</c:v>
                </c:pt>
                <c:pt idx="4866">
                  <c:v>869.18939999999998</c:v>
                </c:pt>
                <c:pt idx="4867">
                  <c:v>844.6431</c:v>
                </c:pt>
                <c:pt idx="4868">
                  <c:v>823.19529999999997</c:v>
                </c:pt>
                <c:pt idx="4869">
                  <c:v>795.81269999999995</c:v>
                </c:pt>
                <c:pt idx="4870">
                  <c:v>767.61059999999998</c:v>
                </c:pt>
                <c:pt idx="4871">
                  <c:v>685.33550000000002</c:v>
                </c:pt>
                <c:pt idx="4872">
                  <c:v>644.15419999999995</c:v>
                </c:pt>
                <c:pt idx="4873">
                  <c:v>618.19159999999999</c:v>
                </c:pt>
                <c:pt idx="4874">
                  <c:v>600.01440000000002</c:v>
                </c:pt>
                <c:pt idx="4875">
                  <c:v>586.67430000000002</c:v>
                </c:pt>
                <c:pt idx="4876">
                  <c:v>566.66570000000002</c:v>
                </c:pt>
                <c:pt idx="4877">
                  <c:v>601.51890000000003</c:v>
                </c:pt>
                <c:pt idx="4878">
                  <c:v>707.07839999999999</c:v>
                </c:pt>
                <c:pt idx="4879">
                  <c:v>819.03539999999998</c:v>
                </c:pt>
                <c:pt idx="4880">
                  <c:v>902.44759999999997</c:v>
                </c:pt>
                <c:pt idx="4881">
                  <c:v>938.18650000000002</c:v>
                </c:pt>
                <c:pt idx="4882">
                  <c:v>926.99080000000004</c:v>
                </c:pt>
                <c:pt idx="4883">
                  <c:v>920.83370000000002</c:v>
                </c:pt>
                <c:pt idx="4884">
                  <c:v>923.28660000000002</c:v>
                </c:pt>
                <c:pt idx="4885">
                  <c:v>929.59670000000006</c:v>
                </c:pt>
                <c:pt idx="4886">
                  <c:v>925.80150000000003</c:v>
                </c:pt>
                <c:pt idx="4887">
                  <c:v>920.43179999999995</c:v>
                </c:pt>
                <c:pt idx="4888">
                  <c:v>894.23040000000003</c:v>
                </c:pt>
                <c:pt idx="4889">
                  <c:v>895.35599999999999</c:v>
                </c:pt>
                <c:pt idx="4890">
                  <c:v>879.67759999999998</c:v>
                </c:pt>
                <c:pt idx="4891">
                  <c:v>856.36860000000001</c:v>
                </c:pt>
                <c:pt idx="4892">
                  <c:v>834.30820000000006</c:v>
                </c:pt>
                <c:pt idx="4893">
                  <c:v>800.22810000000004</c:v>
                </c:pt>
                <c:pt idx="4894">
                  <c:v>781.09720000000004</c:v>
                </c:pt>
                <c:pt idx="4895">
                  <c:v>709.3845</c:v>
                </c:pt>
                <c:pt idx="4896">
                  <c:v>645.93730000000005</c:v>
                </c:pt>
                <c:pt idx="4897">
                  <c:v>621.87009999999998</c:v>
                </c:pt>
                <c:pt idx="4898">
                  <c:v>604.68700000000001</c:v>
                </c:pt>
                <c:pt idx="4899">
                  <c:v>601.22130000000004</c:v>
                </c:pt>
                <c:pt idx="4900">
                  <c:v>564.22220000000004</c:v>
                </c:pt>
                <c:pt idx="4901">
                  <c:v>600.78620000000001</c:v>
                </c:pt>
                <c:pt idx="4902">
                  <c:v>705.58010000000002</c:v>
                </c:pt>
                <c:pt idx="4903">
                  <c:v>819.72490000000005</c:v>
                </c:pt>
                <c:pt idx="4904">
                  <c:v>906.15170000000001</c:v>
                </c:pt>
                <c:pt idx="4905">
                  <c:v>934.35590000000002</c:v>
                </c:pt>
                <c:pt idx="4906">
                  <c:v>940.20259999999996</c:v>
                </c:pt>
                <c:pt idx="4907">
                  <c:v>930.36699999999996</c:v>
                </c:pt>
                <c:pt idx="4908">
                  <c:v>935.298</c:v>
                </c:pt>
                <c:pt idx="4909">
                  <c:v>931.81380000000001</c:v>
                </c:pt>
                <c:pt idx="4910">
                  <c:v>924.45609999999999</c:v>
                </c:pt>
                <c:pt idx="4911">
                  <c:v>919.12249999999995</c:v>
                </c:pt>
                <c:pt idx="4912">
                  <c:v>906.27840000000003</c:v>
                </c:pt>
                <c:pt idx="4913">
                  <c:v>895.12929999999994</c:v>
                </c:pt>
                <c:pt idx="4914">
                  <c:v>869.35919999999999</c:v>
                </c:pt>
                <c:pt idx="4915">
                  <c:v>863.03610000000003</c:v>
                </c:pt>
                <c:pt idx="4916">
                  <c:v>830.69309999999996</c:v>
                </c:pt>
                <c:pt idx="4917">
                  <c:v>812.5145</c:v>
                </c:pt>
                <c:pt idx="4918">
                  <c:v>792.62149999999997</c:v>
                </c:pt>
                <c:pt idx="4919">
                  <c:v>709.54949999999997</c:v>
                </c:pt>
                <c:pt idx="4920">
                  <c:v>656.43989999999997</c:v>
                </c:pt>
                <c:pt idx="4921">
                  <c:v>621.09690000000001</c:v>
                </c:pt>
                <c:pt idx="4922">
                  <c:v>601.57560000000001</c:v>
                </c:pt>
                <c:pt idx="4923">
                  <c:v>596.81449999999995</c:v>
                </c:pt>
                <c:pt idx="4924">
                  <c:v>570.16110000000003</c:v>
                </c:pt>
                <c:pt idx="4925">
                  <c:v>610.24760000000003</c:v>
                </c:pt>
                <c:pt idx="4926">
                  <c:v>709.31100000000004</c:v>
                </c:pt>
                <c:pt idx="4927">
                  <c:v>813.76149999999996</c:v>
                </c:pt>
                <c:pt idx="4928">
                  <c:v>903.31349999999998</c:v>
                </c:pt>
                <c:pt idx="4929">
                  <c:v>927.95309999999995</c:v>
                </c:pt>
                <c:pt idx="4930">
                  <c:v>926.45950000000005</c:v>
                </c:pt>
                <c:pt idx="4931">
                  <c:v>923.70540000000005</c:v>
                </c:pt>
                <c:pt idx="4932">
                  <c:v>915.20920000000001</c:v>
                </c:pt>
                <c:pt idx="4933">
                  <c:v>911.11300000000006</c:v>
                </c:pt>
                <c:pt idx="4934">
                  <c:v>909.83789999999999</c:v>
                </c:pt>
                <c:pt idx="4935">
                  <c:v>894.95799999999997</c:v>
                </c:pt>
                <c:pt idx="4936">
                  <c:v>880.98879999999997</c:v>
                </c:pt>
                <c:pt idx="4937">
                  <c:v>879.97310000000004</c:v>
                </c:pt>
                <c:pt idx="4938">
                  <c:v>863.97119999999995</c:v>
                </c:pt>
                <c:pt idx="4939">
                  <c:v>841.43780000000004</c:v>
                </c:pt>
                <c:pt idx="4940">
                  <c:v>824.70510000000002</c:v>
                </c:pt>
                <c:pt idx="4941">
                  <c:v>805.01679999999999</c:v>
                </c:pt>
                <c:pt idx="4942">
                  <c:v>779.91600000000005</c:v>
                </c:pt>
                <c:pt idx="4943">
                  <c:v>704.80370000000005</c:v>
                </c:pt>
                <c:pt idx="4944">
                  <c:v>650.30579999999998</c:v>
                </c:pt>
                <c:pt idx="4945">
                  <c:v>618.56439999999998</c:v>
                </c:pt>
                <c:pt idx="4946">
                  <c:v>604.52290000000005</c:v>
                </c:pt>
                <c:pt idx="4947">
                  <c:v>593.56320000000005</c:v>
                </c:pt>
                <c:pt idx="4948">
                  <c:v>560.97829999999999</c:v>
                </c:pt>
                <c:pt idx="4949">
                  <c:v>601.32119999999998</c:v>
                </c:pt>
                <c:pt idx="4950">
                  <c:v>696.30430000000001</c:v>
                </c:pt>
                <c:pt idx="4951">
                  <c:v>822.73749999999995</c:v>
                </c:pt>
                <c:pt idx="4952">
                  <c:v>906.08500000000004</c:v>
                </c:pt>
                <c:pt idx="4953">
                  <c:v>946.98199999999997</c:v>
                </c:pt>
                <c:pt idx="4954">
                  <c:v>948.91949999999997</c:v>
                </c:pt>
                <c:pt idx="4955">
                  <c:v>935.73990000000003</c:v>
                </c:pt>
                <c:pt idx="4956">
                  <c:v>936.31690000000003</c:v>
                </c:pt>
                <c:pt idx="4957">
                  <c:v>931.18309999999997</c:v>
                </c:pt>
                <c:pt idx="4958">
                  <c:v>916.88530000000003</c:v>
                </c:pt>
                <c:pt idx="4959">
                  <c:v>902.8356</c:v>
                </c:pt>
                <c:pt idx="4960">
                  <c:v>872.7595</c:v>
                </c:pt>
                <c:pt idx="4961">
                  <c:v>869.5154</c:v>
                </c:pt>
                <c:pt idx="4962">
                  <c:v>846.95699999999999</c:v>
                </c:pt>
                <c:pt idx="4963">
                  <c:v>811.21140000000003</c:v>
                </c:pt>
                <c:pt idx="4964">
                  <c:v>806.53710000000001</c:v>
                </c:pt>
                <c:pt idx="4965">
                  <c:v>776.68920000000003</c:v>
                </c:pt>
                <c:pt idx="4966">
                  <c:v>754.58720000000005</c:v>
                </c:pt>
                <c:pt idx="4967">
                  <c:v>692.75199999999995</c:v>
                </c:pt>
                <c:pt idx="4968">
                  <c:v>637.19539999999995</c:v>
                </c:pt>
                <c:pt idx="4969">
                  <c:v>611.33640000000003</c:v>
                </c:pt>
                <c:pt idx="4970">
                  <c:v>597.91160000000002</c:v>
                </c:pt>
                <c:pt idx="4971">
                  <c:v>587.58939999999996</c:v>
                </c:pt>
                <c:pt idx="4972">
                  <c:v>545.37030000000004</c:v>
                </c:pt>
                <c:pt idx="4973">
                  <c:v>550.63819999999998</c:v>
                </c:pt>
                <c:pt idx="4974">
                  <c:v>609.18820000000005</c:v>
                </c:pt>
                <c:pt idx="4975">
                  <c:v>664.55619999999999</c:v>
                </c:pt>
                <c:pt idx="4976">
                  <c:v>748.71529999999996</c:v>
                </c:pt>
                <c:pt idx="4977">
                  <c:v>788.81280000000004</c:v>
                </c:pt>
                <c:pt idx="4978">
                  <c:v>801.69090000000006</c:v>
                </c:pt>
                <c:pt idx="4979">
                  <c:v>795.85820000000001</c:v>
                </c:pt>
                <c:pt idx="4980">
                  <c:v>785.37189999999998</c:v>
                </c:pt>
                <c:pt idx="4981">
                  <c:v>782.65129999999999</c:v>
                </c:pt>
                <c:pt idx="4982">
                  <c:v>768.36019999999996</c:v>
                </c:pt>
                <c:pt idx="4983">
                  <c:v>775.93820000000005</c:v>
                </c:pt>
                <c:pt idx="4984">
                  <c:v>775.00459999999998</c:v>
                </c:pt>
                <c:pt idx="4985">
                  <c:v>787.91909999999996</c:v>
                </c:pt>
                <c:pt idx="4986">
                  <c:v>786.23260000000005</c:v>
                </c:pt>
                <c:pt idx="4987">
                  <c:v>782.43769999999995</c:v>
                </c:pt>
                <c:pt idx="4988">
                  <c:v>761.52880000000005</c:v>
                </c:pt>
                <c:pt idx="4989">
                  <c:v>741.67989999999998</c:v>
                </c:pt>
                <c:pt idx="4990">
                  <c:v>727.29989999999998</c:v>
                </c:pt>
                <c:pt idx="4991">
                  <c:v>675.12980000000005</c:v>
                </c:pt>
                <c:pt idx="4992">
                  <c:v>633.68409999999994</c:v>
                </c:pt>
                <c:pt idx="4993">
                  <c:v>601.89750000000004</c:v>
                </c:pt>
                <c:pt idx="4994">
                  <c:v>590.07320000000004</c:v>
                </c:pt>
                <c:pt idx="4995">
                  <c:v>581.524</c:v>
                </c:pt>
                <c:pt idx="4996">
                  <c:v>549.31299999999999</c:v>
                </c:pt>
                <c:pt idx="4997">
                  <c:v>550.50480000000005</c:v>
                </c:pt>
                <c:pt idx="4998">
                  <c:v>578.27859999999998</c:v>
                </c:pt>
                <c:pt idx="4999">
                  <c:v>644.38670000000002</c:v>
                </c:pt>
                <c:pt idx="5000">
                  <c:v>722.44680000000005</c:v>
                </c:pt>
                <c:pt idx="5001">
                  <c:v>766.52850000000001</c:v>
                </c:pt>
                <c:pt idx="5002">
                  <c:v>775.01670000000001</c:v>
                </c:pt>
                <c:pt idx="5003">
                  <c:v>783.75800000000004</c:v>
                </c:pt>
                <c:pt idx="5004">
                  <c:v>777.29150000000004</c:v>
                </c:pt>
                <c:pt idx="5005">
                  <c:v>769.17139999999995</c:v>
                </c:pt>
                <c:pt idx="5006">
                  <c:v>761.24609999999996</c:v>
                </c:pt>
                <c:pt idx="5007">
                  <c:v>776.80830000000003</c:v>
                </c:pt>
                <c:pt idx="5008">
                  <c:v>781.40039999999999</c:v>
                </c:pt>
                <c:pt idx="5009">
                  <c:v>785.4778</c:v>
                </c:pt>
                <c:pt idx="5010">
                  <c:v>797.62950000000001</c:v>
                </c:pt>
                <c:pt idx="5011">
                  <c:v>798.46500000000003</c:v>
                </c:pt>
                <c:pt idx="5012">
                  <c:v>793.3646</c:v>
                </c:pt>
                <c:pt idx="5013">
                  <c:v>772.94119999999998</c:v>
                </c:pt>
                <c:pt idx="5014">
                  <c:v>772.57039999999995</c:v>
                </c:pt>
                <c:pt idx="5015">
                  <c:v>691.25160000000005</c:v>
                </c:pt>
                <c:pt idx="5016">
                  <c:v>634.67409999999995</c:v>
                </c:pt>
                <c:pt idx="5017">
                  <c:v>599.5412</c:v>
                </c:pt>
                <c:pt idx="5018">
                  <c:v>591.01900000000001</c:v>
                </c:pt>
                <c:pt idx="5019">
                  <c:v>589.80100000000004</c:v>
                </c:pt>
                <c:pt idx="5020">
                  <c:v>560.70140000000004</c:v>
                </c:pt>
                <c:pt idx="5021">
                  <c:v>582.94529999999997</c:v>
                </c:pt>
                <c:pt idx="5022">
                  <c:v>682.98710000000005</c:v>
                </c:pt>
                <c:pt idx="5023">
                  <c:v>810.47019999999998</c:v>
                </c:pt>
                <c:pt idx="5024">
                  <c:v>901.09569999999997</c:v>
                </c:pt>
                <c:pt idx="5025">
                  <c:v>941.38959999999997</c:v>
                </c:pt>
                <c:pt idx="5026">
                  <c:v>942.60770000000002</c:v>
                </c:pt>
                <c:pt idx="5027">
                  <c:v>940.42089999999996</c:v>
                </c:pt>
                <c:pt idx="5028">
                  <c:v>957.48810000000003</c:v>
                </c:pt>
                <c:pt idx="5029">
                  <c:v>958.46169999999995</c:v>
                </c:pt>
                <c:pt idx="5030">
                  <c:v>952.98860000000002</c:v>
                </c:pt>
                <c:pt idx="5031">
                  <c:v>937.60080000000005</c:v>
                </c:pt>
                <c:pt idx="5032">
                  <c:v>910.87009999999998</c:v>
                </c:pt>
                <c:pt idx="5033">
                  <c:v>917.26530000000002</c:v>
                </c:pt>
                <c:pt idx="5034">
                  <c:v>902.04489999999998</c:v>
                </c:pt>
                <c:pt idx="5035">
                  <c:v>878.68849999999998</c:v>
                </c:pt>
                <c:pt idx="5036">
                  <c:v>863.95090000000005</c:v>
                </c:pt>
                <c:pt idx="5037">
                  <c:v>860.13400000000001</c:v>
                </c:pt>
                <c:pt idx="5038">
                  <c:v>807.56820000000005</c:v>
                </c:pt>
                <c:pt idx="5039">
                  <c:v>729.85479999999995</c:v>
                </c:pt>
                <c:pt idx="5040">
                  <c:v>666.79200000000003</c:v>
                </c:pt>
                <c:pt idx="5041">
                  <c:v>635.19389999999999</c:v>
                </c:pt>
                <c:pt idx="5042">
                  <c:v>621.99649999999997</c:v>
                </c:pt>
                <c:pt idx="5043">
                  <c:v>614.53530000000001</c:v>
                </c:pt>
                <c:pt idx="5044">
                  <c:v>608.1232</c:v>
                </c:pt>
                <c:pt idx="5045">
                  <c:v>636.74210000000005</c:v>
                </c:pt>
                <c:pt idx="5046">
                  <c:v>736.51610000000005</c:v>
                </c:pt>
                <c:pt idx="5047">
                  <c:v>842.88409999999999</c:v>
                </c:pt>
                <c:pt idx="5048">
                  <c:v>937.61400000000003</c:v>
                </c:pt>
                <c:pt idx="5049">
                  <c:v>973.25220000000002</c:v>
                </c:pt>
                <c:pt idx="5050">
                  <c:v>973.89279999999997</c:v>
                </c:pt>
                <c:pt idx="5051">
                  <c:v>960.39610000000005</c:v>
                </c:pt>
                <c:pt idx="5052">
                  <c:v>958.32809999999995</c:v>
                </c:pt>
                <c:pt idx="5053">
                  <c:v>945.47969999999998</c:v>
                </c:pt>
                <c:pt idx="5054">
                  <c:v>935.07320000000004</c:v>
                </c:pt>
                <c:pt idx="5055">
                  <c:v>922.59910000000002</c:v>
                </c:pt>
                <c:pt idx="5056">
                  <c:v>894.60770000000002</c:v>
                </c:pt>
                <c:pt idx="5057">
                  <c:v>893.79729999999995</c:v>
                </c:pt>
                <c:pt idx="5058">
                  <c:v>874.65859999999998</c:v>
                </c:pt>
                <c:pt idx="5059">
                  <c:v>857.85940000000005</c:v>
                </c:pt>
                <c:pt idx="5060">
                  <c:v>847.40970000000004</c:v>
                </c:pt>
                <c:pt idx="5061">
                  <c:v>827.53</c:v>
                </c:pt>
                <c:pt idx="5062">
                  <c:v>808.02530000000002</c:v>
                </c:pt>
                <c:pt idx="5063">
                  <c:v>725.1232</c:v>
                </c:pt>
                <c:pt idx="5064">
                  <c:v>670.94370000000004</c:v>
                </c:pt>
                <c:pt idx="5065">
                  <c:v>640.65309999999999</c:v>
                </c:pt>
                <c:pt idx="5066">
                  <c:v>629.52390000000003</c:v>
                </c:pt>
                <c:pt idx="5067">
                  <c:v>617.37549999999999</c:v>
                </c:pt>
                <c:pt idx="5068">
                  <c:v>615.26350000000002</c:v>
                </c:pt>
                <c:pt idx="5069">
                  <c:v>635.04549999999995</c:v>
                </c:pt>
                <c:pt idx="5070">
                  <c:v>752.47</c:v>
                </c:pt>
                <c:pt idx="5071">
                  <c:v>856.48710000000005</c:v>
                </c:pt>
                <c:pt idx="5072">
                  <c:v>953.36789999999996</c:v>
                </c:pt>
                <c:pt idx="5073">
                  <c:v>986.77850000000001</c:v>
                </c:pt>
                <c:pt idx="5074">
                  <c:v>997.94989999999996</c:v>
                </c:pt>
                <c:pt idx="5075">
                  <c:v>986.81129999999996</c:v>
                </c:pt>
                <c:pt idx="5076">
                  <c:v>986.35299999999995</c:v>
                </c:pt>
                <c:pt idx="5077">
                  <c:v>986.89009999999996</c:v>
                </c:pt>
                <c:pt idx="5078">
                  <c:v>969.34109999999998</c:v>
                </c:pt>
                <c:pt idx="5079">
                  <c:v>958.36009999999999</c:v>
                </c:pt>
                <c:pt idx="5080">
                  <c:v>924.96600000000001</c:v>
                </c:pt>
                <c:pt idx="5081">
                  <c:v>929.69380000000001</c:v>
                </c:pt>
                <c:pt idx="5082">
                  <c:v>911.24339999999995</c:v>
                </c:pt>
                <c:pt idx="5083">
                  <c:v>891.42930000000001</c:v>
                </c:pt>
                <c:pt idx="5084">
                  <c:v>875.53390000000002</c:v>
                </c:pt>
                <c:pt idx="5085">
                  <c:v>870.53710000000001</c:v>
                </c:pt>
                <c:pt idx="5086">
                  <c:v>831.89480000000003</c:v>
                </c:pt>
                <c:pt idx="5087">
                  <c:v>748.81470000000002</c:v>
                </c:pt>
                <c:pt idx="5088">
                  <c:v>684.15160000000003</c:v>
                </c:pt>
                <c:pt idx="5089">
                  <c:v>661.83010000000002</c:v>
                </c:pt>
                <c:pt idx="5090">
                  <c:v>644.60519999999997</c:v>
                </c:pt>
                <c:pt idx="5091">
                  <c:v>635.59519999999998</c:v>
                </c:pt>
                <c:pt idx="5092">
                  <c:v>625.51369999999997</c:v>
                </c:pt>
                <c:pt idx="5093">
                  <c:v>649.21870000000001</c:v>
                </c:pt>
                <c:pt idx="5094">
                  <c:v>753.01859999999999</c:v>
                </c:pt>
                <c:pt idx="5095">
                  <c:v>858.83579999999995</c:v>
                </c:pt>
                <c:pt idx="5096">
                  <c:v>943.28909999999996</c:v>
                </c:pt>
                <c:pt idx="5097">
                  <c:v>960.82270000000005</c:v>
                </c:pt>
                <c:pt idx="5098">
                  <c:v>965.46479999999997</c:v>
                </c:pt>
                <c:pt idx="5099">
                  <c:v>952.32759999999996</c:v>
                </c:pt>
                <c:pt idx="5100">
                  <c:v>964.15959999999995</c:v>
                </c:pt>
                <c:pt idx="5101">
                  <c:v>963.57539999999995</c:v>
                </c:pt>
                <c:pt idx="5102">
                  <c:v>944.02200000000005</c:v>
                </c:pt>
                <c:pt idx="5103">
                  <c:v>934.13430000000005</c:v>
                </c:pt>
                <c:pt idx="5104">
                  <c:v>904.31719999999996</c:v>
                </c:pt>
                <c:pt idx="5105">
                  <c:v>910.32010000000002</c:v>
                </c:pt>
                <c:pt idx="5106">
                  <c:v>889.24189999999999</c:v>
                </c:pt>
                <c:pt idx="5107">
                  <c:v>866.5933</c:v>
                </c:pt>
                <c:pt idx="5108">
                  <c:v>853.83910000000003</c:v>
                </c:pt>
                <c:pt idx="5109">
                  <c:v>851.03800000000001</c:v>
                </c:pt>
                <c:pt idx="5110">
                  <c:v>812.89189999999996</c:v>
                </c:pt>
                <c:pt idx="5111">
                  <c:v>733.82339999999999</c:v>
                </c:pt>
                <c:pt idx="5112">
                  <c:v>671.62800000000004</c:v>
                </c:pt>
                <c:pt idx="5113">
                  <c:v>644.84540000000004</c:v>
                </c:pt>
                <c:pt idx="5114">
                  <c:v>628.05859999999996</c:v>
                </c:pt>
                <c:pt idx="5115">
                  <c:v>628.92020000000002</c:v>
                </c:pt>
                <c:pt idx="5116">
                  <c:v>614.25049999999999</c:v>
                </c:pt>
                <c:pt idx="5117">
                  <c:v>646.56449999999995</c:v>
                </c:pt>
                <c:pt idx="5118">
                  <c:v>740.31619999999998</c:v>
                </c:pt>
                <c:pt idx="5119">
                  <c:v>850.48429999999996</c:v>
                </c:pt>
                <c:pt idx="5120">
                  <c:v>940.22640000000001</c:v>
                </c:pt>
                <c:pt idx="5121">
                  <c:v>969.04570000000001</c:v>
                </c:pt>
                <c:pt idx="5122">
                  <c:v>975.69550000000004</c:v>
                </c:pt>
                <c:pt idx="5123">
                  <c:v>956.35059999999999</c:v>
                </c:pt>
                <c:pt idx="5124">
                  <c:v>953.62729999999999</c:v>
                </c:pt>
                <c:pt idx="5125">
                  <c:v>962.62130000000002</c:v>
                </c:pt>
                <c:pt idx="5126">
                  <c:v>941.68330000000003</c:v>
                </c:pt>
                <c:pt idx="5127">
                  <c:v>933.81640000000004</c:v>
                </c:pt>
                <c:pt idx="5128">
                  <c:v>908.17380000000003</c:v>
                </c:pt>
                <c:pt idx="5129">
                  <c:v>906.17510000000004</c:v>
                </c:pt>
                <c:pt idx="5130">
                  <c:v>877.40769999999998</c:v>
                </c:pt>
                <c:pt idx="5131">
                  <c:v>859.48749999999995</c:v>
                </c:pt>
                <c:pt idx="5132">
                  <c:v>842.91039999999998</c:v>
                </c:pt>
                <c:pt idx="5133">
                  <c:v>833.5915</c:v>
                </c:pt>
                <c:pt idx="5134">
                  <c:v>805.56479999999999</c:v>
                </c:pt>
                <c:pt idx="5135">
                  <c:v>718.11159999999995</c:v>
                </c:pt>
                <c:pt idx="5136">
                  <c:v>666.89639999999997</c:v>
                </c:pt>
                <c:pt idx="5137">
                  <c:v>630.42129999999997</c:v>
                </c:pt>
                <c:pt idx="5138">
                  <c:v>615.86789999999996</c:v>
                </c:pt>
                <c:pt idx="5139">
                  <c:v>611.05690000000004</c:v>
                </c:pt>
                <c:pt idx="5140">
                  <c:v>594.82159999999999</c:v>
                </c:pt>
                <c:pt idx="5141">
                  <c:v>579.29750000000001</c:v>
                </c:pt>
                <c:pt idx="5142">
                  <c:v>626.45529999999997</c:v>
                </c:pt>
                <c:pt idx="5143">
                  <c:v>674.74680000000001</c:v>
                </c:pt>
                <c:pt idx="5144">
                  <c:v>751.03</c:v>
                </c:pt>
                <c:pt idx="5145">
                  <c:v>791.65009999999995</c:v>
                </c:pt>
                <c:pt idx="5146">
                  <c:v>807.06979999999999</c:v>
                </c:pt>
                <c:pt idx="5147">
                  <c:v>800.00369999999998</c:v>
                </c:pt>
                <c:pt idx="5148">
                  <c:v>797.94460000000004</c:v>
                </c:pt>
                <c:pt idx="5149">
                  <c:v>780.14790000000005</c:v>
                </c:pt>
                <c:pt idx="5150">
                  <c:v>760.34100000000001</c:v>
                </c:pt>
                <c:pt idx="5151">
                  <c:v>751.18240000000003</c:v>
                </c:pt>
                <c:pt idx="5152">
                  <c:v>760.22810000000004</c:v>
                </c:pt>
                <c:pt idx="5153">
                  <c:v>760.59879999999998</c:v>
                </c:pt>
                <c:pt idx="5154">
                  <c:v>764.78440000000001</c:v>
                </c:pt>
                <c:pt idx="5155">
                  <c:v>764.77250000000004</c:v>
                </c:pt>
                <c:pt idx="5156">
                  <c:v>757.36249999999995</c:v>
                </c:pt>
                <c:pt idx="5157">
                  <c:v>779.45339999999999</c:v>
                </c:pt>
                <c:pt idx="5158">
                  <c:v>737.03750000000002</c:v>
                </c:pt>
                <c:pt idx="5159">
                  <c:v>683.54070000000002</c:v>
                </c:pt>
                <c:pt idx="5160">
                  <c:v>645.91629999999998</c:v>
                </c:pt>
                <c:pt idx="5161">
                  <c:v>614.50120000000004</c:v>
                </c:pt>
                <c:pt idx="5162">
                  <c:v>604.60509999999999</c:v>
                </c:pt>
                <c:pt idx="5163">
                  <c:v>592.2636</c:v>
                </c:pt>
                <c:pt idx="5164">
                  <c:v>579.14459999999997</c:v>
                </c:pt>
                <c:pt idx="5165">
                  <c:v>571.46979999999996</c:v>
                </c:pt>
                <c:pt idx="5166">
                  <c:v>589.303</c:v>
                </c:pt>
                <c:pt idx="5167">
                  <c:v>647.15740000000005</c:v>
                </c:pt>
                <c:pt idx="5168">
                  <c:v>710.96860000000004</c:v>
                </c:pt>
                <c:pt idx="5169">
                  <c:v>750.12890000000004</c:v>
                </c:pt>
                <c:pt idx="5170">
                  <c:v>772.4991</c:v>
                </c:pt>
                <c:pt idx="5171">
                  <c:v>776.72990000000004</c:v>
                </c:pt>
                <c:pt idx="5172">
                  <c:v>777.05880000000002</c:v>
                </c:pt>
                <c:pt idx="5173">
                  <c:v>768.92409999999995</c:v>
                </c:pt>
                <c:pt idx="5174">
                  <c:v>760.07500000000005</c:v>
                </c:pt>
                <c:pt idx="5175">
                  <c:v>756.16179999999997</c:v>
                </c:pt>
                <c:pt idx="5176">
                  <c:v>764.15549999999996</c:v>
                </c:pt>
                <c:pt idx="5177">
                  <c:v>770.22429999999997</c:v>
                </c:pt>
                <c:pt idx="5178">
                  <c:v>790.89980000000003</c:v>
                </c:pt>
                <c:pt idx="5179">
                  <c:v>802.05619999999999</c:v>
                </c:pt>
                <c:pt idx="5180">
                  <c:v>801.83010000000002</c:v>
                </c:pt>
                <c:pt idx="5181">
                  <c:v>802.66610000000003</c:v>
                </c:pt>
                <c:pt idx="5182">
                  <c:v>751.14009999999996</c:v>
                </c:pt>
                <c:pt idx="5183">
                  <c:v>697.50599999999997</c:v>
                </c:pt>
                <c:pt idx="5184">
                  <c:v>651.96550000000002</c:v>
                </c:pt>
                <c:pt idx="5185">
                  <c:v>614.29499999999996</c:v>
                </c:pt>
                <c:pt idx="5186">
                  <c:v>603.17520000000002</c:v>
                </c:pt>
                <c:pt idx="5187">
                  <c:v>604.96040000000005</c:v>
                </c:pt>
                <c:pt idx="5188">
                  <c:v>591.07270000000005</c:v>
                </c:pt>
                <c:pt idx="5189">
                  <c:v>625.23050000000001</c:v>
                </c:pt>
                <c:pt idx="5190">
                  <c:v>735.81740000000002</c:v>
                </c:pt>
                <c:pt idx="5191">
                  <c:v>852.66890000000001</c:v>
                </c:pt>
                <c:pt idx="5192">
                  <c:v>952.17070000000001</c:v>
                </c:pt>
                <c:pt idx="5193">
                  <c:v>972.48530000000005</c:v>
                </c:pt>
                <c:pt idx="5194">
                  <c:v>974.4479</c:v>
                </c:pt>
                <c:pt idx="5195">
                  <c:v>937.03809999999999</c:v>
                </c:pt>
                <c:pt idx="5196">
                  <c:v>963.66869999999994</c:v>
                </c:pt>
                <c:pt idx="5197">
                  <c:v>965.20590000000004</c:v>
                </c:pt>
                <c:pt idx="5198">
                  <c:v>945.59500000000003</c:v>
                </c:pt>
                <c:pt idx="5199">
                  <c:v>941.59109999999998</c:v>
                </c:pt>
                <c:pt idx="5200">
                  <c:v>912.68979999999999</c:v>
                </c:pt>
                <c:pt idx="5201">
                  <c:v>927.04409999999996</c:v>
                </c:pt>
                <c:pt idx="5202">
                  <c:v>898.14290000000005</c:v>
                </c:pt>
                <c:pt idx="5203">
                  <c:v>884.3415</c:v>
                </c:pt>
                <c:pt idx="5204">
                  <c:v>883.58370000000002</c:v>
                </c:pt>
                <c:pt idx="5205">
                  <c:v>876.47699999999998</c:v>
                </c:pt>
                <c:pt idx="5206">
                  <c:v>815.24120000000005</c:v>
                </c:pt>
                <c:pt idx="5207">
                  <c:v>714.26139999999998</c:v>
                </c:pt>
                <c:pt idx="5208">
                  <c:v>669.57129999999995</c:v>
                </c:pt>
                <c:pt idx="5209">
                  <c:v>629.71320000000003</c:v>
                </c:pt>
                <c:pt idx="5210">
                  <c:v>627.93669999999997</c:v>
                </c:pt>
                <c:pt idx="5211">
                  <c:v>622.24149999999997</c:v>
                </c:pt>
                <c:pt idx="5212">
                  <c:v>619.05259999999998</c:v>
                </c:pt>
                <c:pt idx="5213">
                  <c:v>641.51139999999998</c:v>
                </c:pt>
                <c:pt idx="5214">
                  <c:v>756.43539999999996</c:v>
                </c:pt>
                <c:pt idx="5215">
                  <c:v>869.64869999999996</c:v>
                </c:pt>
                <c:pt idx="5216">
                  <c:v>958.02570000000003</c:v>
                </c:pt>
                <c:pt idx="5217">
                  <c:v>1014.644</c:v>
                </c:pt>
                <c:pt idx="5218">
                  <c:v>1022.0198</c:v>
                </c:pt>
                <c:pt idx="5219">
                  <c:v>993.88310000000001</c:v>
                </c:pt>
                <c:pt idx="5220">
                  <c:v>1005.374</c:v>
                </c:pt>
                <c:pt idx="5221">
                  <c:v>1013.0391</c:v>
                </c:pt>
                <c:pt idx="5222">
                  <c:v>1002.5015</c:v>
                </c:pt>
                <c:pt idx="5223">
                  <c:v>997.36040000000003</c:v>
                </c:pt>
                <c:pt idx="5224">
                  <c:v>979.32650000000001</c:v>
                </c:pt>
                <c:pt idx="5225">
                  <c:v>989.24040000000002</c:v>
                </c:pt>
                <c:pt idx="5226">
                  <c:v>949.91899999999998</c:v>
                </c:pt>
                <c:pt idx="5227">
                  <c:v>923.53049999999996</c:v>
                </c:pt>
                <c:pt idx="5228">
                  <c:v>923.87260000000003</c:v>
                </c:pt>
                <c:pt idx="5229">
                  <c:v>925.82590000000005</c:v>
                </c:pt>
                <c:pt idx="5230">
                  <c:v>848.20979999999997</c:v>
                </c:pt>
                <c:pt idx="5231">
                  <c:v>756.56209999999999</c:v>
                </c:pt>
                <c:pt idx="5232">
                  <c:v>711.50390000000004</c:v>
                </c:pt>
                <c:pt idx="5233">
                  <c:v>674.30269999999996</c:v>
                </c:pt>
                <c:pt idx="5234">
                  <c:v>659.60090000000002</c:v>
                </c:pt>
                <c:pt idx="5235">
                  <c:v>655.76340000000005</c:v>
                </c:pt>
                <c:pt idx="5236">
                  <c:v>660.85299999999995</c:v>
                </c:pt>
                <c:pt idx="5237">
                  <c:v>681.56679999999994</c:v>
                </c:pt>
                <c:pt idx="5238">
                  <c:v>789.09860000000003</c:v>
                </c:pt>
                <c:pt idx="5239">
                  <c:v>923.32650000000001</c:v>
                </c:pt>
                <c:pt idx="5240">
                  <c:v>992.39210000000003</c:v>
                </c:pt>
                <c:pt idx="5241">
                  <c:v>1025.0624</c:v>
                </c:pt>
                <c:pt idx="5242">
                  <c:v>1041.5731000000001</c:v>
                </c:pt>
                <c:pt idx="5243">
                  <c:v>1020.8903</c:v>
                </c:pt>
                <c:pt idx="5244">
                  <c:v>1034.6838</c:v>
                </c:pt>
                <c:pt idx="5245">
                  <c:v>1047.1873000000001</c:v>
                </c:pt>
                <c:pt idx="5246">
                  <c:v>1027.8780999999999</c:v>
                </c:pt>
                <c:pt idx="5247">
                  <c:v>1015.5706</c:v>
                </c:pt>
                <c:pt idx="5248">
                  <c:v>980.18799999999999</c:v>
                </c:pt>
                <c:pt idx="5249">
                  <c:v>973.31880000000001</c:v>
                </c:pt>
                <c:pt idx="5250">
                  <c:v>956.63689999999997</c:v>
                </c:pt>
                <c:pt idx="5251">
                  <c:v>929.25599999999997</c:v>
                </c:pt>
                <c:pt idx="5252">
                  <c:v>911.79330000000004</c:v>
                </c:pt>
                <c:pt idx="5253">
                  <c:v>921.07449999999994</c:v>
                </c:pt>
                <c:pt idx="5254">
                  <c:v>843.08979999999997</c:v>
                </c:pt>
                <c:pt idx="5255">
                  <c:v>753.38109999999995</c:v>
                </c:pt>
                <c:pt idx="5256">
                  <c:v>712.48630000000003</c:v>
                </c:pt>
                <c:pt idx="5257">
                  <c:v>696.68759999999997</c:v>
                </c:pt>
                <c:pt idx="5258">
                  <c:v>661.07510000000002</c:v>
                </c:pt>
                <c:pt idx="5259">
                  <c:v>655.37270000000001</c:v>
                </c:pt>
                <c:pt idx="5260">
                  <c:v>660.56650000000002</c:v>
                </c:pt>
                <c:pt idx="5261">
                  <c:v>681.19169999999997</c:v>
                </c:pt>
                <c:pt idx="5262">
                  <c:v>790.50469999999996</c:v>
                </c:pt>
                <c:pt idx="5263">
                  <c:v>886.03110000000004</c:v>
                </c:pt>
                <c:pt idx="5264">
                  <c:v>996.58119999999997</c:v>
                </c:pt>
                <c:pt idx="5265">
                  <c:v>1030.1088</c:v>
                </c:pt>
                <c:pt idx="5266">
                  <c:v>1037.1635000000001</c:v>
                </c:pt>
                <c:pt idx="5267">
                  <c:v>1024.3768</c:v>
                </c:pt>
                <c:pt idx="5268">
                  <c:v>1037.7194</c:v>
                </c:pt>
                <c:pt idx="5269">
                  <c:v>1046.3035</c:v>
                </c:pt>
                <c:pt idx="5270">
                  <c:v>1014.6265</c:v>
                </c:pt>
                <c:pt idx="5271">
                  <c:v>1002.3422</c:v>
                </c:pt>
                <c:pt idx="5272">
                  <c:v>972.01030000000003</c:v>
                </c:pt>
                <c:pt idx="5273">
                  <c:v>968.40800000000002</c:v>
                </c:pt>
                <c:pt idx="5274">
                  <c:v>944.32680000000005</c:v>
                </c:pt>
                <c:pt idx="5275">
                  <c:v>922.85820000000001</c:v>
                </c:pt>
                <c:pt idx="5276">
                  <c:v>911.83230000000003</c:v>
                </c:pt>
                <c:pt idx="5277">
                  <c:v>916.17430000000002</c:v>
                </c:pt>
                <c:pt idx="5278">
                  <c:v>839.3279</c:v>
                </c:pt>
                <c:pt idx="5279">
                  <c:v>752.40660000000003</c:v>
                </c:pt>
                <c:pt idx="5280">
                  <c:v>710.80880000000002</c:v>
                </c:pt>
                <c:pt idx="5281">
                  <c:v>673.73800000000006</c:v>
                </c:pt>
                <c:pt idx="5282">
                  <c:v>650.78830000000005</c:v>
                </c:pt>
                <c:pt idx="5283">
                  <c:v>639.23810000000003</c:v>
                </c:pt>
                <c:pt idx="5284">
                  <c:v>637.63040000000001</c:v>
                </c:pt>
                <c:pt idx="5285">
                  <c:v>647.91020000000003</c:v>
                </c:pt>
                <c:pt idx="5286">
                  <c:v>766.92070000000001</c:v>
                </c:pt>
                <c:pt idx="5287">
                  <c:v>868.72749999999996</c:v>
                </c:pt>
                <c:pt idx="5288">
                  <c:v>957.23180000000002</c:v>
                </c:pt>
                <c:pt idx="5289">
                  <c:v>985.26790000000005</c:v>
                </c:pt>
                <c:pt idx="5290">
                  <c:v>997.73950000000002</c:v>
                </c:pt>
                <c:pt idx="5291">
                  <c:v>988.57529999999997</c:v>
                </c:pt>
                <c:pt idx="5292">
                  <c:v>995.05290000000002</c:v>
                </c:pt>
                <c:pt idx="5293">
                  <c:v>996.20140000000004</c:v>
                </c:pt>
                <c:pt idx="5294">
                  <c:v>993.61</c:v>
                </c:pt>
                <c:pt idx="5295">
                  <c:v>969.56320000000005</c:v>
                </c:pt>
                <c:pt idx="5296">
                  <c:v>945.56820000000005</c:v>
                </c:pt>
                <c:pt idx="5297">
                  <c:v>933.24580000000003</c:v>
                </c:pt>
                <c:pt idx="5298">
                  <c:v>910.24080000000004</c:v>
                </c:pt>
                <c:pt idx="5299">
                  <c:v>870.72019999999998</c:v>
                </c:pt>
                <c:pt idx="5300">
                  <c:v>857.18089999999995</c:v>
                </c:pt>
                <c:pt idx="5301">
                  <c:v>868.39179999999999</c:v>
                </c:pt>
                <c:pt idx="5302">
                  <c:v>797.7894</c:v>
                </c:pt>
                <c:pt idx="5303">
                  <c:v>720.279</c:v>
                </c:pt>
                <c:pt idx="5304">
                  <c:v>663.78679999999997</c:v>
                </c:pt>
                <c:pt idx="5305">
                  <c:v>636.03560000000004</c:v>
                </c:pt>
                <c:pt idx="5306">
                  <c:v>626.48260000000005</c:v>
                </c:pt>
                <c:pt idx="5307">
                  <c:v>614.29489999999998</c:v>
                </c:pt>
                <c:pt idx="5308">
                  <c:v>609.33690000000001</c:v>
                </c:pt>
                <c:pt idx="5309">
                  <c:v>582.2328</c:v>
                </c:pt>
                <c:pt idx="5310">
                  <c:v>622.29459999999995</c:v>
                </c:pt>
                <c:pt idx="5311">
                  <c:v>682.32730000000004</c:v>
                </c:pt>
                <c:pt idx="5312">
                  <c:v>756.30110000000002</c:v>
                </c:pt>
                <c:pt idx="5313">
                  <c:v>790.85599999999999</c:v>
                </c:pt>
                <c:pt idx="5314">
                  <c:v>795.11959999999999</c:v>
                </c:pt>
                <c:pt idx="5315">
                  <c:v>785.53579999999999</c:v>
                </c:pt>
                <c:pt idx="5316">
                  <c:v>776.80520000000001</c:v>
                </c:pt>
                <c:pt idx="5317">
                  <c:v>773.76679999999999</c:v>
                </c:pt>
                <c:pt idx="5318">
                  <c:v>770.29150000000004</c:v>
                </c:pt>
                <c:pt idx="5319">
                  <c:v>770.70780000000002</c:v>
                </c:pt>
                <c:pt idx="5320">
                  <c:v>778.60850000000005</c:v>
                </c:pt>
                <c:pt idx="5321">
                  <c:v>790.65719999999999</c:v>
                </c:pt>
                <c:pt idx="5322">
                  <c:v>780.80060000000003</c:v>
                </c:pt>
                <c:pt idx="5323">
                  <c:v>783.9624</c:v>
                </c:pt>
                <c:pt idx="5324">
                  <c:v>771.48099999999999</c:v>
                </c:pt>
                <c:pt idx="5325">
                  <c:v>791.91210000000001</c:v>
                </c:pt>
                <c:pt idx="5326">
                  <c:v>736.32839999999999</c:v>
                </c:pt>
                <c:pt idx="5327">
                  <c:v>675.25350000000003</c:v>
                </c:pt>
                <c:pt idx="5328">
                  <c:v>635.52530000000002</c:v>
                </c:pt>
                <c:pt idx="5329">
                  <c:v>617.08519999999999</c:v>
                </c:pt>
                <c:pt idx="5330">
                  <c:v>572.60490000000004</c:v>
                </c:pt>
                <c:pt idx="5331">
                  <c:v>589.41959999999995</c:v>
                </c:pt>
                <c:pt idx="5332">
                  <c:v>580.68910000000005</c:v>
                </c:pt>
                <c:pt idx="5333">
                  <c:v>564.03560000000004</c:v>
                </c:pt>
                <c:pt idx="5334">
                  <c:v>599.2115</c:v>
                </c:pt>
                <c:pt idx="5335">
                  <c:v>654.61289999999997</c:v>
                </c:pt>
                <c:pt idx="5336">
                  <c:v>732.20439999999996</c:v>
                </c:pt>
                <c:pt idx="5337">
                  <c:v>793.08569999999997</c:v>
                </c:pt>
                <c:pt idx="5338">
                  <c:v>820.53200000000004</c:v>
                </c:pt>
                <c:pt idx="5339">
                  <c:v>811.35019999999997</c:v>
                </c:pt>
                <c:pt idx="5340">
                  <c:v>804.33339999999998</c:v>
                </c:pt>
                <c:pt idx="5341">
                  <c:v>798.88400000000001</c:v>
                </c:pt>
                <c:pt idx="5342">
                  <c:v>765.50379999999996</c:v>
                </c:pt>
                <c:pt idx="5343">
                  <c:v>767.78800000000001</c:v>
                </c:pt>
                <c:pt idx="5344">
                  <c:v>792.25540000000001</c:v>
                </c:pt>
                <c:pt idx="5345">
                  <c:v>803.70680000000004</c:v>
                </c:pt>
                <c:pt idx="5346">
                  <c:v>812.1472</c:v>
                </c:pt>
                <c:pt idx="5347">
                  <c:v>812.63919999999996</c:v>
                </c:pt>
                <c:pt idx="5348">
                  <c:v>807.30709999999999</c:v>
                </c:pt>
                <c:pt idx="5349">
                  <c:v>817.69069999999999</c:v>
                </c:pt>
                <c:pt idx="5350">
                  <c:v>753.12909999999999</c:v>
                </c:pt>
                <c:pt idx="5351">
                  <c:v>684.82780000000002</c:v>
                </c:pt>
                <c:pt idx="5352">
                  <c:v>637.31240000000003</c:v>
                </c:pt>
                <c:pt idx="5353">
                  <c:v>620.61019999999996</c:v>
                </c:pt>
                <c:pt idx="5354">
                  <c:v>581.04079999999999</c:v>
                </c:pt>
                <c:pt idx="5355">
                  <c:v>612.44320000000005</c:v>
                </c:pt>
                <c:pt idx="5356">
                  <c:v>604.16219999999998</c:v>
                </c:pt>
                <c:pt idx="5357">
                  <c:v>593.75429999999994</c:v>
                </c:pt>
                <c:pt idx="5358">
                  <c:v>718.31510000000003</c:v>
                </c:pt>
                <c:pt idx="5359">
                  <c:v>850.19529999999997</c:v>
                </c:pt>
                <c:pt idx="5360">
                  <c:v>956.93949999999995</c:v>
                </c:pt>
                <c:pt idx="5361">
                  <c:v>973.26980000000003</c:v>
                </c:pt>
                <c:pt idx="5362">
                  <c:v>980.10350000000005</c:v>
                </c:pt>
                <c:pt idx="5363">
                  <c:v>972.09059999999999</c:v>
                </c:pt>
                <c:pt idx="5364">
                  <c:v>993.37360000000001</c:v>
                </c:pt>
                <c:pt idx="5365">
                  <c:v>988.6558</c:v>
                </c:pt>
                <c:pt idx="5366">
                  <c:v>1001.9422</c:v>
                </c:pt>
                <c:pt idx="5367">
                  <c:v>1003.5432</c:v>
                </c:pt>
                <c:pt idx="5368">
                  <c:v>956.33180000000004</c:v>
                </c:pt>
                <c:pt idx="5369">
                  <c:v>964.58640000000003</c:v>
                </c:pt>
                <c:pt idx="5370">
                  <c:v>939.03160000000003</c:v>
                </c:pt>
                <c:pt idx="5371">
                  <c:v>920.70439999999996</c:v>
                </c:pt>
                <c:pt idx="5372">
                  <c:v>902.52829999999994</c:v>
                </c:pt>
                <c:pt idx="5373">
                  <c:v>898.78279999999995</c:v>
                </c:pt>
                <c:pt idx="5374">
                  <c:v>812.3587</c:v>
                </c:pt>
                <c:pt idx="5375">
                  <c:v>713.6087</c:v>
                </c:pt>
                <c:pt idx="5376">
                  <c:v>662.17769999999996</c:v>
                </c:pt>
                <c:pt idx="5377">
                  <c:v>643.34439999999995</c:v>
                </c:pt>
                <c:pt idx="5378">
                  <c:v>624.70489999999995</c:v>
                </c:pt>
                <c:pt idx="5379">
                  <c:v>606.64599999999996</c:v>
                </c:pt>
                <c:pt idx="5380">
                  <c:v>621.83730000000003</c:v>
                </c:pt>
                <c:pt idx="5381">
                  <c:v>643.95100000000002</c:v>
                </c:pt>
                <c:pt idx="5382">
                  <c:v>757.55510000000004</c:v>
                </c:pt>
                <c:pt idx="5383">
                  <c:v>867.76580000000001</c:v>
                </c:pt>
                <c:pt idx="5384">
                  <c:v>960.5779</c:v>
                </c:pt>
                <c:pt idx="5385">
                  <c:v>982.81219999999996</c:v>
                </c:pt>
                <c:pt idx="5386">
                  <c:v>987.92460000000005</c:v>
                </c:pt>
                <c:pt idx="5387">
                  <c:v>964.53620000000001</c:v>
                </c:pt>
                <c:pt idx="5388">
                  <c:v>970.12789999999995</c:v>
                </c:pt>
                <c:pt idx="5389">
                  <c:v>974.60109999999997</c:v>
                </c:pt>
                <c:pt idx="5390">
                  <c:v>966.96140000000003</c:v>
                </c:pt>
                <c:pt idx="5391">
                  <c:v>949.85130000000004</c:v>
                </c:pt>
                <c:pt idx="5392">
                  <c:v>919.16859999999997</c:v>
                </c:pt>
                <c:pt idx="5393">
                  <c:v>908.59929999999997</c:v>
                </c:pt>
                <c:pt idx="5394">
                  <c:v>899.28549999999996</c:v>
                </c:pt>
                <c:pt idx="5395">
                  <c:v>869.65869999999995</c:v>
                </c:pt>
                <c:pt idx="5396">
                  <c:v>864.13040000000001</c:v>
                </c:pt>
                <c:pt idx="5397">
                  <c:v>887.38229999999999</c:v>
                </c:pt>
                <c:pt idx="5398">
                  <c:v>791.84950000000003</c:v>
                </c:pt>
                <c:pt idx="5399">
                  <c:v>701.25319999999999</c:v>
                </c:pt>
                <c:pt idx="5400">
                  <c:v>667.45719999999994</c:v>
                </c:pt>
                <c:pt idx="5401">
                  <c:v>631.17499999999995</c:v>
                </c:pt>
                <c:pt idx="5402">
                  <c:v>634.02589999999998</c:v>
                </c:pt>
                <c:pt idx="5403">
                  <c:v>634.09190000000001</c:v>
                </c:pt>
                <c:pt idx="5404">
                  <c:v>632.21140000000003</c:v>
                </c:pt>
                <c:pt idx="5405">
                  <c:v>631.58550000000002</c:v>
                </c:pt>
                <c:pt idx="5406">
                  <c:v>747.28520000000003</c:v>
                </c:pt>
                <c:pt idx="5407">
                  <c:v>873.05799999999999</c:v>
                </c:pt>
                <c:pt idx="5408">
                  <c:v>965.79769999999996</c:v>
                </c:pt>
                <c:pt idx="5409">
                  <c:v>978.27959999999996</c:v>
                </c:pt>
                <c:pt idx="5410">
                  <c:v>974.93179999999995</c:v>
                </c:pt>
                <c:pt idx="5411">
                  <c:v>951.52359999999999</c:v>
                </c:pt>
                <c:pt idx="5412">
                  <c:v>964.94219999999996</c:v>
                </c:pt>
                <c:pt idx="5413">
                  <c:v>967.14030000000002</c:v>
                </c:pt>
                <c:pt idx="5414">
                  <c:v>960.60820000000001</c:v>
                </c:pt>
                <c:pt idx="5415">
                  <c:v>961.73180000000002</c:v>
                </c:pt>
                <c:pt idx="5416">
                  <c:v>927.43359999999996</c:v>
                </c:pt>
                <c:pt idx="5417">
                  <c:v>913.12159999999994</c:v>
                </c:pt>
                <c:pt idx="5418">
                  <c:v>900.9393</c:v>
                </c:pt>
                <c:pt idx="5419">
                  <c:v>879.87789999999995</c:v>
                </c:pt>
                <c:pt idx="5420">
                  <c:v>884.59010000000001</c:v>
                </c:pt>
                <c:pt idx="5421">
                  <c:v>910.9307</c:v>
                </c:pt>
                <c:pt idx="5422">
                  <c:v>812.83870000000002</c:v>
                </c:pt>
                <c:pt idx="5423">
                  <c:v>724.41800000000001</c:v>
                </c:pt>
                <c:pt idx="5424">
                  <c:v>684.71220000000005</c:v>
                </c:pt>
                <c:pt idx="5425">
                  <c:v>650.64070000000004</c:v>
                </c:pt>
                <c:pt idx="5426">
                  <c:v>637.18039999999996</c:v>
                </c:pt>
                <c:pt idx="5427">
                  <c:v>628.19269999999995</c:v>
                </c:pt>
                <c:pt idx="5428">
                  <c:v>638.62940000000003</c:v>
                </c:pt>
                <c:pt idx="5429">
                  <c:v>646.81349999999998</c:v>
                </c:pt>
                <c:pt idx="5430">
                  <c:v>763.32470000000001</c:v>
                </c:pt>
                <c:pt idx="5431">
                  <c:v>884.89559999999994</c:v>
                </c:pt>
                <c:pt idx="5432">
                  <c:v>976.2346</c:v>
                </c:pt>
                <c:pt idx="5433">
                  <c:v>1002.6899</c:v>
                </c:pt>
                <c:pt idx="5434">
                  <c:v>1003.9868</c:v>
                </c:pt>
                <c:pt idx="5435">
                  <c:v>987.61429999999996</c:v>
                </c:pt>
                <c:pt idx="5436">
                  <c:v>993.15840000000003</c:v>
                </c:pt>
                <c:pt idx="5437">
                  <c:v>979.47659999999996</c:v>
                </c:pt>
                <c:pt idx="5438">
                  <c:v>970.49639999999999</c:v>
                </c:pt>
                <c:pt idx="5439">
                  <c:v>958.17259999999999</c:v>
                </c:pt>
                <c:pt idx="5440">
                  <c:v>929.14700000000005</c:v>
                </c:pt>
                <c:pt idx="5441">
                  <c:v>934.09659999999997</c:v>
                </c:pt>
                <c:pt idx="5442">
                  <c:v>900.23590000000002</c:v>
                </c:pt>
                <c:pt idx="5443">
                  <c:v>883.12570000000005</c:v>
                </c:pt>
                <c:pt idx="5444">
                  <c:v>878.29290000000003</c:v>
                </c:pt>
                <c:pt idx="5445">
                  <c:v>904.9588</c:v>
                </c:pt>
                <c:pt idx="5446">
                  <c:v>822.0856</c:v>
                </c:pt>
                <c:pt idx="5447">
                  <c:v>720.13130000000001</c:v>
                </c:pt>
                <c:pt idx="5448">
                  <c:v>673.02869999999996</c:v>
                </c:pt>
                <c:pt idx="5449">
                  <c:v>641.59580000000005</c:v>
                </c:pt>
                <c:pt idx="5450">
                  <c:v>616.34550000000002</c:v>
                </c:pt>
                <c:pt idx="5451">
                  <c:v>623.05709999999999</c:v>
                </c:pt>
                <c:pt idx="5452">
                  <c:v>634.42020000000002</c:v>
                </c:pt>
                <c:pt idx="5453">
                  <c:v>642.10519999999997</c:v>
                </c:pt>
                <c:pt idx="5454">
                  <c:v>767.61940000000004</c:v>
                </c:pt>
                <c:pt idx="5455">
                  <c:v>872.89189999999996</c:v>
                </c:pt>
                <c:pt idx="5456">
                  <c:v>954.61739999999998</c:v>
                </c:pt>
                <c:pt idx="5457">
                  <c:v>966.53189999999995</c:v>
                </c:pt>
                <c:pt idx="5458">
                  <c:v>981.99400000000003</c:v>
                </c:pt>
                <c:pt idx="5459">
                  <c:v>954.75160000000005</c:v>
                </c:pt>
                <c:pt idx="5460">
                  <c:v>975.59249999999997</c:v>
                </c:pt>
                <c:pt idx="5461">
                  <c:v>973.08429999999998</c:v>
                </c:pt>
                <c:pt idx="5462">
                  <c:v>967.56129999999996</c:v>
                </c:pt>
                <c:pt idx="5463">
                  <c:v>961.30179999999996</c:v>
                </c:pt>
                <c:pt idx="5464">
                  <c:v>938.9</c:v>
                </c:pt>
                <c:pt idx="5465">
                  <c:v>922.63409999999999</c:v>
                </c:pt>
                <c:pt idx="5466">
                  <c:v>893.49400000000003</c:v>
                </c:pt>
                <c:pt idx="5467">
                  <c:v>874.72069999999997</c:v>
                </c:pt>
                <c:pt idx="5468">
                  <c:v>876.31640000000004</c:v>
                </c:pt>
                <c:pt idx="5469">
                  <c:v>894.9</c:v>
                </c:pt>
                <c:pt idx="5470">
                  <c:v>818.68510000000003</c:v>
                </c:pt>
                <c:pt idx="5471">
                  <c:v>726.07280000000003</c:v>
                </c:pt>
                <c:pt idx="5472">
                  <c:v>691.00980000000004</c:v>
                </c:pt>
                <c:pt idx="5473">
                  <c:v>658.07809999999995</c:v>
                </c:pt>
                <c:pt idx="5474">
                  <c:v>640.98829999999998</c:v>
                </c:pt>
                <c:pt idx="5475">
                  <c:v>627.32830000000001</c:v>
                </c:pt>
                <c:pt idx="5476">
                  <c:v>630.39089999999999</c:v>
                </c:pt>
                <c:pt idx="5477">
                  <c:v>613.77470000000005</c:v>
                </c:pt>
                <c:pt idx="5478">
                  <c:v>658.96429999999998</c:v>
                </c:pt>
                <c:pt idx="5479">
                  <c:v>740.19680000000005</c:v>
                </c:pt>
                <c:pt idx="5480">
                  <c:v>808.63260000000002</c:v>
                </c:pt>
                <c:pt idx="5481">
                  <c:v>847.21690000000001</c:v>
                </c:pt>
                <c:pt idx="5482">
                  <c:v>852.52790000000005</c:v>
                </c:pt>
                <c:pt idx="5483">
                  <c:v>848.92960000000005</c:v>
                </c:pt>
                <c:pt idx="5484">
                  <c:v>841.99659999999994</c:v>
                </c:pt>
                <c:pt idx="5485">
                  <c:v>831.57590000000005</c:v>
                </c:pt>
                <c:pt idx="5486">
                  <c:v>822.33720000000005</c:v>
                </c:pt>
                <c:pt idx="5487">
                  <c:v>811.46780000000001</c:v>
                </c:pt>
                <c:pt idx="5488">
                  <c:v>829.35709999999995</c:v>
                </c:pt>
                <c:pt idx="5489">
                  <c:v>843.56179999999995</c:v>
                </c:pt>
                <c:pt idx="5490">
                  <c:v>842.84230000000002</c:v>
                </c:pt>
                <c:pt idx="5491">
                  <c:v>837.08669999999995</c:v>
                </c:pt>
                <c:pt idx="5492">
                  <c:v>814.2704</c:v>
                </c:pt>
                <c:pt idx="5493">
                  <c:v>833.59910000000002</c:v>
                </c:pt>
                <c:pt idx="5494">
                  <c:v>772.25900000000001</c:v>
                </c:pt>
                <c:pt idx="5495">
                  <c:v>710.07209999999998</c:v>
                </c:pt>
                <c:pt idx="5496">
                  <c:v>658.46220000000005</c:v>
                </c:pt>
                <c:pt idx="5497">
                  <c:v>627.54989999999998</c:v>
                </c:pt>
                <c:pt idx="5498">
                  <c:v>613.49559999999997</c:v>
                </c:pt>
                <c:pt idx="5499">
                  <c:v>605.55709999999999</c:v>
                </c:pt>
                <c:pt idx="5500">
                  <c:v>607.05449999999996</c:v>
                </c:pt>
                <c:pt idx="5501">
                  <c:v>578.59630000000004</c:v>
                </c:pt>
                <c:pt idx="5502">
                  <c:v>608.70129999999995</c:v>
                </c:pt>
                <c:pt idx="5503">
                  <c:v>670.34670000000006</c:v>
                </c:pt>
                <c:pt idx="5504">
                  <c:v>737.91</c:v>
                </c:pt>
                <c:pt idx="5505">
                  <c:v>788.35080000000005</c:v>
                </c:pt>
                <c:pt idx="5506">
                  <c:v>796.75369999999998</c:v>
                </c:pt>
                <c:pt idx="5507">
                  <c:v>789.9837</c:v>
                </c:pt>
                <c:pt idx="5508">
                  <c:v>778.38520000000005</c:v>
                </c:pt>
                <c:pt idx="5509">
                  <c:v>772.77170000000001</c:v>
                </c:pt>
                <c:pt idx="5510">
                  <c:v>775.77250000000004</c:v>
                </c:pt>
                <c:pt idx="5511">
                  <c:v>778.52279999999996</c:v>
                </c:pt>
                <c:pt idx="5512">
                  <c:v>793.5086</c:v>
                </c:pt>
                <c:pt idx="5513">
                  <c:v>807.1857</c:v>
                </c:pt>
                <c:pt idx="5514">
                  <c:v>813.7586</c:v>
                </c:pt>
                <c:pt idx="5515">
                  <c:v>809.04</c:v>
                </c:pt>
                <c:pt idx="5516">
                  <c:v>821.82320000000004</c:v>
                </c:pt>
                <c:pt idx="5517">
                  <c:v>827.50630000000001</c:v>
                </c:pt>
                <c:pt idx="5518">
                  <c:v>757.63530000000003</c:v>
                </c:pt>
                <c:pt idx="5519">
                  <c:v>690.50199999999995</c:v>
                </c:pt>
                <c:pt idx="5520">
                  <c:v>631.48969999999997</c:v>
                </c:pt>
                <c:pt idx="5521">
                  <c:v>608.62189999999998</c:v>
                </c:pt>
                <c:pt idx="5522">
                  <c:v>597.49689999999998</c:v>
                </c:pt>
                <c:pt idx="5523">
                  <c:v>613.9</c:v>
                </c:pt>
                <c:pt idx="5524">
                  <c:v>611.81989999999996</c:v>
                </c:pt>
                <c:pt idx="5525">
                  <c:v>629.03819999999996</c:v>
                </c:pt>
                <c:pt idx="5526">
                  <c:v>735.80669999999998</c:v>
                </c:pt>
                <c:pt idx="5527">
                  <c:v>851.42989999999998</c:v>
                </c:pt>
                <c:pt idx="5528">
                  <c:v>946.49400000000003</c:v>
                </c:pt>
                <c:pt idx="5529">
                  <c:v>978.0154</c:v>
                </c:pt>
                <c:pt idx="5530">
                  <c:v>978.15449999999998</c:v>
                </c:pt>
                <c:pt idx="5531">
                  <c:v>963.47940000000006</c:v>
                </c:pt>
                <c:pt idx="5532">
                  <c:v>982.19920000000002</c:v>
                </c:pt>
                <c:pt idx="5533">
                  <c:v>977.02170000000001</c:v>
                </c:pt>
                <c:pt idx="5534">
                  <c:v>969.33969999999999</c:v>
                </c:pt>
                <c:pt idx="5535">
                  <c:v>962.19410000000005</c:v>
                </c:pt>
                <c:pt idx="5536">
                  <c:v>923.34059999999999</c:v>
                </c:pt>
                <c:pt idx="5537">
                  <c:v>918.08420000000001</c:v>
                </c:pt>
                <c:pt idx="5538">
                  <c:v>890.20609999999999</c:v>
                </c:pt>
                <c:pt idx="5539">
                  <c:v>864.23019999999997</c:v>
                </c:pt>
                <c:pt idx="5540">
                  <c:v>864.22990000000004</c:v>
                </c:pt>
                <c:pt idx="5541">
                  <c:v>877.93610000000001</c:v>
                </c:pt>
                <c:pt idx="5542">
                  <c:v>791.09</c:v>
                </c:pt>
                <c:pt idx="5543">
                  <c:v>712.42719999999997</c:v>
                </c:pt>
                <c:pt idx="5544">
                  <c:v>677.55100000000004</c:v>
                </c:pt>
                <c:pt idx="5545">
                  <c:v>647.13559999999995</c:v>
                </c:pt>
                <c:pt idx="5546">
                  <c:v>628.12199999999996</c:v>
                </c:pt>
                <c:pt idx="5547">
                  <c:v>622.98739999999998</c:v>
                </c:pt>
                <c:pt idx="5548">
                  <c:v>628.21159999999998</c:v>
                </c:pt>
                <c:pt idx="5549">
                  <c:v>621.4402</c:v>
                </c:pt>
                <c:pt idx="5550">
                  <c:v>656.31949999999995</c:v>
                </c:pt>
                <c:pt idx="5551">
                  <c:v>722.46410000000003</c:v>
                </c:pt>
                <c:pt idx="5552">
                  <c:v>791.20320000000004</c:v>
                </c:pt>
                <c:pt idx="5553">
                  <c:v>843.10829999999999</c:v>
                </c:pt>
                <c:pt idx="5554">
                  <c:v>845.0213</c:v>
                </c:pt>
                <c:pt idx="5555">
                  <c:v>837.45569999999998</c:v>
                </c:pt>
                <c:pt idx="5556">
                  <c:v>853.90970000000004</c:v>
                </c:pt>
                <c:pt idx="5557">
                  <c:v>843.56650000000002</c:v>
                </c:pt>
                <c:pt idx="5558">
                  <c:v>835.52919999999995</c:v>
                </c:pt>
                <c:pt idx="5559">
                  <c:v>836.04060000000004</c:v>
                </c:pt>
                <c:pt idx="5560">
                  <c:v>839.2527</c:v>
                </c:pt>
                <c:pt idx="5561">
                  <c:v>841.34939999999995</c:v>
                </c:pt>
                <c:pt idx="5562">
                  <c:v>842.90120000000002</c:v>
                </c:pt>
                <c:pt idx="5563">
                  <c:v>830.62090000000001</c:v>
                </c:pt>
                <c:pt idx="5564">
                  <c:v>845.60889999999995</c:v>
                </c:pt>
                <c:pt idx="5565">
                  <c:v>860.96749999999997</c:v>
                </c:pt>
                <c:pt idx="5566">
                  <c:v>767.43799999999999</c:v>
                </c:pt>
                <c:pt idx="5567">
                  <c:v>692.18759999999997</c:v>
                </c:pt>
                <c:pt idx="5568">
                  <c:v>648.78160000000003</c:v>
                </c:pt>
                <c:pt idx="5569">
                  <c:v>624.30939999999998</c:v>
                </c:pt>
                <c:pt idx="5570">
                  <c:v>616.7056</c:v>
                </c:pt>
                <c:pt idx="5571">
                  <c:v>606.81629999999996</c:v>
                </c:pt>
                <c:pt idx="5572">
                  <c:v>623.64580000000001</c:v>
                </c:pt>
                <c:pt idx="5573">
                  <c:v>640.62980000000005</c:v>
                </c:pt>
                <c:pt idx="5574">
                  <c:v>761.54639999999995</c:v>
                </c:pt>
                <c:pt idx="5575">
                  <c:v>883.20249999999999</c:v>
                </c:pt>
                <c:pt idx="5576">
                  <c:v>981.96609999999998</c:v>
                </c:pt>
                <c:pt idx="5577">
                  <c:v>1014.4788</c:v>
                </c:pt>
                <c:pt idx="5578">
                  <c:v>1020.6299</c:v>
                </c:pt>
                <c:pt idx="5579">
                  <c:v>997.51570000000004</c:v>
                </c:pt>
                <c:pt idx="5580">
                  <c:v>1019.6081</c:v>
                </c:pt>
                <c:pt idx="5581">
                  <c:v>1019.4922</c:v>
                </c:pt>
                <c:pt idx="5582">
                  <c:v>1006.4997</c:v>
                </c:pt>
                <c:pt idx="5583">
                  <c:v>992.83339999999998</c:v>
                </c:pt>
                <c:pt idx="5584">
                  <c:v>968.12710000000004</c:v>
                </c:pt>
                <c:pt idx="5585">
                  <c:v>962.78110000000004</c:v>
                </c:pt>
                <c:pt idx="5586">
                  <c:v>922.2568</c:v>
                </c:pt>
                <c:pt idx="5587">
                  <c:v>904.52290000000005</c:v>
                </c:pt>
                <c:pt idx="5588">
                  <c:v>891.11789999999996</c:v>
                </c:pt>
                <c:pt idx="5589">
                  <c:v>884.31010000000003</c:v>
                </c:pt>
                <c:pt idx="5590">
                  <c:v>772.6816</c:v>
                </c:pt>
                <c:pt idx="5591">
                  <c:v>688.71730000000002</c:v>
                </c:pt>
                <c:pt idx="5592">
                  <c:v>654.83420000000001</c:v>
                </c:pt>
                <c:pt idx="5593">
                  <c:v>618.64890000000003</c:v>
                </c:pt>
                <c:pt idx="5594">
                  <c:v>613.32510000000002</c:v>
                </c:pt>
                <c:pt idx="5595">
                  <c:v>617.45339999999999</c:v>
                </c:pt>
                <c:pt idx="5596">
                  <c:v>636.55709999999999</c:v>
                </c:pt>
                <c:pt idx="5597">
                  <c:v>650.02020000000005</c:v>
                </c:pt>
                <c:pt idx="5598">
                  <c:v>754.63199999999995</c:v>
                </c:pt>
                <c:pt idx="5599">
                  <c:v>888.63789999999995</c:v>
                </c:pt>
                <c:pt idx="5600">
                  <c:v>979.22199999999998</c:v>
                </c:pt>
                <c:pt idx="5601">
                  <c:v>997.53049999999996</c:v>
                </c:pt>
                <c:pt idx="5602">
                  <c:v>1005.4545000000001</c:v>
                </c:pt>
                <c:pt idx="5603">
                  <c:v>972.00670000000002</c:v>
                </c:pt>
                <c:pt idx="5604">
                  <c:v>993.80349999999999</c:v>
                </c:pt>
                <c:pt idx="5605">
                  <c:v>979.58550000000002</c:v>
                </c:pt>
                <c:pt idx="5606">
                  <c:v>977.98820000000001</c:v>
                </c:pt>
                <c:pt idx="5607">
                  <c:v>966.97929999999997</c:v>
                </c:pt>
                <c:pt idx="5608">
                  <c:v>925.70360000000005</c:v>
                </c:pt>
                <c:pt idx="5609">
                  <c:v>934.74879999999996</c:v>
                </c:pt>
                <c:pt idx="5610">
                  <c:v>910.18679999999995</c:v>
                </c:pt>
                <c:pt idx="5611">
                  <c:v>899.30489999999998</c:v>
                </c:pt>
                <c:pt idx="5612">
                  <c:v>907.17660000000001</c:v>
                </c:pt>
                <c:pt idx="5613">
                  <c:v>914.97339999999997</c:v>
                </c:pt>
                <c:pt idx="5614">
                  <c:v>815.15329999999994</c:v>
                </c:pt>
                <c:pt idx="5615">
                  <c:v>708.00699999999995</c:v>
                </c:pt>
                <c:pt idx="5616">
                  <c:v>669.6934</c:v>
                </c:pt>
                <c:pt idx="5617">
                  <c:v>635.31079999999997</c:v>
                </c:pt>
                <c:pt idx="5618">
                  <c:v>612.30690000000004</c:v>
                </c:pt>
                <c:pt idx="5619">
                  <c:v>618.05150000000003</c:v>
                </c:pt>
                <c:pt idx="5620">
                  <c:v>630.01059999999995</c:v>
                </c:pt>
                <c:pt idx="5621">
                  <c:v>654.48050000000001</c:v>
                </c:pt>
                <c:pt idx="5622">
                  <c:v>760.40570000000002</c:v>
                </c:pt>
                <c:pt idx="5623">
                  <c:v>883.47239999999999</c:v>
                </c:pt>
                <c:pt idx="5624">
                  <c:v>971.13480000000004</c:v>
                </c:pt>
                <c:pt idx="5625">
                  <c:v>1001.1514</c:v>
                </c:pt>
                <c:pt idx="5626">
                  <c:v>992.99919999999997</c:v>
                </c:pt>
                <c:pt idx="5627">
                  <c:v>974.31650000000002</c:v>
                </c:pt>
                <c:pt idx="5628">
                  <c:v>994.48940000000005</c:v>
                </c:pt>
                <c:pt idx="5629">
                  <c:v>999.68079999999998</c:v>
                </c:pt>
                <c:pt idx="5630">
                  <c:v>984.87580000000003</c:v>
                </c:pt>
                <c:pt idx="5631">
                  <c:v>976.35400000000004</c:v>
                </c:pt>
                <c:pt idx="5632">
                  <c:v>957.67619999999999</c:v>
                </c:pt>
                <c:pt idx="5633">
                  <c:v>949.96270000000004</c:v>
                </c:pt>
                <c:pt idx="5634">
                  <c:v>916.82230000000004</c:v>
                </c:pt>
                <c:pt idx="5635">
                  <c:v>910.99559999999997</c:v>
                </c:pt>
                <c:pt idx="5636">
                  <c:v>921.71929999999998</c:v>
                </c:pt>
                <c:pt idx="5637">
                  <c:v>885.91819999999996</c:v>
                </c:pt>
                <c:pt idx="5638">
                  <c:v>794.56119999999999</c:v>
                </c:pt>
                <c:pt idx="5639">
                  <c:v>716.59990000000005</c:v>
                </c:pt>
                <c:pt idx="5640">
                  <c:v>664.35810000000004</c:v>
                </c:pt>
                <c:pt idx="5641">
                  <c:v>638.46990000000005</c:v>
                </c:pt>
                <c:pt idx="5642">
                  <c:v>621.28579999999999</c:v>
                </c:pt>
                <c:pt idx="5643">
                  <c:v>614.01570000000004</c:v>
                </c:pt>
                <c:pt idx="5644">
                  <c:v>608.64819999999997</c:v>
                </c:pt>
                <c:pt idx="5645">
                  <c:v>592.14110000000005</c:v>
                </c:pt>
                <c:pt idx="5646">
                  <c:v>632.30960000000005</c:v>
                </c:pt>
                <c:pt idx="5647">
                  <c:v>702.42139999999995</c:v>
                </c:pt>
                <c:pt idx="5648">
                  <c:v>781.15560000000005</c:v>
                </c:pt>
                <c:pt idx="5649">
                  <c:v>820.81830000000002</c:v>
                </c:pt>
                <c:pt idx="5650">
                  <c:v>826.66819999999996</c:v>
                </c:pt>
                <c:pt idx="5651">
                  <c:v>816.28959999999995</c:v>
                </c:pt>
                <c:pt idx="5652">
                  <c:v>800.29960000000005</c:v>
                </c:pt>
                <c:pt idx="5653">
                  <c:v>799.08010000000002</c:v>
                </c:pt>
                <c:pt idx="5654">
                  <c:v>779.94169999999997</c:v>
                </c:pt>
                <c:pt idx="5655">
                  <c:v>773.05050000000006</c:v>
                </c:pt>
                <c:pt idx="5656">
                  <c:v>773.65940000000001</c:v>
                </c:pt>
                <c:pt idx="5657">
                  <c:v>768.38509999999997</c:v>
                </c:pt>
                <c:pt idx="5658">
                  <c:v>783.63170000000002</c:v>
                </c:pt>
                <c:pt idx="5659">
                  <c:v>774.68730000000005</c:v>
                </c:pt>
                <c:pt idx="5660">
                  <c:v>786.3433</c:v>
                </c:pt>
                <c:pt idx="5661">
                  <c:v>798.04750000000001</c:v>
                </c:pt>
                <c:pt idx="5662">
                  <c:v>738.79100000000005</c:v>
                </c:pt>
                <c:pt idx="5663">
                  <c:v>686.32240000000002</c:v>
                </c:pt>
                <c:pt idx="5664">
                  <c:v>634.12549999999999</c:v>
                </c:pt>
                <c:pt idx="5665">
                  <c:v>606.89639999999997</c:v>
                </c:pt>
                <c:pt idx="5666">
                  <c:v>603.56209999999999</c:v>
                </c:pt>
                <c:pt idx="5667">
                  <c:v>603.72829999999999</c:v>
                </c:pt>
                <c:pt idx="5668">
                  <c:v>601.04390000000001</c:v>
                </c:pt>
                <c:pt idx="5669">
                  <c:v>574.04169999999999</c:v>
                </c:pt>
                <c:pt idx="5670">
                  <c:v>606.48509999999999</c:v>
                </c:pt>
                <c:pt idx="5671">
                  <c:v>655.03959999999995</c:v>
                </c:pt>
                <c:pt idx="5672">
                  <c:v>732.1155</c:v>
                </c:pt>
                <c:pt idx="5673">
                  <c:v>774.20060000000001</c:v>
                </c:pt>
                <c:pt idx="5674">
                  <c:v>782.65890000000002</c:v>
                </c:pt>
                <c:pt idx="5675">
                  <c:v>769.33360000000005</c:v>
                </c:pt>
                <c:pt idx="5676">
                  <c:v>769.85299999999995</c:v>
                </c:pt>
                <c:pt idx="5677">
                  <c:v>771.16499999999996</c:v>
                </c:pt>
                <c:pt idx="5678">
                  <c:v>760.77470000000005</c:v>
                </c:pt>
                <c:pt idx="5679">
                  <c:v>768.452</c:v>
                </c:pt>
                <c:pt idx="5680">
                  <c:v>784.44479999999999</c:v>
                </c:pt>
                <c:pt idx="5681">
                  <c:v>798.80050000000006</c:v>
                </c:pt>
                <c:pt idx="5682">
                  <c:v>813.43349999999998</c:v>
                </c:pt>
                <c:pt idx="5683">
                  <c:v>815.74440000000004</c:v>
                </c:pt>
                <c:pt idx="5684">
                  <c:v>844.06380000000001</c:v>
                </c:pt>
                <c:pt idx="5685">
                  <c:v>830.03830000000005</c:v>
                </c:pt>
                <c:pt idx="5686">
                  <c:v>759.41189999999995</c:v>
                </c:pt>
                <c:pt idx="5687">
                  <c:v>680.45809999999994</c:v>
                </c:pt>
                <c:pt idx="5688">
                  <c:v>640.82339999999999</c:v>
                </c:pt>
                <c:pt idx="5689">
                  <c:v>611.19209999999998</c:v>
                </c:pt>
                <c:pt idx="5690">
                  <c:v>605.29859999999996</c:v>
                </c:pt>
                <c:pt idx="5691">
                  <c:v>579.57870000000003</c:v>
                </c:pt>
                <c:pt idx="5692">
                  <c:v>607.57650000000001</c:v>
                </c:pt>
                <c:pt idx="5693">
                  <c:v>633.31020000000001</c:v>
                </c:pt>
                <c:pt idx="5694">
                  <c:v>761.82820000000004</c:v>
                </c:pt>
                <c:pt idx="5695">
                  <c:v>872.66060000000004</c:v>
                </c:pt>
                <c:pt idx="5696">
                  <c:v>963.15449999999998</c:v>
                </c:pt>
                <c:pt idx="5697">
                  <c:v>990.77080000000001</c:v>
                </c:pt>
                <c:pt idx="5698">
                  <c:v>996.8682</c:v>
                </c:pt>
                <c:pt idx="5699">
                  <c:v>984.71559999999999</c:v>
                </c:pt>
                <c:pt idx="5700">
                  <c:v>1020.5825</c:v>
                </c:pt>
                <c:pt idx="5701">
                  <c:v>1020.3919</c:v>
                </c:pt>
                <c:pt idx="5702">
                  <c:v>1013.4435</c:v>
                </c:pt>
                <c:pt idx="5703">
                  <c:v>1007.9724</c:v>
                </c:pt>
                <c:pt idx="5704">
                  <c:v>958.44539999999995</c:v>
                </c:pt>
                <c:pt idx="5705">
                  <c:v>953.72439999999995</c:v>
                </c:pt>
                <c:pt idx="5706">
                  <c:v>935.97069999999997</c:v>
                </c:pt>
                <c:pt idx="5707">
                  <c:v>918.17399999999998</c:v>
                </c:pt>
                <c:pt idx="5708">
                  <c:v>951.28499999999997</c:v>
                </c:pt>
                <c:pt idx="5709">
                  <c:v>920.73429999999996</c:v>
                </c:pt>
                <c:pt idx="5710">
                  <c:v>814.69659999999999</c:v>
                </c:pt>
                <c:pt idx="5711">
                  <c:v>705.98239999999998</c:v>
                </c:pt>
                <c:pt idx="5712">
                  <c:v>683.51120000000003</c:v>
                </c:pt>
                <c:pt idx="5713">
                  <c:v>673.94449999999995</c:v>
                </c:pt>
                <c:pt idx="5714">
                  <c:v>658.48159999999996</c:v>
                </c:pt>
                <c:pt idx="5715">
                  <c:v>654.30079999999998</c:v>
                </c:pt>
                <c:pt idx="5716">
                  <c:v>664.67139999999995</c:v>
                </c:pt>
                <c:pt idx="5717">
                  <c:v>686.697</c:v>
                </c:pt>
                <c:pt idx="5718">
                  <c:v>784.31449999999995</c:v>
                </c:pt>
                <c:pt idx="5719">
                  <c:v>918.99950000000001</c:v>
                </c:pt>
                <c:pt idx="5720">
                  <c:v>1019.202</c:v>
                </c:pt>
                <c:pt idx="5721">
                  <c:v>1017.7514</c:v>
                </c:pt>
                <c:pt idx="5722">
                  <c:v>1028.0743</c:v>
                </c:pt>
                <c:pt idx="5723">
                  <c:v>1000.717</c:v>
                </c:pt>
                <c:pt idx="5724">
                  <c:v>1021.1688</c:v>
                </c:pt>
                <c:pt idx="5725">
                  <c:v>1014.1589</c:v>
                </c:pt>
                <c:pt idx="5726">
                  <c:v>1008.196</c:v>
                </c:pt>
                <c:pt idx="5727">
                  <c:v>999.21540000000005</c:v>
                </c:pt>
                <c:pt idx="5728">
                  <c:v>973.57820000000004</c:v>
                </c:pt>
                <c:pt idx="5729">
                  <c:v>969.19309999999996</c:v>
                </c:pt>
                <c:pt idx="5730">
                  <c:v>934.68290000000002</c:v>
                </c:pt>
                <c:pt idx="5731">
                  <c:v>919.16849999999999</c:v>
                </c:pt>
                <c:pt idx="5732">
                  <c:v>948.8</c:v>
                </c:pt>
                <c:pt idx="5733">
                  <c:v>921.14670000000001</c:v>
                </c:pt>
                <c:pt idx="5734">
                  <c:v>811.53689999999995</c:v>
                </c:pt>
                <c:pt idx="5735">
                  <c:v>726.0684</c:v>
                </c:pt>
                <c:pt idx="5736">
                  <c:v>682.7491</c:v>
                </c:pt>
                <c:pt idx="5737">
                  <c:v>643.51340000000005</c:v>
                </c:pt>
                <c:pt idx="5738">
                  <c:v>633.10860000000002</c:v>
                </c:pt>
                <c:pt idx="5739">
                  <c:v>618.74260000000004</c:v>
                </c:pt>
                <c:pt idx="5740">
                  <c:v>645.33150000000001</c:v>
                </c:pt>
                <c:pt idx="5741">
                  <c:v>668.98310000000004</c:v>
                </c:pt>
                <c:pt idx="5742">
                  <c:v>783.34439999999995</c:v>
                </c:pt>
                <c:pt idx="5743">
                  <c:v>898.25959999999998</c:v>
                </c:pt>
                <c:pt idx="5744">
                  <c:v>988.2627</c:v>
                </c:pt>
                <c:pt idx="5745">
                  <c:v>1017.1398</c:v>
                </c:pt>
                <c:pt idx="5746">
                  <c:v>1015.5308</c:v>
                </c:pt>
                <c:pt idx="5747">
                  <c:v>1000.8223</c:v>
                </c:pt>
                <c:pt idx="5748">
                  <c:v>1010.2544</c:v>
                </c:pt>
                <c:pt idx="5749">
                  <c:v>1010.2544</c:v>
                </c:pt>
                <c:pt idx="5750">
                  <c:v>1001.4997</c:v>
                </c:pt>
                <c:pt idx="5751">
                  <c:v>994.34159999999997</c:v>
                </c:pt>
                <c:pt idx="5752">
                  <c:v>966.71479999999997</c:v>
                </c:pt>
                <c:pt idx="5753">
                  <c:v>960.86670000000004</c:v>
                </c:pt>
                <c:pt idx="5754">
                  <c:v>934.15989999999999</c:v>
                </c:pt>
                <c:pt idx="5755">
                  <c:v>919.10419999999999</c:v>
                </c:pt>
                <c:pt idx="5756">
                  <c:v>957.95230000000004</c:v>
                </c:pt>
                <c:pt idx="5757">
                  <c:v>917.52859999999998</c:v>
                </c:pt>
                <c:pt idx="5758">
                  <c:v>816.14020000000005</c:v>
                </c:pt>
                <c:pt idx="5759">
                  <c:v>714.25649999999996</c:v>
                </c:pt>
                <c:pt idx="5760">
                  <c:v>671.34469999999999</c:v>
                </c:pt>
                <c:pt idx="5761">
                  <c:v>645.49289999999996</c:v>
                </c:pt>
                <c:pt idx="5762">
                  <c:v>632.2174</c:v>
                </c:pt>
                <c:pt idx="5763">
                  <c:v>610.46090000000004</c:v>
                </c:pt>
                <c:pt idx="5764">
                  <c:v>627.1105</c:v>
                </c:pt>
                <c:pt idx="5765">
                  <c:v>648.63620000000003</c:v>
                </c:pt>
                <c:pt idx="5766">
                  <c:v>761.47119999999995</c:v>
                </c:pt>
                <c:pt idx="5767">
                  <c:v>890.27440000000001</c:v>
                </c:pt>
                <c:pt idx="5768">
                  <c:v>987.97739999999999</c:v>
                </c:pt>
                <c:pt idx="5769">
                  <c:v>990.49509999999998</c:v>
                </c:pt>
                <c:pt idx="5770">
                  <c:v>985.7405</c:v>
                </c:pt>
                <c:pt idx="5771">
                  <c:v>968.22739999999999</c:v>
                </c:pt>
                <c:pt idx="5772">
                  <c:v>980.08690000000001</c:v>
                </c:pt>
                <c:pt idx="5773">
                  <c:v>997.41160000000002</c:v>
                </c:pt>
                <c:pt idx="5774">
                  <c:v>1006.049</c:v>
                </c:pt>
                <c:pt idx="5775">
                  <c:v>998.19659999999999</c:v>
                </c:pt>
                <c:pt idx="5776">
                  <c:v>956.92229999999995</c:v>
                </c:pt>
                <c:pt idx="5777">
                  <c:v>956.80370000000005</c:v>
                </c:pt>
                <c:pt idx="5778">
                  <c:v>920.31370000000004</c:v>
                </c:pt>
                <c:pt idx="5779">
                  <c:v>904.02610000000004</c:v>
                </c:pt>
                <c:pt idx="5780">
                  <c:v>940.21299999999997</c:v>
                </c:pt>
                <c:pt idx="5781">
                  <c:v>902.7056</c:v>
                </c:pt>
                <c:pt idx="5782">
                  <c:v>786.50360000000001</c:v>
                </c:pt>
                <c:pt idx="5783">
                  <c:v>709.95060000000001</c:v>
                </c:pt>
                <c:pt idx="5784">
                  <c:v>654.75080000000003</c:v>
                </c:pt>
                <c:pt idx="5785">
                  <c:v>639.83159999999998</c:v>
                </c:pt>
                <c:pt idx="5786">
                  <c:v>621.60109999999997</c:v>
                </c:pt>
                <c:pt idx="5787">
                  <c:v>610.54830000000004</c:v>
                </c:pt>
                <c:pt idx="5788">
                  <c:v>632.18979999999999</c:v>
                </c:pt>
                <c:pt idx="5789">
                  <c:v>661.32749999999999</c:v>
                </c:pt>
                <c:pt idx="5790">
                  <c:v>762.65459999999996</c:v>
                </c:pt>
                <c:pt idx="5791">
                  <c:v>878.61599999999999</c:v>
                </c:pt>
                <c:pt idx="5792">
                  <c:v>975.91279999999995</c:v>
                </c:pt>
                <c:pt idx="5793">
                  <c:v>1020.6201</c:v>
                </c:pt>
                <c:pt idx="5794">
                  <c:v>1027.1035999999999</c:v>
                </c:pt>
                <c:pt idx="5795">
                  <c:v>1017.7571</c:v>
                </c:pt>
                <c:pt idx="5796">
                  <c:v>1011.1037</c:v>
                </c:pt>
                <c:pt idx="5797">
                  <c:v>1019.8532</c:v>
                </c:pt>
                <c:pt idx="5798">
                  <c:v>1023.3439</c:v>
                </c:pt>
                <c:pt idx="5799">
                  <c:v>981.05989999999997</c:v>
                </c:pt>
                <c:pt idx="5800">
                  <c:v>963.28539999999998</c:v>
                </c:pt>
                <c:pt idx="5801">
                  <c:v>960.99210000000005</c:v>
                </c:pt>
                <c:pt idx="5802">
                  <c:v>917.24099999999999</c:v>
                </c:pt>
                <c:pt idx="5803">
                  <c:v>894.86980000000005</c:v>
                </c:pt>
                <c:pt idx="5804">
                  <c:v>926.54179999999997</c:v>
                </c:pt>
                <c:pt idx="5805">
                  <c:v>879.13139999999999</c:v>
                </c:pt>
                <c:pt idx="5806">
                  <c:v>791.10419999999999</c:v>
                </c:pt>
                <c:pt idx="5807">
                  <c:v>710.72280000000001</c:v>
                </c:pt>
                <c:pt idx="5808">
                  <c:v>638.21540000000005</c:v>
                </c:pt>
                <c:pt idx="5809">
                  <c:v>627.19889999999998</c:v>
                </c:pt>
                <c:pt idx="5810">
                  <c:v>620.31489999999997</c:v>
                </c:pt>
                <c:pt idx="5811">
                  <c:v>617.91830000000004</c:v>
                </c:pt>
                <c:pt idx="5812">
                  <c:v>618.16</c:v>
                </c:pt>
                <c:pt idx="5813">
                  <c:v>612.11760000000004</c:v>
                </c:pt>
                <c:pt idx="5814">
                  <c:v>643.49289999999996</c:v>
                </c:pt>
                <c:pt idx="5815">
                  <c:v>705.28359999999998</c:v>
                </c:pt>
                <c:pt idx="5816">
                  <c:v>780.58249999999998</c:v>
                </c:pt>
                <c:pt idx="5817">
                  <c:v>815.70920000000001</c:v>
                </c:pt>
                <c:pt idx="5818">
                  <c:v>823.38409999999999</c:v>
                </c:pt>
                <c:pt idx="5819">
                  <c:v>809.0829</c:v>
                </c:pt>
                <c:pt idx="5820">
                  <c:v>791.77760000000001</c:v>
                </c:pt>
                <c:pt idx="5821">
                  <c:v>801.19870000000003</c:v>
                </c:pt>
                <c:pt idx="5822">
                  <c:v>788.26750000000004</c:v>
                </c:pt>
                <c:pt idx="5823">
                  <c:v>784.89610000000005</c:v>
                </c:pt>
                <c:pt idx="5824">
                  <c:v>782.12009999999998</c:v>
                </c:pt>
                <c:pt idx="5825">
                  <c:v>778.22109999999998</c:v>
                </c:pt>
                <c:pt idx="5826">
                  <c:v>782.40009999999995</c:v>
                </c:pt>
                <c:pt idx="5827">
                  <c:v>785.95309999999995</c:v>
                </c:pt>
                <c:pt idx="5828">
                  <c:v>824.04160000000002</c:v>
                </c:pt>
                <c:pt idx="5829">
                  <c:v>778.79240000000004</c:v>
                </c:pt>
                <c:pt idx="5830">
                  <c:v>732.02470000000005</c:v>
                </c:pt>
                <c:pt idx="5831">
                  <c:v>665.74329999999998</c:v>
                </c:pt>
                <c:pt idx="5832">
                  <c:v>625.09690000000001</c:v>
                </c:pt>
                <c:pt idx="5833">
                  <c:v>599.49900000000002</c:v>
                </c:pt>
                <c:pt idx="5834">
                  <c:v>589.7183</c:v>
                </c:pt>
                <c:pt idx="5835">
                  <c:v>578.95439999999996</c:v>
                </c:pt>
                <c:pt idx="5836">
                  <c:v>584.32870000000003</c:v>
                </c:pt>
                <c:pt idx="5837">
                  <c:v>582.51089999999999</c:v>
                </c:pt>
                <c:pt idx="5838">
                  <c:v>588.67539999999997</c:v>
                </c:pt>
                <c:pt idx="5839">
                  <c:v>646.79949999999997</c:v>
                </c:pt>
                <c:pt idx="5840">
                  <c:v>719.20209999999997</c:v>
                </c:pt>
                <c:pt idx="5841">
                  <c:v>763.89919999999995</c:v>
                </c:pt>
                <c:pt idx="5842">
                  <c:v>772.9194</c:v>
                </c:pt>
                <c:pt idx="5843">
                  <c:v>770.06399999999996</c:v>
                </c:pt>
                <c:pt idx="5844">
                  <c:v>765.61810000000003</c:v>
                </c:pt>
                <c:pt idx="5845">
                  <c:v>758.95429999999999</c:v>
                </c:pt>
                <c:pt idx="5846">
                  <c:v>759.61069999999995</c:v>
                </c:pt>
                <c:pt idx="5847">
                  <c:v>766.13260000000002</c:v>
                </c:pt>
                <c:pt idx="5848">
                  <c:v>775.98869999999999</c:v>
                </c:pt>
                <c:pt idx="5849">
                  <c:v>792.37469999999996</c:v>
                </c:pt>
                <c:pt idx="5850">
                  <c:v>808.67619999999999</c:v>
                </c:pt>
                <c:pt idx="5851">
                  <c:v>819.89890000000003</c:v>
                </c:pt>
                <c:pt idx="5852">
                  <c:v>882.46500000000003</c:v>
                </c:pt>
                <c:pt idx="5853">
                  <c:v>827.73130000000003</c:v>
                </c:pt>
                <c:pt idx="5854">
                  <c:v>738.55219999999997</c:v>
                </c:pt>
                <c:pt idx="5855">
                  <c:v>669.13570000000004</c:v>
                </c:pt>
                <c:pt idx="5856">
                  <c:v>622.29960000000005</c:v>
                </c:pt>
                <c:pt idx="5857">
                  <c:v>604.06560000000002</c:v>
                </c:pt>
                <c:pt idx="5858">
                  <c:v>599.61270000000002</c:v>
                </c:pt>
                <c:pt idx="5859">
                  <c:v>595.41459999999995</c:v>
                </c:pt>
                <c:pt idx="5860">
                  <c:v>601.89829999999995</c:v>
                </c:pt>
                <c:pt idx="5861">
                  <c:v>645.8365</c:v>
                </c:pt>
                <c:pt idx="5862">
                  <c:v>763.88170000000002</c:v>
                </c:pt>
                <c:pt idx="5863">
                  <c:v>878.36689999999999</c:v>
                </c:pt>
                <c:pt idx="5864">
                  <c:v>978.48149999999998</c:v>
                </c:pt>
                <c:pt idx="5865">
                  <c:v>954.07339999999999</c:v>
                </c:pt>
                <c:pt idx="5866">
                  <c:v>978.67089999999996</c:v>
                </c:pt>
                <c:pt idx="5867">
                  <c:v>963.43280000000004</c:v>
                </c:pt>
                <c:pt idx="5868">
                  <c:v>993.51880000000006</c:v>
                </c:pt>
                <c:pt idx="5869">
                  <c:v>1004.0056</c:v>
                </c:pt>
                <c:pt idx="5870">
                  <c:v>1009.8742</c:v>
                </c:pt>
                <c:pt idx="5871">
                  <c:v>1002.6499</c:v>
                </c:pt>
                <c:pt idx="5872">
                  <c:v>975.06439999999998</c:v>
                </c:pt>
                <c:pt idx="5873">
                  <c:v>983.48360000000002</c:v>
                </c:pt>
                <c:pt idx="5874">
                  <c:v>950.27369999999996</c:v>
                </c:pt>
                <c:pt idx="5875">
                  <c:v>942.19740000000002</c:v>
                </c:pt>
                <c:pt idx="5876">
                  <c:v>953.04740000000004</c:v>
                </c:pt>
                <c:pt idx="5877">
                  <c:v>873.38570000000004</c:v>
                </c:pt>
                <c:pt idx="5878">
                  <c:v>785.85130000000004</c:v>
                </c:pt>
                <c:pt idx="5879">
                  <c:v>700.68700000000001</c:v>
                </c:pt>
                <c:pt idx="5880">
                  <c:v>664.15750000000003</c:v>
                </c:pt>
                <c:pt idx="5881">
                  <c:v>647.82560000000001</c:v>
                </c:pt>
                <c:pt idx="5882">
                  <c:v>624.24919999999997</c:v>
                </c:pt>
                <c:pt idx="5883">
                  <c:v>629.98199999999997</c:v>
                </c:pt>
                <c:pt idx="5884">
                  <c:v>637.62739999999997</c:v>
                </c:pt>
                <c:pt idx="5885">
                  <c:v>688.8252</c:v>
                </c:pt>
                <c:pt idx="5886">
                  <c:v>789.98050000000001</c:v>
                </c:pt>
                <c:pt idx="5887">
                  <c:v>905.33420000000001</c:v>
                </c:pt>
                <c:pt idx="5888">
                  <c:v>989.60249999999996</c:v>
                </c:pt>
                <c:pt idx="5889">
                  <c:v>995.09939999999995</c:v>
                </c:pt>
                <c:pt idx="5890">
                  <c:v>994.49789999999996</c:v>
                </c:pt>
                <c:pt idx="5891">
                  <c:v>973.30100000000004</c:v>
                </c:pt>
                <c:pt idx="5892">
                  <c:v>997.10429999999997</c:v>
                </c:pt>
                <c:pt idx="5893">
                  <c:v>982.36210000000005</c:v>
                </c:pt>
                <c:pt idx="5894">
                  <c:v>1002.4797</c:v>
                </c:pt>
                <c:pt idx="5895">
                  <c:v>985.10209999999995</c:v>
                </c:pt>
                <c:pt idx="5896">
                  <c:v>934.10770000000002</c:v>
                </c:pt>
                <c:pt idx="5897">
                  <c:v>926.47239999999999</c:v>
                </c:pt>
                <c:pt idx="5898">
                  <c:v>906.90589999999997</c:v>
                </c:pt>
                <c:pt idx="5899">
                  <c:v>898.40120000000002</c:v>
                </c:pt>
                <c:pt idx="5900">
                  <c:v>950.65470000000005</c:v>
                </c:pt>
                <c:pt idx="5901">
                  <c:v>897.41020000000003</c:v>
                </c:pt>
                <c:pt idx="5902">
                  <c:v>783.03689999999995</c:v>
                </c:pt>
                <c:pt idx="5903">
                  <c:v>715.12350000000004</c:v>
                </c:pt>
                <c:pt idx="5904">
                  <c:v>675.71079999999995</c:v>
                </c:pt>
                <c:pt idx="5905">
                  <c:v>647.38199999999995</c:v>
                </c:pt>
                <c:pt idx="5906">
                  <c:v>636.92970000000003</c:v>
                </c:pt>
                <c:pt idx="5907">
                  <c:v>647.00940000000003</c:v>
                </c:pt>
                <c:pt idx="5908">
                  <c:v>648.18730000000005</c:v>
                </c:pt>
                <c:pt idx="5909">
                  <c:v>707.68190000000004</c:v>
                </c:pt>
                <c:pt idx="5910">
                  <c:v>818.59</c:v>
                </c:pt>
                <c:pt idx="5911">
                  <c:v>928.46559999999999</c:v>
                </c:pt>
                <c:pt idx="5912">
                  <c:v>996.57780000000002</c:v>
                </c:pt>
                <c:pt idx="5913">
                  <c:v>992.95270000000005</c:v>
                </c:pt>
                <c:pt idx="5914">
                  <c:v>983.53189999999995</c:v>
                </c:pt>
                <c:pt idx="5915">
                  <c:v>948.36130000000003</c:v>
                </c:pt>
                <c:pt idx="5916">
                  <c:v>964.06769999999995</c:v>
                </c:pt>
                <c:pt idx="5917">
                  <c:v>960.92010000000005</c:v>
                </c:pt>
                <c:pt idx="5918">
                  <c:v>960.75580000000002</c:v>
                </c:pt>
                <c:pt idx="5919">
                  <c:v>954.44590000000005</c:v>
                </c:pt>
                <c:pt idx="5920">
                  <c:v>939.8211</c:v>
                </c:pt>
                <c:pt idx="5921">
                  <c:v>925.74549999999999</c:v>
                </c:pt>
                <c:pt idx="5922">
                  <c:v>898.42750000000001</c:v>
                </c:pt>
                <c:pt idx="5923">
                  <c:v>905.01199999999994</c:v>
                </c:pt>
                <c:pt idx="5924">
                  <c:v>943.67970000000003</c:v>
                </c:pt>
                <c:pt idx="5925">
                  <c:v>890.82939999999996</c:v>
                </c:pt>
                <c:pt idx="5926">
                  <c:v>772.87049999999999</c:v>
                </c:pt>
                <c:pt idx="5927">
                  <c:v>696.08699999999999</c:v>
                </c:pt>
                <c:pt idx="5928">
                  <c:v>663.24630000000002</c:v>
                </c:pt>
                <c:pt idx="5929">
                  <c:v>639.1816</c:v>
                </c:pt>
                <c:pt idx="5930">
                  <c:v>629.53589999999997</c:v>
                </c:pt>
                <c:pt idx="5931">
                  <c:v>632.97519999999997</c:v>
                </c:pt>
                <c:pt idx="5932">
                  <c:v>639.51239999999996</c:v>
                </c:pt>
                <c:pt idx="5933">
                  <c:v>703.14499999999998</c:v>
                </c:pt>
                <c:pt idx="5934">
                  <c:v>815.51829999999995</c:v>
                </c:pt>
                <c:pt idx="5935">
                  <c:v>927.68949999999995</c:v>
                </c:pt>
                <c:pt idx="5936">
                  <c:v>993.18209999999999</c:v>
                </c:pt>
                <c:pt idx="5937">
                  <c:v>1010.4239</c:v>
                </c:pt>
                <c:pt idx="5938">
                  <c:v>994.72050000000002</c:v>
                </c:pt>
                <c:pt idx="5939">
                  <c:v>972.04150000000004</c:v>
                </c:pt>
                <c:pt idx="5940">
                  <c:v>994.91750000000002</c:v>
                </c:pt>
                <c:pt idx="5941">
                  <c:v>1001.7190000000001</c:v>
                </c:pt>
                <c:pt idx="5942">
                  <c:v>1007.4186999999999</c:v>
                </c:pt>
                <c:pt idx="5943">
                  <c:v>1004.2822</c:v>
                </c:pt>
                <c:pt idx="5944">
                  <c:v>978.0788</c:v>
                </c:pt>
                <c:pt idx="5945">
                  <c:v>982.84259999999995</c:v>
                </c:pt>
                <c:pt idx="5946">
                  <c:v>958.65189999999996</c:v>
                </c:pt>
                <c:pt idx="5947">
                  <c:v>950.47159999999997</c:v>
                </c:pt>
                <c:pt idx="5948">
                  <c:v>982.43870000000004</c:v>
                </c:pt>
                <c:pt idx="5949">
                  <c:v>921.83249999999998</c:v>
                </c:pt>
                <c:pt idx="5950">
                  <c:v>801.38729999999998</c:v>
                </c:pt>
                <c:pt idx="5951">
                  <c:v>726.97609999999997</c:v>
                </c:pt>
                <c:pt idx="5952">
                  <c:v>685.49030000000005</c:v>
                </c:pt>
                <c:pt idx="5953">
                  <c:v>662.55470000000003</c:v>
                </c:pt>
                <c:pt idx="5954">
                  <c:v>650.8809</c:v>
                </c:pt>
                <c:pt idx="5955">
                  <c:v>647.85580000000004</c:v>
                </c:pt>
                <c:pt idx="5956">
                  <c:v>667.17899999999997</c:v>
                </c:pt>
                <c:pt idx="5957">
                  <c:v>713.48580000000004</c:v>
                </c:pt>
                <c:pt idx="5958">
                  <c:v>824.73879999999997</c:v>
                </c:pt>
                <c:pt idx="5959">
                  <c:v>937.15620000000001</c:v>
                </c:pt>
                <c:pt idx="5960">
                  <c:v>1012.1301999999999</c:v>
                </c:pt>
                <c:pt idx="5961">
                  <c:v>1016.4383</c:v>
                </c:pt>
                <c:pt idx="5962">
                  <c:v>1005.4575</c:v>
                </c:pt>
                <c:pt idx="5963">
                  <c:v>949.74300000000005</c:v>
                </c:pt>
                <c:pt idx="5964">
                  <c:v>981.00930000000005</c:v>
                </c:pt>
                <c:pt idx="5965">
                  <c:v>986.26409999999998</c:v>
                </c:pt>
                <c:pt idx="5966">
                  <c:v>958.01490000000001</c:v>
                </c:pt>
                <c:pt idx="5967">
                  <c:v>954.15629999999999</c:v>
                </c:pt>
                <c:pt idx="5968">
                  <c:v>911.36069999999995</c:v>
                </c:pt>
                <c:pt idx="5969">
                  <c:v>919.303</c:v>
                </c:pt>
                <c:pt idx="5970">
                  <c:v>897.25310000000002</c:v>
                </c:pt>
                <c:pt idx="5971">
                  <c:v>889.59079999999994</c:v>
                </c:pt>
                <c:pt idx="5972">
                  <c:v>931.85130000000004</c:v>
                </c:pt>
                <c:pt idx="5973">
                  <c:v>874.07339999999999</c:v>
                </c:pt>
                <c:pt idx="5974">
                  <c:v>780.69949999999994</c:v>
                </c:pt>
                <c:pt idx="5975">
                  <c:v>706.39580000000001</c:v>
                </c:pt>
                <c:pt idx="5976">
                  <c:v>649.29809999999998</c:v>
                </c:pt>
                <c:pt idx="5977">
                  <c:v>635.77620000000002</c:v>
                </c:pt>
                <c:pt idx="5978">
                  <c:v>610.16279999999995</c:v>
                </c:pt>
                <c:pt idx="5979">
                  <c:v>605.69190000000003</c:v>
                </c:pt>
                <c:pt idx="5980">
                  <c:v>612.62639999999999</c:v>
                </c:pt>
                <c:pt idx="5981">
                  <c:v>617.48699999999997</c:v>
                </c:pt>
                <c:pt idx="5982">
                  <c:v>632.17849999999999</c:v>
                </c:pt>
                <c:pt idx="5983">
                  <c:v>707.77409999999998</c:v>
                </c:pt>
                <c:pt idx="5984">
                  <c:v>776.68259999999998</c:v>
                </c:pt>
                <c:pt idx="5985">
                  <c:v>816.08929999999998</c:v>
                </c:pt>
                <c:pt idx="5986">
                  <c:v>813.53660000000002</c:v>
                </c:pt>
                <c:pt idx="5987">
                  <c:v>792.08759999999995</c:v>
                </c:pt>
                <c:pt idx="5988">
                  <c:v>797.63329999999996</c:v>
                </c:pt>
                <c:pt idx="5989">
                  <c:v>786.08759999999995</c:v>
                </c:pt>
                <c:pt idx="5990">
                  <c:v>780.84010000000001</c:v>
                </c:pt>
                <c:pt idx="5991">
                  <c:v>788.71310000000005</c:v>
                </c:pt>
                <c:pt idx="5992">
                  <c:v>790.67169999999999</c:v>
                </c:pt>
                <c:pt idx="5993">
                  <c:v>795.11699999999996</c:v>
                </c:pt>
                <c:pt idx="5994">
                  <c:v>781.63480000000004</c:v>
                </c:pt>
                <c:pt idx="5995">
                  <c:v>807.44420000000002</c:v>
                </c:pt>
                <c:pt idx="5996">
                  <c:v>872.2654</c:v>
                </c:pt>
                <c:pt idx="5997">
                  <c:v>804.69110000000001</c:v>
                </c:pt>
                <c:pt idx="5998">
                  <c:v>746.72739999999999</c:v>
                </c:pt>
                <c:pt idx="5999">
                  <c:v>677.72709999999995</c:v>
                </c:pt>
                <c:pt idx="6000">
                  <c:v>646.18820000000005</c:v>
                </c:pt>
                <c:pt idx="6001">
                  <c:v>621.06399999999996</c:v>
                </c:pt>
                <c:pt idx="6002">
                  <c:v>595.22059999999999</c:v>
                </c:pt>
                <c:pt idx="6003">
                  <c:v>591.96190000000001</c:v>
                </c:pt>
                <c:pt idx="6004">
                  <c:v>589.6567</c:v>
                </c:pt>
                <c:pt idx="6005">
                  <c:v>612.69579999999996</c:v>
                </c:pt>
                <c:pt idx="6006">
                  <c:v>596.57849999999996</c:v>
                </c:pt>
                <c:pt idx="6007">
                  <c:v>664.3895</c:v>
                </c:pt>
                <c:pt idx="6008">
                  <c:v>747.63350000000003</c:v>
                </c:pt>
                <c:pt idx="6009">
                  <c:v>791.48199999999997</c:v>
                </c:pt>
                <c:pt idx="6010">
                  <c:v>798.75779999999997</c:v>
                </c:pt>
                <c:pt idx="6011">
                  <c:v>791.9529</c:v>
                </c:pt>
                <c:pt idx="6012">
                  <c:v>788.88279999999997</c:v>
                </c:pt>
                <c:pt idx="6013">
                  <c:v>797.55050000000006</c:v>
                </c:pt>
                <c:pt idx="6014">
                  <c:v>790.51149999999996</c:v>
                </c:pt>
                <c:pt idx="6015">
                  <c:v>790.64340000000004</c:v>
                </c:pt>
                <c:pt idx="6016">
                  <c:v>778.40890000000002</c:v>
                </c:pt>
                <c:pt idx="6017">
                  <c:v>817.34690000000001</c:v>
                </c:pt>
                <c:pt idx="6018">
                  <c:v>802.89469999999994</c:v>
                </c:pt>
                <c:pt idx="6019">
                  <c:v>832.77760000000001</c:v>
                </c:pt>
                <c:pt idx="6020">
                  <c:v>880.26509999999996</c:v>
                </c:pt>
                <c:pt idx="6021">
                  <c:v>812.34550000000002</c:v>
                </c:pt>
                <c:pt idx="6022">
                  <c:v>728.16600000000005</c:v>
                </c:pt>
                <c:pt idx="6023">
                  <c:v>670.34059999999999</c:v>
                </c:pt>
                <c:pt idx="6024">
                  <c:v>635.84690000000001</c:v>
                </c:pt>
                <c:pt idx="6025">
                  <c:v>607.58180000000004</c:v>
                </c:pt>
                <c:pt idx="6026">
                  <c:v>590.52009999999996</c:v>
                </c:pt>
                <c:pt idx="6027">
                  <c:v>597.91719999999998</c:v>
                </c:pt>
                <c:pt idx="6028">
                  <c:v>625.91560000000004</c:v>
                </c:pt>
                <c:pt idx="6029">
                  <c:v>681.60350000000005</c:v>
                </c:pt>
                <c:pt idx="6030">
                  <c:v>801.37789999999995</c:v>
                </c:pt>
                <c:pt idx="6031">
                  <c:v>905.91290000000004</c:v>
                </c:pt>
                <c:pt idx="6032">
                  <c:v>996.49429999999995</c:v>
                </c:pt>
                <c:pt idx="6033">
                  <c:v>1004.8395</c:v>
                </c:pt>
                <c:pt idx="6034">
                  <c:v>1014.4253</c:v>
                </c:pt>
                <c:pt idx="6035">
                  <c:v>977.90409999999997</c:v>
                </c:pt>
                <c:pt idx="6036">
                  <c:v>996.87649999999996</c:v>
                </c:pt>
                <c:pt idx="6037">
                  <c:v>985.29740000000004</c:v>
                </c:pt>
                <c:pt idx="6038">
                  <c:v>991.76520000000005</c:v>
                </c:pt>
                <c:pt idx="6039">
                  <c:v>987.12929999999994</c:v>
                </c:pt>
                <c:pt idx="6040">
                  <c:v>966.697</c:v>
                </c:pt>
                <c:pt idx="6041">
                  <c:v>946.51250000000005</c:v>
                </c:pt>
                <c:pt idx="6042">
                  <c:v>922.3877</c:v>
                </c:pt>
                <c:pt idx="6043">
                  <c:v>923.17899999999997</c:v>
                </c:pt>
                <c:pt idx="6044">
                  <c:v>966.19399999999996</c:v>
                </c:pt>
                <c:pt idx="6045">
                  <c:v>901.09360000000004</c:v>
                </c:pt>
                <c:pt idx="6046">
                  <c:v>794.42989999999998</c:v>
                </c:pt>
                <c:pt idx="6047">
                  <c:v>716.27200000000005</c:v>
                </c:pt>
                <c:pt idx="6048">
                  <c:v>674.90909999999997</c:v>
                </c:pt>
                <c:pt idx="6049">
                  <c:v>654.13840000000005</c:v>
                </c:pt>
                <c:pt idx="6050">
                  <c:v>644.12879999999996</c:v>
                </c:pt>
                <c:pt idx="6051">
                  <c:v>609.93939999999998</c:v>
                </c:pt>
                <c:pt idx="6052">
                  <c:v>642.30380000000002</c:v>
                </c:pt>
                <c:pt idx="6053">
                  <c:v>696.74540000000002</c:v>
                </c:pt>
                <c:pt idx="6054">
                  <c:v>795.35659999999996</c:v>
                </c:pt>
                <c:pt idx="6055">
                  <c:v>895.1653</c:v>
                </c:pt>
                <c:pt idx="6056">
                  <c:v>981.07180000000005</c:v>
                </c:pt>
                <c:pt idx="6057">
                  <c:v>974.62429999999995</c:v>
                </c:pt>
                <c:pt idx="6058">
                  <c:v>975.2722</c:v>
                </c:pt>
                <c:pt idx="6059">
                  <c:v>942.73680000000002</c:v>
                </c:pt>
                <c:pt idx="6060">
                  <c:v>968.91139999999996</c:v>
                </c:pt>
                <c:pt idx="6061">
                  <c:v>967.45989999999995</c:v>
                </c:pt>
                <c:pt idx="6062">
                  <c:v>967.44600000000003</c:v>
                </c:pt>
                <c:pt idx="6063">
                  <c:v>960.46339999999998</c:v>
                </c:pt>
                <c:pt idx="6064">
                  <c:v>930.85350000000005</c:v>
                </c:pt>
                <c:pt idx="6065">
                  <c:v>927.22829999999999</c:v>
                </c:pt>
                <c:pt idx="6066">
                  <c:v>900.65260000000001</c:v>
                </c:pt>
                <c:pt idx="6067">
                  <c:v>915.2088</c:v>
                </c:pt>
                <c:pt idx="6068">
                  <c:v>932.49149999999997</c:v>
                </c:pt>
                <c:pt idx="6069">
                  <c:v>860.02660000000003</c:v>
                </c:pt>
                <c:pt idx="6070">
                  <c:v>757.22209999999995</c:v>
                </c:pt>
                <c:pt idx="6071">
                  <c:v>686.15039999999999</c:v>
                </c:pt>
                <c:pt idx="6072">
                  <c:v>643.49540000000002</c:v>
                </c:pt>
                <c:pt idx="6073">
                  <c:v>626.73810000000003</c:v>
                </c:pt>
                <c:pt idx="6074">
                  <c:v>604.30880000000002</c:v>
                </c:pt>
                <c:pt idx="6075">
                  <c:v>592.35739999999998</c:v>
                </c:pt>
                <c:pt idx="6076">
                  <c:v>624.11180000000002</c:v>
                </c:pt>
                <c:pt idx="6077">
                  <c:v>688.28579999999999</c:v>
                </c:pt>
                <c:pt idx="6078">
                  <c:v>791.57870000000003</c:v>
                </c:pt>
                <c:pt idx="6079">
                  <c:v>889.55640000000005</c:v>
                </c:pt>
                <c:pt idx="6080">
                  <c:v>971.35</c:v>
                </c:pt>
                <c:pt idx="6081">
                  <c:v>981.95920000000001</c:v>
                </c:pt>
                <c:pt idx="6082">
                  <c:v>1002.802</c:v>
                </c:pt>
                <c:pt idx="6083">
                  <c:v>974.52080000000001</c:v>
                </c:pt>
                <c:pt idx="6084">
                  <c:v>1000.4307</c:v>
                </c:pt>
                <c:pt idx="6085">
                  <c:v>1006.3484</c:v>
                </c:pt>
                <c:pt idx="6086">
                  <c:v>1014.7322</c:v>
                </c:pt>
                <c:pt idx="6087">
                  <c:v>1004.0054</c:v>
                </c:pt>
                <c:pt idx="6088">
                  <c:v>964.28499999999997</c:v>
                </c:pt>
                <c:pt idx="6089">
                  <c:v>968.28830000000005</c:v>
                </c:pt>
                <c:pt idx="6090">
                  <c:v>932.13189999999997</c:v>
                </c:pt>
                <c:pt idx="6091">
                  <c:v>943.32820000000004</c:v>
                </c:pt>
                <c:pt idx="6092">
                  <c:v>946.95360000000005</c:v>
                </c:pt>
                <c:pt idx="6093">
                  <c:v>899.65549999999996</c:v>
                </c:pt>
                <c:pt idx="6094">
                  <c:v>788.57600000000002</c:v>
                </c:pt>
                <c:pt idx="6095">
                  <c:v>692.7047</c:v>
                </c:pt>
                <c:pt idx="6096">
                  <c:v>654.05190000000005</c:v>
                </c:pt>
                <c:pt idx="6097">
                  <c:v>630.15129999999999</c:v>
                </c:pt>
                <c:pt idx="6098">
                  <c:v>612.26350000000002</c:v>
                </c:pt>
                <c:pt idx="6099">
                  <c:v>616.30499999999995</c:v>
                </c:pt>
                <c:pt idx="6100">
                  <c:v>626.95640000000003</c:v>
                </c:pt>
                <c:pt idx="6101">
                  <c:v>692.42039999999997</c:v>
                </c:pt>
                <c:pt idx="6102">
                  <c:v>813.48900000000003</c:v>
                </c:pt>
                <c:pt idx="6103">
                  <c:v>894.09640000000002</c:v>
                </c:pt>
                <c:pt idx="6104">
                  <c:v>990.45899999999995</c:v>
                </c:pt>
                <c:pt idx="6105">
                  <c:v>1004.9653</c:v>
                </c:pt>
                <c:pt idx="6106">
                  <c:v>1021.3567</c:v>
                </c:pt>
                <c:pt idx="6107">
                  <c:v>1005.1513</c:v>
                </c:pt>
                <c:pt idx="6108">
                  <c:v>1014.4941</c:v>
                </c:pt>
                <c:pt idx="6109">
                  <c:v>998.41179999999997</c:v>
                </c:pt>
                <c:pt idx="6110">
                  <c:v>984.78089999999997</c:v>
                </c:pt>
                <c:pt idx="6111">
                  <c:v>976.80520000000001</c:v>
                </c:pt>
                <c:pt idx="6112">
                  <c:v>944.40589999999997</c:v>
                </c:pt>
                <c:pt idx="6113">
                  <c:v>949.23910000000001</c:v>
                </c:pt>
                <c:pt idx="6114">
                  <c:v>917.80319999999995</c:v>
                </c:pt>
                <c:pt idx="6115">
                  <c:v>933.15779999999995</c:v>
                </c:pt>
                <c:pt idx="6116">
                  <c:v>952.50900000000001</c:v>
                </c:pt>
                <c:pt idx="6117">
                  <c:v>895.45609999999999</c:v>
                </c:pt>
                <c:pt idx="6118">
                  <c:v>792.38819999999998</c:v>
                </c:pt>
                <c:pt idx="6119">
                  <c:v>708.09320000000002</c:v>
                </c:pt>
                <c:pt idx="6120">
                  <c:v>672.65610000000004</c:v>
                </c:pt>
                <c:pt idx="6121">
                  <c:v>664.91499999999996</c:v>
                </c:pt>
                <c:pt idx="6122">
                  <c:v>645.71389999999997</c:v>
                </c:pt>
                <c:pt idx="6123">
                  <c:v>644.47239999999999</c:v>
                </c:pt>
                <c:pt idx="6124">
                  <c:v>653.74289999999996</c:v>
                </c:pt>
                <c:pt idx="6125">
                  <c:v>714.07839999999999</c:v>
                </c:pt>
                <c:pt idx="6126">
                  <c:v>829.18079999999998</c:v>
                </c:pt>
                <c:pt idx="6127">
                  <c:v>937.93190000000004</c:v>
                </c:pt>
                <c:pt idx="6128">
                  <c:v>1053.8947000000001</c:v>
                </c:pt>
                <c:pt idx="6129">
                  <c:v>1061.8719000000001</c:v>
                </c:pt>
                <c:pt idx="6130">
                  <c:v>1051.3132000000001</c:v>
                </c:pt>
                <c:pt idx="6131">
                  <c:v>1022.2252</c:v>
                </c:pt>
                <c:pt idx="6132">
                  <c:v>1057.8344</c:v>
                </c:pt>
                <c:pt idx="6133">
                  <c:v>1049.9984999999999</c:v>
                </c:pt>
                <c:pt idx="6134">
                  <c:v>1057.6821</c:v>
                </c:pt>
                <c:pt idx="6135">
                  <c:v>1021.533</c:v>
                </c:pt>
                <c:pt idx="6136">
                  <c:v>977.00540000000001</c:v>
                </c:pt>
                <c:pt idx="6137">
                  <c:v>974.9538</c:v>
                </c:pt>
                <c:pt idx="6138">
                  <c:v>954.77300000000002</c:v>
                </c:pt>
                <c:pt idx="6139">
                  <c:v>959.98820000000001</c:v>
                </c:pt>
                <c:pt idx="6140">
                  <c:v>960.56150000000002</c:v>
                </c:pt>
                <c:pt idx="6141">
                  <c:v>894.04690000000005</c:v>
                </c:pt>
                <c:pt idx="6142">
                  <c:v>803.41030000000001</c:v>
                </c:pt>
                <c:pt idx="6143">
                  <c:v>735.00729999999999</c:v>
                </c:pt>
                <c:pt idx="6144">
                  <c:v>683.49220000000003</c:v>
                </c:pt>
                <c:pt idx="6145">
                  <c:v>651.19479999999999</c:v>
                </c:pt>
                <c:pt idx="6146">
                  <c:v>632.6318</c:v>
                </c:pt>
                <c:pt idx="6147">
                  <c:v>628.10350000000005</c:v>
                </c:pt>
                <c:pt idx="6148">
                  <c:v>631.96849999999995</c:v>
                </c:pt>
                <c:pt idx="6149">
                  <c:v>653.53009999999995</c:v>
                </c:pt>
                <c:pt idx="6150">
                  <c:v>668.55560000000003</c:v>
                </c:pt>
                <c:pt idx="6151">
                  <c:v>737.30909999999994</c:v>
                </c:pt>
                <c:pt idx="6152">
                  <c:v>804.40750000000003</c:v>
                </c:pt>
                <c:pt idx="6153">
                  <c:v>844.62350000000004</c:v>
                </c:pt>
                <c:pt idx="6154">
                  <c:v>829.19669999999996</c:v>
                </c:pt>
                <c:pt idx="6155">
                  <c:v>828.75229999999999</c:v>
                </c:pt>
                <c:pt idx="6156">
                  <c:v>830.84870000000001</c:v>
                </c:pt>
                <c:pt idx="6157">
                  <c:v>827.08979999999997</c:v>
                </c:pt>
                <c:pt idx="6158">
                  <c:v>823.05640000000005</c:v>
                </c:pt>
                <c:pt idx="6159">
                  <c:v>818.1191</c:v>
                </c:pt>
                <c:pt idx="6160">
                  <c:v>827.29229999999995</c:v>
                </c:pt>
                <c:pt idx="6161">
                  <c:v>831.6146</c:v>
                </c:pt>
                <c:pt idx="6162">
                  <c:v>844.24329999999998</c:v>
                </c:pt>
                <c:pt idx="6163">
                  <c:v>877.47299999999996</c:v>
                </c:pt>
                <c:pt idx="6164">
                  <c:v>900.21510000000001</c:v>
                </c:pt>
                <c:pt idx="6165">
                  <c:v>839.63480000000004</c:v>
                </c:pt>
                <c:pt idx="6166">
                  <c:v>764.15020000000004</c:v>
                </c:pt>
                <c:pt idx="6167">
                  <c:v>703.81560000000002</c:v>
                </c:pt>
                <c:pt idx="6168">
                  <c:v>669.58820000000003</c:v>
                </c:pt>
                <c:pt idx="6169">
                  <c:v>638.73699999999997</c:v>
                </c:pt>
                <c:pt idx="6170">
                  <c:v>621.39300000000003</c:v>
                </c:pt>
                <c:pt idx="6171">
                  <c:v>614.44380000000001</c:v>
                </c:pt>
                <c:pt idx="6172">
                  <c:v>610.56129999999996</c:v>
                </c:pt>
                <c:pt idx="6173">
                  <c:v>639.24189999999999</c:v>
                </c:pt>
                <c:pt idx="6174">
                  <c:v>649.54520000000002</c:v>
                </c:pt>
                <c:pt idx="6175">
                  <c:v>708.20870000000002</c:v>
                </c:pt>
                <c:pt idx="6176">
                  <c:v>797.78689999999995</c:v>
                </c:pt>
                <c:pt idx="6177">
                  <c:v>860.09550000000002</c:v>
                </c:pt>
                <c:pt idx="6178">
                  <c:v>871.59259999999995</c:v>
                </c:pt>
                <c:pt idx="6179">
                  <c:v>880.0598</c:v>
                </c:pt>
                <c:pt idx="6180">
                  <c:v>874.50800000000004</c:v>
                </c:pt>
                <c:pt idx="6181">
                  <c:v>867.74710000000005</c:v>
                </c:pt>
                <c:pt idx="6182">
                  <c:v>862.46770000000004</c:v>
                </c:pt>
                <c:pt idx="6183">
                  <c:v>862.12429999999995</c:v>
                </c:pt>
                <c:pt idx="6184">
                  <c:v>844.59889999999996</c:v>
                </c:pt>
                <c:pt idx="6185">
                  <c:v>851.10739999999998</c:v>
                </c:pt>
                <c:pt idx="6186">
                  <c:v>852.85400000000004</c:v>
                </c:pt>
                <c:pt idx="6187">
                  <c:v>912.41160000000002</c:v>
                </c:pt>
                <c:pt idx="6188">
                  <c:v>917.58709999999996</c:v>
                </c:pt>
                <c:pt idx="6189">
                  <c:v>837.64449999999999</c:v>
                </c:pt>
                <c:pt idx="6190">
                  <c:v>757.90369999999996</c:v>
                </c:pt>
                <c:pt idx="6191">
                  <c:v>693.94809999999995</c:v>
                </c:pt>
                <c:pt idx="6192">
                  <c:v>662.06330000000003</c:v>
                </c:pt>
                <c:pt idx="6193">
                  <c:v>642.00239999999997</c:v>
                </c:pt>
                <c:pt idx="6194">
                  <c:v>633.1173</c:v>
                </c:pt>
                <c:pt idx="6195">
                  <c:v>629.80619999999999</c:v>
                </c:pt>
                <c:pt idx="6196">
                  <c:v>653.27110000000005</c:v>
                </c:pt>
                <c:pt idx="6197">
                  <c:v>717.31759999999997</c:v>
                </c:pt>
                <c:pt idx="6198">
                  <c:v>847.01930000000004</c:v>
                </c:pt>
                <c:pt idx="6199">
                  <c:v>956.03420000000006</c:v>
                </c:pt>
                <c:pt idx="6200">
                  <c:v>1047.5173</c:v>
                </c:pt>
                <c:pt idx="6201">
                  <c:v>1051.8894</c:v>
                </c:pt>
                <c:pt idx="6202">
                  <c:v>1050.5426</c:v>
                </c:pt>
                <c:pt idx="6203">
                  <c:v>1020.0045</c:v>
                </c:pt>
                <c:pt idx="6204">
                  <c:v>1025.0378000000001</c:v>
                </c:pt>
                <c:pt idx="6205">
                  <c:v>1018.939</c:v>
                </c:pt>
                <c:pt idx="6206">
                  <c:v>1023.2215</c:v>
                </c:pt>
                <c:pt idx="6207">
                  <c:v>1026.4457</c:v>
                </c:pt>
                <c:pt idx="6208">
                  <c:v>979.41160000000002</c:v>
                </c:pt>
                <c:pt idx="6209">
                  <c:v>987.94820000000004</c:v>
                </c:pt>
                <c:pt idx="6210">
                  <c:v>979.54989999999998</c:v>
                </c:pt>
                <c:pt idx="6211">
                  <c:v>1008.6364</c:v>
                </c:pt>
                <c:pt idx="6212">
                  <c:v>1013.4173</c:v>
                </c:pt>
                <c:pt idx="6213">
                  <c:v>937.7097</c:v>
                </c:pt>
                <c:pt idx="6214">
                  <c:v>838.4289</c:v>
                </c:pt>
                <c:pt idx="6215">
                  <c:v>747.5163</c:v>
                </c:pt>
                <c:pt idx="6216">
                  <c:v>715.43230000000005</c:v>
                </c:pt>
                <c:pt idx="6217">
                  <c:v>693.64750000000004</c:v>
                </c:pt>
                <c:pt idx="6218">
                  <c:v>685.82399999999996</c:v>
                </c:pt>
                <c:pt idx="6219">
                  <c:v>682.67240000000004</c:v>
                </c:pt>
                <c:pt idx="6220">
                  <c:v>696.92070000000001</c:v>
                </c:pt>
                <c:pt idx="6221">
                  <c:v>764.02859999999998</c:v>
                </c:pt>
                <c:pt idx="6222">
                  <c:v>890.21669999999995</c:v>
                </c:pt>
                <c:pt idx="6223">
                  <c:v>997.30330000000004</c:v>
                </c:pt>
                <c:pt idx="6224">
                  <c:v>1086.7471</c:v>
                </c:pt>
                <c:pt idx="6225">
                  <c:v>1065.5282</c:v>
                </c:pt>
                <c:pt idx="6226">
                  <c:v>1068.3734999999999</c:v>
                </c:pt>
                <c:pt idx="6227">
                  <c:v>1021.7902</c:v>
                </c:pt>
                <c:pt idx="6228">
                  <c:v>1036.4655</c:v>
                </c:pt>
                <c:pt idx="6229">
                  <c:v>1020.2646999999999</c:v>
                </c:pt>
                <c:pt idx="6230">
                  <c:v>1030.3748000000001</c:v>
                </c:pt>
                <c:pt idx="6231">
                  <c:v>1015.4947</c:v>
                </c:pt>
                <c:pt idx="6232">
                  <c:v>979.64469999999994</c:v>
                </c:pt>
                <c:pt idx="6233">
                  <c:v>983.3759</c:v>
                </c:pt>
                <c:pt idx="6234">
                  <c:v>976.06700000000001</c:v>
                </c:pt>
                <c:pt idx="6235">
                  <c:v>1042.0126</c:v>
                </c:pt>
                <c:pt idx="6236">
                  <c:v>1033.4625000000001</c:v>
                </c:pt>
                <c:pt idx="6237">
                  <c:v>957.8732</c:v>
                </c:pt>
                <c:pt idx="6238">
                  <c:v>853.1223</c:v>
                </c:pt>
                <c:pt idx="6239">
                  <c:v>773.81230000000005</c:v>
                </c:pt>
                <c:pt idx="6240">
                  <c:v>741.68259999999998</c:v>
                </c:pt>
                <c:pt idx="6241">
                  <c:v>718.55129999999997</c:v>
                </c:pt>
                <c:pt idx="6242">
                  <c:v>705.91700000000003</c:v>
                </c:pt>
                <c:pt idx="6243">
                  <c:v>701.59190000000001</c:v>
                </c:pt>
                <c:pt idx="6244">
                  <c:v>715.26080000000002</c:v>
                </c:pt>
                <c:pt idx="6245">
                  <c:v>785.59280000000001</c:v>
                </c:pt>
                <c:pt idx="6246">
                  <c:v>900.67399999999998</c:v>
                </c:pt>
                <c:pt idx="6247">
                  <c:v>1000.8931</c:v>
                </c:pt>
                <c:pt idx="6248">
                  <c:v>1089.3300999999999</c:v>
                </c:pt>
                <c:pt idx="6249">
                  <c:v>1087.0899999999999</c:v>
                </c:pt>
                <c:pt idx="6250">
                  <c:v>1074.7421999999999</c:v>
                </c:pt>
                <c:pt idx="6251">
                  <c:v>1039.5961</c:v>
                </c:pt>
                <c:pt idx="6252">
                  <c:v>1058.9047</c:v>
                </c:pt>
                <c:pt idx="6253">
                  <c:v>1046.7197000000001</c:v>
                </c:pt>
                <c:pt idx="6254">
                  <c:v>1045.1478</c:v>
                </c:pt>
                <c:pt idx="6255">
                  <c:v>1031.2655999999999</c:v>
                </c:pt>
                <c:pt idx="6256">
                  <c:v>984.88040000000001</c:v>
                </c:pt>
                <c:pt idx="6257">
                  <c:v>1010.2607</c:v>
                </c:pt>
                <c:pt idx="6258">
                  <c:v>1003.3841</c:v>
                </c:pt>
                <c:pt idx="6259">
                  <c:v>1057.912</c:v>
                </c:pt>
                <c:pt idx="6260">
                  <c:v>1020.9149</c:v>
                </c:pt>
                <c:pt idx="6261">
                  <c:v>957.05799999999999</c:v>
                </c:pt>
                <c:pt idx="6262">
                  <c:v>859.39089999999999</c:v>
                </c:pt>
                <c:pt idx="6263">
                  <c:v>782.33209999999997</c:v>
                </c:pt>
                <c:pt idx="6264">
                  <c:v>751.43050000000005</c:v>
                </c:pt>
                <c:pt idx="6265">
                  <c:v>724.11689999999999</c:v>
                </c:pt>
                <c:pt idx="6266">
                  <c:v>726.0874</c:v>
                </c:pt>
                <c:pt idx="6267">
                  <c:v>725.22050000000002</c:v>
                </c:pt>
                <c:pt idx="6268">
                  <c:v>747.48</c:v>
                </c:pt>
                <c:pt idx="6269">
                  <c:v>797.96040000000005</c:v>
                </c:pt>
                <c:pt idx="6270">
                  <c:v>912.85299999999995</c:v>
                </c:pt>
                <c:pt idx="6271">
                  <c:v>1017.821</c:v>
                </c:pt>
                <c:pt idx="6272">
                  <c:v>1091.7899</c:v>
                </c:pt>
                <c:pt idx="6273">
                  <c:v>1058.6487</c:v>
                </c:pt>
                <c:pt idx="6274">
                  <c:v>1038.4572000000001</c:v>
                </c:pt>
                <c:pt idx="6275">
                  <c:v>1002.0108</c:v>
                </c:pt>
                <c:pt idx="6276">
                  <c:v>1016.176</c:v>
                </c:pt>
                <c:pt idx="6277">
                  <c:v>1043.6455000000001</c:v>
                </c:pt>
                <c:pt idx="6278">
                  <c:v>1018.4028</c:v>
                </c:pt>
                <c:pt idx="6279">
                  <c:v>1006.4672</c:v>
                </c:pt>
                <c:pt idx="6280">
                  <c:v>982.28489999999999</c:v>
                </c:pt>
                <c:pt idx="6281">
                  <c:v>1002.6785</c:v>
                </c:pt>
                <c:pt idx="6282">
                  <c:v>1004.4831</c:v>
                </c:pt>
                <c:pt idx="6283">
                  <c:v>1064.6512</c:v>
                </c:pt>
                <c:pt idx="6284">
                  <c:v>1028.4756</c:v>
                </c:pt>
                <c:pt idx="6285">
                  <c:v>970.88670000000002</c:v>
                </c:pt>
                <c:pt idx="6286">
                  <c:v>868.60310000000004</c:v>
                </c:pt>
                <c:pt idx="6287">
                  <c:v>779.69460000000004</c:v>
                </c:pt>
                <c:pt idx="6288">
                  <c:v>752.17</c:v>
                </c:pt>
                <c:pt idx="6289">
                  <c:v>727.69560000000001</c:v>
                </c:pt>
                <c:pt idx="6290">
                  <c:v>715.15120000000002</c:v>
                </c:pt>
                <c:pt idx="6291">
                  <c:v>708.11040000000003</c:v>
                </c:pt>
                <c:pt idx="6292">
                  <c:v>721.90139999999997</c:v>
                </c:pt>
                <c:pt idx="6293">
                  <c:v>792.0607</c:v>
                </c:pt>
                <c:pt idx="6294">
                  <c:v>909.34569999999997</c:v>
                </c:pt>
                <c:pt idx="6295">
                  <c:v>1020.866</c:v>
                </c:pt>
                <c:pt idx="6296">
                  <c:v>1084.1039000000001</c:v>
                </c:pt>
                <c:pt idx="6297">
                  <c:v>1077.7820999999999</c:v>
                </c:pt>
                <c:pt idx="6298">
                  <c:v>1054.3015</c:v>
                </c:pt>
                <c:pt idx="6299">
                  <c:v>1034.5092999999999</c:v>
                </c:pt>
                <c:pt idx="6300">
                  <c:v>1063.1751999999999</c:v>
                </c:pt>
                <c:pt idx="6301">
                  <c:v>1058.1162999999999</c:v>
                </c:pt>
                <c:pt idx="6302">
                  <c:v>1034.0899999999999</c:v>
                </c:pt>
                <c:pt idx="6303">
                  <c:v>1017.4949</c:v>
                </c:pt>
                <c:pt idx="6304">
                  <c:v>1016.8098</c:v>
                </c:pt>
                <c:pt idx="6305">
                  <c:v>989.95039999999995</c:v>
                </c:pt>
                <c:pt idx="6306">
                  <c:v>970.4941</c:v>
                </c:pt>
                <c:pt idx="6307">
                  <c:v>1027.1332</c:v>
                </c:pt>
                <c:pt idx="6308">
                  <c:v>995.60320000000002</c:v>
                </c:pt>
                <c:pt idx="6309">
                  <c:v>943.18989999999997</c:v>
                </c:pt>
                <c:pt idx="6310">
                  <c:v>837.50639999999999</c:v>
                </c:pt>
                <c:pt idx="6311">
                  <c:v>772.63720000000001</c:v>
                </c:pt>
                <c:pt idx="6312">
                  <c:v>731.42380000000003</c:v>
                </c:pt>
                <c:pt idx="6313">
                  <c:v>703.96579999999994</c:v>
                </c:pt>
                <c:pt idx="6314">
                  <c:v>675.76639999999998</c:v>
                </c:pt>
                <c:pt idx="6315">
                  <c:v>671.50019999999995</c:v>
                </c:pt>
                <c:pt idx="6316">
                  <c:v>680.55020000000002</c:v>
                </c:pt>
                <c:pt idx="6317">
                  <c:v>699.81010000000003</c:v>
                </c:pt>
                <c:pt idx="6318">
                  <c:v>702.048</c:v>
                </c:pt>
                <c:pt idx="6319">
                  <c:v>752.20669999999996</c:v>
                </c:pt>
                <c:pt idx="6320">
                  <c:v>829.27959999999996</c:v>
                </c:pt>
                <c:pt idx="6321">
                  <c:v>873.90229999999997</c:v>
                </c:pt>
                <c:pt idx="6322">
                  <c:v>895.76030000000003</c:v>
                </c:pt>
                <c:pt idx="6323">
                  <c:v>888.04690000000005</c:v>
                </c:pt>
                <c:pt idx="6324">
                  <c:v>874.19719999999995</c:v>
                </c:pt>
                <c:pt idx="6325">
                  <c:v>856.93439999999998</c:v>
                </c:pt>
                <c:pt idx="6326">
                  <c:v>854.25220000000002</c:v>
                </c:pt>
                <c:pt idx="6327">
                  <c:v>849.8963</c:v>
                </c:pt>
                <c:pt idx="6328">
                  <c:v>850.52189999999996</c:v>
                </c:pt>
                <c:pt idx="6329">
                  <c:v>867.62699999999995</c:v>
                </c:pt>
                <c:pt idx="6330">
                  <c:v>889.44669999999996</c:v>
                </c:pt>
                <c:pt idx="6331">
                  <c:v>952.68880000000001</c:v>
                </c:pt>
                <c:pt idx="6332">
                  <c:v>919.02149999999995</c:v>
                </c:pt>
                <c:pt idx="6333">
                  <c:v>852.56060000000002</c:v>
                </c:pt>
                <c:pt idx="6334">
                  <c:v>787.2835</c:v>
                </c:pt>
                <c:pt idx="6335">
                  <c:v>730.18880000000001</c:v>
                </c:pt>
                <c:pt idx="6336">
                  <c:v>689.23159999999996</c:v>
                </c:pt>
                <c:pt idx="6337">
                  <c:v>658.74300000000005</c:v>
                </c:pt>
                <c:pt idx="6338">
                  <c:v>641.16300000000001</c:v>
                </c:pt>
                <c:pt idx="6339">
                  <c:v>638.74659999999994</c:v>
                </c:pt>
                <c:pt idx="6340">
                  <c:v>640.47190000000001</c:v>
                </c:pt>
                <c:pt idx="6341">
                  <c:v>663.42600000000004</c:v>
                </c:pt>
                <c:pt idx="6342">
                  <c:v>680.67610000000002</c:v>
                </c:pt>
                <c:pt idx="6343">
                  <c:v>726.51059999999995</c:v>
                </c:pt>
                <c:pt idx="6344">
                  <c:v>811.76459999999997</c:v>
                </c:pt>
                <c:pt idx="6345">
                  <c:v>848.29</c:v>
                </c:pt>
                <c:pt idx="6346">
                  <c:v>851.9973</c:v>
                </c:pt>
                <c:pt idx="6347">
                  <c:v>845.67110000000002</c:v>
                </c:pt>
                <c:pt idx="6348">
                  <c:v>830.9212</c:v>
                </c:pt>
                <c:pt idx="6349">
                  <c:v>815.65660000000003</c:v>
                </c:pt>
                <c:pt idx="6350">
                  <c:v>804.05470000000003</c:v>
                </c:pt>
                <c:pt idx="6351">
                  <c:v>816.43989999999997</c:v>
                </c:pt>
                <c:pt idx="6352">
                  <c:v>838.56489999999997</c:v>
                </c:pt>
                <c:pt idx="6353">
                  <c:v>864.57349999999997</c:v>
                </c:pt>
                <c:pt idx="6354">
                  <c:v>891.36810000000003</c:v>
                </c:pt>
                <c:pt idx="6355">
                  <c:v>982.98630000000003</c:v>
                </c:pt>
                <c:pt idx="6356">
                  <c:v>957.26139999999998</c:v>
                </c:pt>
                <c:pt idx="6357">
                  <c:v>885.45209999999997</c:v>
                </c:pt>
                <c:pt idx="6358">
                  <c:v>806.18190000000004</c:v>
                </c:pt>
                <c:pt idx="6359">
                  <c:v>744.42939999999999</c:v>
                </c:pt>
                <c:pt idx="6360">
                  <c:v>698.87909999999999</c:v>
                </c:pt>
                <c:pt idx="6361">
                  <c:v>694.98940000000005</c:v>
                </c:pt>
                <c:pt idx="6362">
                  <c:v>674.22640000000001</c:v>
                </c:pt>
                <c:pt idx="6363">
                  <c:v>693.46810000000005</c:v>
                </c:pt>
                <c:pt idx="6364">
                  <c:v>706.37760000000003</c:v>
                </c:pt>
                <c:pt idx="6365">
                  <c:v>770.16650000000004</c:v>
                </c:pt>
                <c:pt idx="6366">
                  <c:v>912.48410000000001</c:v>
                </c:pt>
                <c:pt idx="6367">
                  <c:v>1008.7523</c:v>
                </c:pt>
                <c:pt idx="6368">
                  <c:v>1096.7753</c:v>
                </c:pt>
                <c:pt idx="6369">
                  <c:v>1083.146</c:v>
                </c:pt>
                <c:pt idx="6370">
                  <c:v>1065.8864000000001</c:v>
                </c:pt>
                <c:pt idx="6371">
                  <c:v>1040.5062</c:v>
                </c:pt>
                <c:pt idx="6372">
                  <c:v>1056.7329999999999</c:v>
                </c:pt>
                <c:pt idx="6373">
                  <c:v>1054.9865</c:v>
                </c:pt>
                <c:pt idx="6374">
                  <c:v>1045.4124999999999</c:v>
                </c:pt>
                <c:pt idx="6375">
                  <c:v>1044.9385</c:v>
                </c:pt>
                <c:pt idx="6376">
                  <c:v>1010.2461</c:v>
                </c:pt>
                <c:pt idx="6377">
                  <c:v>1022.0982</c:v>
                </c:pt>
                <c:pt idx="6378">
                  <c:v>1010.7963999999999</c:v>
                </c:pt>
                <c:pt idx="6379">
                  <c:v>1071.9091000000001</c:v>
                </c:pt>
                <c:pt idx="6380">
                  <c:v>1049.9768999999999</c:v>
                </c:pt>
                <c:pt idx="6381">
                  <c:v>975.76070000000004</c:v>
                </c:pt>
                <c:pt idx="6382">
                  <c:v>878.30989999999997</c:v>
                </c:pt>
                <c:pt idx="6383">
                  <c:v>788.85140000000001</c:v>
                </c:pt>
                <c:pt idx="6384">
                  <c:v>767.71090000000004</c:v>
                </c:pt>
                <c:pt idx="6385">
                  <c:v>740.56259999999997</c:v>
                </c:pt>
                <c:pt idx="6386">
                  <c:v>728.47910000000002</c:v>
                </c:pt>
                <c:pt idx="6387">
                  <c:v>726.46939999999995</c:v>
                </c:pt>
                <c:pt idx="6388">
                  <c:v>741.38279999999997</c:v>
                </c:pt>
                <c:pt idx="6389">
                  <c:v>789.89229999999998</c:v>
                </c:pt>
                <c:pt idx="6390">
                  <c:v>934.03269999999998</c:v>
                </c:pt>
                <c:pt idx="6391">
                  <c:v>1029.7686000000001</c:v>
                </c:pt>
                <c:pt idx="6392">
                  <c:v>1106.5282999999999</c:v>
                </c:pt>
                <c:pt idx="6393">
                  <c:v>1090.8507</c:v>
                </c:pt>
                <c:pt idx="6394">
                  <c:v>1076.9477999999999</c:v>
                </c:pt>
                <c:pt idx="6395">
                  <c:v>1049.2945999999999</c:v>
                </c:pt>
                <c:pt idx="6396">
                  <c:v>1047.3531</c:v>
                </c:pt>
                <c:pt idx="6397">
                  <c:v>1047.213</c:v>
                </c:pt>
                <c:pt idx="6398">
                  <c:v>1033.7683999999999</c:v>
                </c:pt>
                <c:pt idx="6399">
                  <c:v>1036.6122</c:v>
                </c:pt>
                <c:pt idx="6400">
                  <c:v>1028.788</c:v>
                </c:pt>
                <c:pt idx="6401">
                  <c:v>1025.9766999999999</c:v>
                </c:pt>
                <c:pt idx="6402">
                  <c:v>1017.1878</c:v>
                </c:pt>
                <c:pt idx="6403">
                  <c:v>1085.3273999999999</c:v>
                </c:pt>
                <c:pt idx="6404">
                  <c:v>1020.4977</c:v>
                </c:pt>
                <c:pt idx="6405">
                  <c:v>960.89919999999995</c:v>
                </c:pt>
                <c:pt idx="6406">
                  <c:v>858.48339999999996</c:v>
                </c:pt>
                <c:pt idx="6407">
                  <c:v>767.91800000000001</c:v>
                </c:pt>
                <c:pt idx="6408">
                  <c:v>746.4502</c:v>
                </c:pt>
                <c:pt idx="6409">
                  <c:v>716.29219999999998</c:v>
                </c:pt>
                <c:pt idx="6410">
                  <c:v>688.90949999999998</c:v>
                </c:pt>
                <c:pt idx="6411">
                  <c:v>690.40800000000002</c:v>
                </c:pt>
                <c:pt idx="6412">
                  <c:v>717.2473</c:v>
                </c:pt>
                <c:pt idx="6413">
                  <c:v>780.05240000000003</c:v>
                </c:pt>
                <c:pt idx="6414">
                  <c:v>947.60230000000001</c:v>
                </c:pt>
                <c:pt idx="6415">
                  <c:v>1021.5441</c:v>
                </c:pt>
                <c:pt idx="6416">
                  <c:v>1132.4069</c:v>
                </c:pt>
                <c:pt idx="6417">
                  <c:v>1137.4224999999999</c:v>
                </c:pt>
                <c:pt idx="6418">
                  <c:v>1118.2977000000001</c:v>
                </c:pt>
                <c:pt idx="6419">
                  <c:v>1078.6410000000001</c:v>
                </c:pt>
                <c:pt idx="6420">
                  <c:v>1072.7456</c:v>
                </c:pt>
                <c:pt idx="6421">
                  <c:v>1056.0931</c:v>
                </c:pt>
                <c:pt idx="6422">
                  <c:v>1042.9336000000001</c:v>
                </c:pt>
                <c:pt idx="6423">
                  <c:v>1141.8363999999999</c:v>
                </c:pt>
                <c:pt idx="6424">
                  <c:v>963.1644</c:v>
                </c:pt>
                <c:pt idx="6425">
                  <c:v>953.24559999999997</c:v>
                </c:pt>
                <c:pt idx="6426">
                  <c:v>976.31849999999997</c:v>
                </c:pt>
                <c:pt idx="6427">
                  <c:v>1007.7119</c:v>
                </c:pt>
                <c:pt idx="6428">
                  <c:v>946.96529999999996</c:v>
                </c:pt>
                <c:pt idx="6429">
                  <c:v>988.85590000000002</c:v>
                </c:pt>
                <c:pt idx="6430">
                  <c:v>971.20770000000005</c:v>
                </c:pt>
                <c:pt idx="6431">
                  <c:v>866.74879999999996</c:v>
                </c:pt>
                <c:pt idx="6432">
                  <c:v>844.47339999999997</c:v>
                </c:pt>
                <c:pt idx="6433">
                  <c:v>800.12350000000004</c:v>
                </c:pt>
                <c:pt idx="6434">
                  <c:v>801.91089999999997</c:v>
                </c:pt>
                <c:pt idx="6435">
                  <c:v>811.17160000000001</c:v>
                </c:pt>
                <c:pt idx="6436">
                  <c:v>845.14380000000006</c:v>
                </c:pt>
                <c:pt idx="6437">
                  <c:v>840.19159999999999</c:v>
                </c:pt>
                <c:pt idx="6438">
                  <c:v>1097.7555</c:v>
                </c:pt>
                <c:pt idx="6439">
                  <c:v>1009.8244999999999</c:v>
                </c:pt>
                <c:pt idx="6440">
                  <c:v>1125.8439000000001</c:v>
                </c:pt>
                <c:pt idx="6441">
                  <c:v>1056.9911</c:v>
                </c:pt>
                <c:pt idx="6442">
                  <c:v>1065.1727000000001</c:v>
                </c:pt>
                <c:pt idx="6443">
                  <c:v>1009.1804</c:v>
                </c:pt>
                <c:pt idx="6444">
                  <c:v>1112.6201000000001</c:v>
                </c:pt>
                <c:pt idx="6445">
                  <c:v>1056.4821999999999</c:v>
                </c:pt>
                <c:pt idx="6446">
                  <c:v>1032.1052</c:v>
                </c:pt>
                <c:pt idx="6447">
                  <c:v>1024.9736</c:v>
                </c:pt>
                <c:pt idx="6448">
                  <c:v>991.54349999999999</c:v>
                </c:pt>
                <c:pt idx="6449">
                  <c:v>1024.4779000000001</c:v>
                </c:pt>
                <c:pt idx="6450">
                  <c:v>1003.1267</c:v>
                </c:pt>
                <c:pt idx="6451">
                  <c:v>1069.8499999999999</c:v>
                </c:pt>
                <c:pt idx="6452">
                  <c:v>1045.6361999999999</c:v>
                </c:pt>
                <c:pt idx="6453">
                  <c:v>970.52149999999995</c:v>
                </c:pt>
                <c:pt idx="6454">
                  <c:v>873.2722</c:v>
                </c:pt>
                <c:pt idx="6455">
                  <c:v>792.99490000000003</c:v>
                </c:pt>
                <c:pt idx="6456">
                  <c:v>769.86519999999996</c:v>
                </c:pt>
                <c:pt idx="6457">
                  <c:v>741.71090000000004</c:v>
                </c:pt>
                <c:pt idx="6458">
                  <c:v>735.7654</c:v>
                </c:pt>
                <c:pt idx="6459">
                  <c:v>733.91279999999995</c:v>
                </c:pt>
                <c:pt idx="6460">
                  <c:v>741.88940000000002</c:v>
                </c:pt>
                <c:pt idx="6461">
                  <c:v>800.04570000000001</c:v>
                </c:pt>
                <c:pt idx="6462">
                  <c:v>949.99329999999998</c:v>
                </c:pt>
                <c:pt idx="6463">
                  <c:v>1038.8281999999999</c:v>
                </c:pt>
                <c:pt idx="6464">
                  <c:v>1097.5581999999999</c:v>
                </c:pt>
                <c:pt idx="6465">
                  <c:v>1079.5083999999999</c:v>
                </c:pt>
                <c:pt idx="6466">
                  <c:v>1055.5251000000001</c:v>
                </c:pt>
                <c:pt idx="6467">
                  <c:v>1024.5166999999999</c:v>
                </c:pt>
                <c:pt idx="6468">
                  <c:v>1019.7822</c:v>
                </c:pt>
                <c:pt idx="6469">
                  <c:v>1015.8997000000001</c:v>
                </c:pt>
                <c:pt idx="6470">
                  <c:v>1008.2868999999999</c:v>
                </c:pt>
                <c:pt idx="6471">
                  <c:v>968.68619999999999</c:v>
                </c:pt>
                <c:pt idx="6472">
                  <c:v>943.45169999999996</c:v>
                </c:pt>
                <c:pt idx="6473">
                  <c:v>968.63890000000004</c:v>
                </c:pt>
                <c:pt idx="6474">
                  <c:v>971.64030000000002</c:v>
                </c:pt>
                <c:pt idx="6475">
                  <c:v>1016.4589</c:v>
                </c:pt>
                <c:pt idx="6476">
                  <c:v>976.35860000000002</c:v>
                </c:pt>
                <c:pt idx="6477">
                  <c:v>903.73680000000002</c:v>
                </c:pt>
                <c:pt idx="6478">
                  <c:v>823.53189999999995</c:v>
                </c:pt>
                <c:pt idx="6479">
                  <c:v>769.4153</c:v>
                </c:pt>
                <c:pt idx="6480">
                  <c:v>731.85519999999997</c:v>
                </c:pt>
                <c:pt idx="6481">
                  <c:v>704.43629999999996</c:v>
                </c:pt>
                <c:pt idx="6482">
                  <c:v>683.92619999999999</c:v>
                </c:pt>
                <c:pt idx="6483">
                  <c:v>679.1558</c:v>
                </c:pt>
                <c:pt idx="6484">
                  <c:v>688.10400000000004</c:v>
                </c:pt>
                <c:pt idx="6485">
                  <c:v>693.03440000000001</c:v>
                </c:pt>
                <c:pt idx="6486">
                  <c:v>731.77729999999997</c:v>
                </c:pt>
                <c:pt idx="6487">
                  <c:v>788.30820000000006</c:v>
                </c:pt>
                <c:pt idx="6488">
                  <c:v>862.59709999999995</c:v>
                </c:pt>
                <c:pt idx="6489">
                  <c:v>876.04340000000002</c:v>
                </c:pt>
                <c:pt idx="6490">
                  <c:v>884.94119999999998</c:v>
                </c:pt>
                <c:pt idx="6491">
                  <c:v>847.79909999999995</c:v>
                </c:pt>
                <c:pt idx="6492">
                  <c:v>835.82500000000005</c:v>
                </c:pt>
                <c:pt idx="6493">
                  <c:v>827.24779999999998</c:v>
                </c:pt>
                <c:pt idx="6494">
                  <c:v>823.86969999999997</c:v>
                </c:pt>
                <c:pt idx="6495">
                  <c:v>832.90070000000003</c:v>
                </c:pt>
                <c:pt idx="6496">
                  <c:v>854.75620000000004</c:v>
                </c:pt>
                <c:pt idx="6497">
                  <c:v>857.88959999999997</c:v>
                </c:pt>
                <c:pt idx="6498">
                  <c:v>881.61829999999998</c:v>
                </c:pt>
                <c:pt idx="6499">
                  <c:v>928.32339999999999</c:v>
                </c:pt>
                <c:pt idx="6500">
                  <c:v>879.3569</c:v>
                </c:pt>
                <c:pt idx="6501">
                  <c:v>832.85360000000003</c:v>
                </c:pt>
                <c:pt idx="6502">
                  <c:v>755.91510000000005</c:v>
                </c:pt>
                <c:pt idx="6503">
                  <c:v>701.54589999999996</c:v>
                </c:pt>
                <c:pt idx="6504">
                  <c:v>673.42610000000002</c:v>
                </c:pt>
                <c:pt idx="6505">
                  <c:v>635.93370000000004</c:v>
                </c:pt>
                <c:pt idx="6506">
                  <c:v>635.32420000000002</c:v>
                </c:pt>
                <c:pt idx="6507">
                  <c:v>634.64009999999996</c:v>
                </c:pt>
                <c:pt idx="6508">
                  <c:v>638.28380000000004</c:v>
                </c:pt>
                <c:pt idx="6509">
                  <c:v>648.10329999999999</c:v>
                </c:pt>
                <c:pt idx="6510">
                  <c:v>682.86710000000005</c:v>
                </c:pt>
                <c:pt idx="6511">
                  <c:v>711.74310000000003</c:v>
                </c:pt>
                <c:pt idx="6512">
                  <c:v>794.63750000000005</c:v>
                </c:pt>
                <c:pt idx="6513">
                  <c:v>855.64340000000004</c:v>
                </c:pt>
                <c:pt idx="6514">
                  <c:v>868.14769999999999</c:v>
                </c:pt>
                <c:pt idx="6515">
                  <c:v>861.971</c:v>
                </c:pt>
                <c:pt idx="6516">
                  <c:v>853.6105</c:v>
                </c:pt>
                <c:pt idx="6517">
                  <c:v>853.27859999999998</c:v>
                </c:pt>
                <c:pt idx="6518">
                  <c:v>841.79219999999998</c:v>
                </c:pt>
                <c:pt idx="6519">
                  <c:v>843.21579999999994</c:v>
                </c:pt>
                <c:pt idx="6520">
                  <c:v>855.66849999999999</c:v>
                </c:pt>
                <c:pt idx="6521">
                  <c:v>876.53219999999999</c:v>
                </c:pt>
                <c:pt idx="6522">
                  <c:v>915.84860000000003</c:v>
                </c:pt>
                <c:pt idx="6523">
                  <c:v>961.70889999999997</c:v>
                </c:pt>
                <c:pt idx="6524">
                  <c:v>914.8279</c:v>
                </c:pt>
                <c:pt idx="6525">
                  <c:v>841.08330000000001</c:v>
                </c:pt>
                <c:pt idx="6526">
                  <c:v>759.12649999999996</c:v>
                </c:pt>
                <c:pt idx="6527">
                  <c:v>687.25509999999997</c:v>
                </c:pt>
                <c:pt idx="6528">
                  <c:v>663.12720000000002</c:v>
                </c:pt>
                <c:pt idx="6529">
                  <c:v>635.78499999999997</c:v>
                </c:pt>
                <c:pt idx="6530">
                  <c:v>631.33519999999999</c:v>
                </c:pt>
                <c:pt idx="6531">
                  <c:v>615.71569999999997</c:v>
                </c:pt>
                <c:pt idx="6532">
                  <c:v>636.94069999999999</c:v>
                </c:pt>
                <c:pt idx="6533">
                  <c:v>709.49980000000005</c:v>
                </c:pt>
                <c:pt idx="6534">
                  <c:v>885.89769999999999</c:v>
                </c:pt>
                <c:pt idx="6535">
                  <c:v>965.37429999999995</c:v>
                </c:pt>
                <c:pt idx="6536">
                  <c:v>1055.7674999999999</c:v>
                </c:pt>
                <c:pt idx="6537">
                  <c:v>1071.9038</c:v>
                </c:pt>
                <c:pt idx="6538">
                  <c:v>1073.1694</c:v>
                </c:pt>
                <c:pt idx="6539">
                  <c:v>1050.5811000000001</c:v>
                </c:pt>
                <c:pt idx="6540">
                  <c:v>1060.9785999999999</c:v>
                </c:pt>
                <c:pt idx="6541">
                  <c:v>1051.3405</c:v>
                </c:pt>
                <c:pt idx="6542">
                  <c:v>1026.7365</c:v>
                </c:pt>
                <c:pt idx="6543">
                  <c:v>1016.0557</c:v>
                </c:pt>
                <c:pt idx="6544">
                  <c:v>979.58500000000004</c:v>
                </c:pt>
                <c:pt idx="6545">
                  <c:v>982.85850000000005</c:v>
                </c:pt>
                <c:pt idx="6546">
                  <c:v>999.25559999999996</c:v>
                </c:pt>
                <c:pt idx="6547">
                  <c:v>1045.1342</c:v>
                </c:pt>
                <c:pt idx="6548">
                  <c:v>988.74260000000004</c:v>
                </c:pt>
                <c:pt idx="6549">
                  <c:v>921.61429999999996</c:v>
                </c:pt>
                <c:pt idx="6550">
                  <c:v>820.27110000000005</c:v>
                </c:pt>
                <c:pt idx="6551">
                  <c:v>732.39340000000004</c:v>
                </c:pt>
                <c:pt idx="6552">
                  <c:v>704.67079999999999</c:v>
                </c:pt>
                <c:pt idx="6553">
                  <c:v>683.84370000000001</c:v>
                </c:pt>
                <c:pt idx="6554">
                  <c:v>670.94629999999995</c:v>
                </c:pt>
                <c:pt idx="6555">
                  <c:v>667.38019999999995</c:v>
                </c:pt>
                <c:pt idx="6556">
                  <c:v>678.77170000000001</c:v>
                </c:pt>
                <c:pt idx="6557">
                  <c:v>741.58090000000004</c:v>
                </c:pt>
                <c:pt idx="6558">
                  <c:v>901.56209999999999</c:v>
                </c:pt>
                <c:pt idx="6559">
                  <c:v>966.06669999999997</c:v>
                </c:pt>
                <c:pt idx="6560">
                  <c:v>1052.2494999999999</c:v>
                </c:pt>
                <c:pt idx="6561">
                  <c:v>1046.2736</c:v>
                </c:pt>
                <c:pt idx="6562">
                  <c:v>1037.5425</c:v>
                </c:pt>
                <c:pt idx="6563">
                  <c:v>1021.1016</c:v>
                </c:pt>
                <c:pt idx="6564">
                  <c:v>1024.8722</c:v>
                </c:pt>
                <c:pt idx="6565">
                  <c:v>1020.7936999999999</c:v>
                </c:pt>
                <c:pt idx="6566">
                  <c:v>1026.653</c:v>
                </c:pt>
                <c:pt idx="6567">
                  <c:v>1029.1115</c:v>
                </c:pt>
                <c:pt idx="6568">
                  <c:v>984.94090000000006</c:v>
                </c:pt>
                <c:pt idx="6569">
                  <c:v>992.57500000000005</c:v>
                </c:pt>
                <c:pt idx="6570">
                  <c:v>998.16200000000003</c:v>
                </c:pt>
                <c:pt idx="6571">
                  <c:v>1037.1025</c:v>
                </c:pt>
                <c:pt idx="6572">
                  <c:v>997.45899999999995</c:v>
                </c:pt>
                <c:pt idx="6573">
                  <c:v>950.72829999999999</c:v>
                </c:pt>
                <c:pt idx="6574">
                  <c:v>855.71230000000003</c:v>
                </c:pt>
                <c:pt idx="6575">
                  <c:v>777.85609999999997</c:v>
                </c:pt>
                <c:pt idx="6576">
                  <c:v>742.57889999999998</c:v>
                </c:pt>
                <c:pt idx="6577">
                  <c:v>712.31740000000002</c:v>
                </c:pt>
                <c:pt idx="6578">
                  <c:v>691.40419999999995</c:v>
                </c:pt>
                <c:pt idx="6579">
                  <c:v>690.43820000000005</c:v>
                </c:pt>
                <c:pt idx="6580">
                  <c:v>704.36739999999998</c:v>
                </c:pt>
                <c:pt idx="6581">
                  <c:v>764.60820000000001</c:v>
                </c:pt>
                <c:pt idx="6582">
                  <c:v>927.73810000000003</c:v>
                </c:pt>
                <c:pt idx="6583">
                  <c:v>998.17579999999998</c:v>
                </c:pt>
                <c:pt idx="6584">
                  <c:v>1085.0764999999999</c:v>
                </c:pt>
                <c:pt idx="6585">
                  <c:v>1088.1677</c:v>
                </c:pt>
                <c:pt idx="6586">
                  <c:v>1082.0039999999999</c:v>
                </c:pt>
                <c:pt idx="6587">
                  <c:v>1052.8442</c:v>
                </c:pt>
                <c:pt idx="6588">
                  <c:v>1070.5717999999999</c:v>
                </c:pt>
                <c:pt idx="6589">
                  <c:v>1059.1124</c:v>
                </c:pt>
                <c:pt idx="6590">
                  <c:v>1055.2991</c:v>
                </c:pt>
                <c:pt idx="6591">
                  <c:v>1042.4757</c:v>
                </c:pt>
                <c:pt idx="6592">
                  <c:v>1018.204</c:v>
                </c:pt>
                <c:pt idx="6593">
                  <c:v>1032.5445999999999</c:v>
                </c:pt>
                <c:pt idx="6594">
                  <c:v>1040.8280999999999</c:v>
                </c:pt>
                <c:pt idx="6595">
                  <c:v>1073.3579</c:v>
                </c:pt>
                <c:pt idx="6596">
                  <c:v>1010.5791</c:v>
                </c:pt>
                <c:pt idx="6597">
                  <c:v>934.40560000000005</c:v>
                </c:pt>
                <c:pt idx="6598">
                  <c:v>853.45920000000001</c:v>
                </c:pt>
                <c:pt idx="6599">
                  <c:v>775.71979999999996</c:v>
                </c:pt>
                <c:pt idx="6600">
                  <c:v>734.22270000000003</c:v>
                </c:pt>
                <c:pt idx="6601">
                  <c:v>718.29319999999996</c:v>
                </c:pt>
                <c:pt idx="6602">
                  <c:v>693.36019999999996</c:v>
                </c:pt>
                <c:pt idx="6603">
                  <c:v>693.54790000000003</c:v>
                </c:pt>
                <c:pt idx="6604">
                  <c:v>716.97090000000003</c:v>
                </c:pt>
                <c:pt idx="6605">
                  <c:v>780.77120000000002</c:v>
                </c:pt>
                <c:pt idx="6606">
                  <c:v>945.59889999999996</c:v>
                </c:pt>
                <c:pt idx="6607">
                  <c:v>1028.7674999999999</c:v>
                </c:pt>
                <c:pt idx="6608">
                  <c:v>1109.4628</c:v>
                </c:pt>
                <c:pt idx="6609">
                  <c:v>1119.8204000000001</c:v>
                </c:pt>
                <c:pt idx="6610">
                  <c:v>1113.9791</c:v>
                </c:pt>
                <c:pt idx="6611">
                  <c:v>1084.9802999999999</c:v>
                </c:pt>
                <c:pt idx="6612">
                  <c:v>1096.1208999999999</c:v>
                </c:pt>
                <c:pt idx="6613">
                  <c:v>1089.8471999999999</c:v>
                </c:pt>
                <c:pt idx="6614">
                  <c:v>1076.8114</c:v>
                </c:pt>
                <c:pt idx="6615">
                  <c:v>1066.9653000000001</c:v>
                </c:pt>
                <c:pt idx="6616">
                  <c:v>1032.2489</c:v>
                </c:pt>
                <c:pt idx="6617">
                  <c:v>1039.2483999999999</c:v>
                </c:pt>
                <c:pt idx="6618">
                  <c:v>1063.3047999999999</c:v>
                </c:pt>
                <c:pt idx="6619">
                  <c:v>1082.1813999999999</c:v>
                </c:pt>
                <c:pt idx="6620">
                  <c:v>1048.3949</c:v>
                </c:pt>
                <c:pt idx="6621">
                  <c:v>982.59140000000002</c:v>
                </c:pt>
                <c:pt idx="6622">
                  <c:v>888.46370000000002</c:v>
                </c:pt>
                <c:pt idx="6623">
                  <c:v>796.85640000000001</c:v>
                </c:pt>
                <c:pt idx="6624">
                  <c:v>765.87660000000005</c:v>
                </c:pt>
                <c:pt idx="6625">
                  <c:v>740.27409999999998</c:v>
                </c:pt>
                <c:pt idx="6626">
                  <c:v>729.68460000000005</c:v>
                </c:pt>
                <c:pt idx="6627">
                  <c:v>719.86649999999997</c:v>
                </c:pt>
                <c:pt idx="6628">
                  <c:v>745.49559999999997</c:v>
                </c:pt>
                <c:pt idx="6629">
                  <c:v>811.45050000000003</c:v>
                </c:pt>
                <c:pt idx="6630">
                  <c:v>970.9597</c:v>
                </c:pt>
                <c:pt idx="6631">
                  <c:v>1047.1841999999999</c:v>
                </c:pt>
                <c:pt idx="6632">
                  <c:v>1142.3181</c:v>
                </c:pt>
                <c:pt idx="6633">
                  <c:v>1154.9024999999999</c:v>
                </c:pt>
                <c:pt idx="6634">
                  <c:v>1153.8997999999999</c:v>
                </c:pt>
                <c:pt idx="6635">
                  <c:v>1122.9863</c:v>
                </c:pt>
                <c:pt idx="6636">
                  <c:v>1135.7248999999999</c:v>
                </c:pt>
                <c:pt idx="6637">
                  <c:v>1127.672</c:v>
                </c:pt>
                <c:pt idx="6638">
                  <c:v>1107.2764</c:v>
                </c:pt>
                <c:pt idx="6639">
                  <c:v>1081.7588000000001</c:v>
                </c:pt>
                <c:pt idx="6640">
                  <c:v>1053.8344</c:v>
                </c:pt>
                <c:pt idx="6641">
                  <c:v>1064.3453</c:v>
                </c:pt>
                <c:pt idx="6642">
                  <c:v>1089.0347999999999</c:v>
                </c:pt>
                <c:pt idx="6643">
                  <c:v>1105.2904000000001</c:v>
                </c:pt>
                <c:pt idx="6644">
                  <c:v>1056.9418000000001</c:v>
                </c:pt>
                <c:pt idx="6645">
                  <c:v>1002.4087</c:v>
                </c:pt>
                <c:pt idx="6646">
                  <c:v>910.51390000000004</c:v>
                </c:pt>
                <c:pt idx="6647">
                  <c:v>851.30719999999997</c:v>
                </c:pt>
                <c:pt idx="6648">
                  <c:v>814.03589999999997</c:v>
                </c:pt>
                <c:pt idx="6649">
                  <c:v>789.94939999999997</c:v>
                </c:pt>
                <c:pt idx="6650">
                  <c:v>778.12130000000002</c:v>
                </c:pt>
                <c:pt idx="6651">
                  <c:v>765.7124</c:v>
                </c:pt>
                <c:pt idx="6652">
                  <c:v>762.89149999999995</c:v>
                </c:pt>
                <c:pt idx="6653">
                  <c:v>802.45140000000004</c:v>
                </c:pt>
                <c:pt idx="6654">
                  <c:v>828.62400000000002</c:v>
                </c:pt>
                <c:pt idx="6655">
                  <c:v>865.91020000000003</c:v>
                </c:pt>
                <c:pt idx="6656">
                  <c:v>938.97609999999997</c:v>
                </c:pt>
                <c:pt idx="6657">
                  <c:v>976.15909999999997</c:v>
                </c:pt>
                <c:pt idx="6658">
                  <c:v>945.53689999999995</c:v>
                </c:pt>
                <c:pt idx="6659">
                  <c:v>940.94560000000001</c:v>
                </c:pt>
                <c:pt idx="6660">
                  <c:v>948.24390000000005</c:v>
                </c:pt>
                <c:pt idx="6661">
                  <c:v>940.12189999999998</c:v>
                </c:pt>
                <c:pt idx="6662">
                  <c:v>923.87819999999999</c:v>
                </c:pt>
                <c:pt idx="6663">
                  <c:v>922.25229999999999</c:v>
                </c:pt>
                <c:pt idx="6664">
                  <c:v>925.57389999999998</c:v>
                </c:pt>
                <c:pt idx="6665">
                  <c:v>949.63289999999995</c:v>
                </c:pt>
                <c:pt idx="6666">
                  <c:v>1021.8785</c:v>
                </c:pt>
                <c:pt idx="6667">
                  <c:v>1026.7057</c:v>
                </c:pt>
                <c:pt idx="6668">
                  <c:v>994.346</c:v>
                </c:pt>
                <c:pt idx="6669">
                  <c:v>945.66970000000003</c:v>
                </c:pt>
                <c:pt idx="6670">
                  <c:v>879.4221</c:v>
                </c:pt>
                <c:pt idx="6671">
                  <c:v>810.66039999999998</c:v>
                </c:pt>
                <c:pt idx="6672">
                  <c:v>769.08029999999997</c:v>
                </c:pt>
                <c:pt idx="6673">
                  <c:v>742.41160000000002</c:v>
                </c:pt>
                <c:pt idx="6674">
                  <c:v>726.48869999999999</c:v>
                </c:pt>
                <c:pt idx="6675">
                  <c:v>719.572</c:v>
                </c:pt>
                <c:pt idx="6676">
                  <c:v>717.98879999999997</c:v>
                </c:pt>
                <c:pt idx="6677">
                  <c:v>741.83910000000003</c:v>
                </c:pt>
                <c:pt idx="6678">
                  <c:v>773.98099999999999</c:v>
                </c:pt>
                <c:pt idx="6679">
                  <c:v>813.43870000000004</c:v>
                </c:pt>
                <c:pt idx="6680">
                  <c:v>883.18899999999996</c:v>
                </c:pt>
                <c:pt idx="6681">
                  <c:v>943.46780000000001</c:v>
                </c:pt>
                <c:pt idx="6682">
                  <c:v>941.95529999999997</c:v>
                </c:pt>
                <c:pt idx="6683">
                  <c:v>938.49680000000001</c:v>
                </c:pt>
                <c:pt idx="6684">
                  <c:v>935.67759999999998</c:v>
                </c:pt>
                <c:pt idx="6685">
                  <c:v>937.49170000000004</c:v>
                </c:pt>
                <c:pt idx="6686">
                  <c:v>930.36069999999995</c:v>
                </c:pt>
                <c:pt idx="6687">
                  <c:v>939.32759999999996</c:v>
                </c:pt>
                <c:pt idx="6688">
                  <c:v>955.09939999999995</c:v>
                </c:pt>
                <c:pt idx="6689">
                  <c:v>975.55880000000002</c:v>
                </c:pt>
                <c:pt idx="6690">
                  <c:v>1046.6083000000001</c:v>
                </c:pt>
                <c:pt idx="6691">
                  <c:v>1048.4664</c:v>
                </c:pt>
                <c:pt idx="6692">
                  <c:v>1000.7272</c:v>
                </c:pt>
                <c:pt idx="6693">
                  <c:v>940.25909999999999</c:v>
                </c:pt>
                <c:pt idx="6694">
                  <c:v>871.73019999999997</c:v>
                </c:pt>
                <c:pt idx="6695">
                  <c:v>804.23559999999998</c:v>
                </c:pt>
                <c:pt idx="6696">
                  <c:v>770.6771</c:v>
                </c:pt>
                <c:pt idx="6697">
                  <c:v>752.76840000000004</c:v>
                </c:pt>
                <c:pt idx="6698">
                  <c:v>738.73419999999999</c:v>
                </c:pt>
                <c:pt idx="6699">
                  <c:v>738.29150000000004</c:v>
                </c:pt>
                <c:pt idx="6700">
                  <c:v>755.28330000000005</c:v>
                </c:pt>
                <c:pt idx="6701">
                  <c:v>821.71100000000001</c:v>
                </c:pt>
                <c:pt idx="6702">
                  <c:v>990.74630000000002</c:v>
                </c:pt>
                <c:pt idx="6703">
                  <c:v>1078.4598000000001</c:v>
                </c:pt>
                <c:pt idx="6704">
                  <c:v>1181.6605999999999</c:v>
                </c:pt>
                <c:pt idx="6705">
                  <c:v>1195.6957</c:v>
                </c:pt>
                <c:pt idx="6706">
                  <c:v>1170.2535</c:v>
                </c:pt>
                <c:pt idx="6707">
                  <c:v>1139.8064999999999</c:v>
                </c:pt>
                <c:pt idx="6708">
                  <c:v>1143.9398000000001</c:v>
                </c:pt>
                <c:pt idx="6709">
                  <c:v>1143.8413</c:v>
                </c:pt>
                <c:pt idx="6710">
                  <c:v>1123.3041000000001</c:v>
                </c:pt>
                <c:pt idx="6711">
                  <c:v>1113.7191</c:v>
                </c:pt>
                <c:pt idx="6712">
                  <c:v>1063.7052000000001</c:v>
                </c:pt>
                <c:pt idx="6713">
                  <c:v>1083.4522999999999</c:v>
                </c:pt>
                <c:pt idx="6714">
                  <c:v>1136.2563</c:v>
                </c:pt>
                <c:pt idx="6715">
                  <c:v>1129.3463999999999</c:v>
                </c:pt>
                <c:pt idx="6716">
                  <c:v>1094.4891</c:v>
                </c:pt>
                <c:pt idx="6717">
                  <c:v>1030.3918000000001</c:v>
                </c:pt>
                <c:pt idx="6718">
                  <c:v>926.84469999999999</c:v>
                </c:pt>
                <c:pt idx="6719">
                  <c:v>849.9819</c:v>
                </c:pt>
                <c:pt idx="6720">
                  <c:v>810.84500000000003</c:v>
                </c:pt>
                <c:pt idx="6721">
                  <c:v>792.56669999999997</c:v>
                </c:pt>
                <c:pt idx="6722">
                  <c:v>783.875</c:v>
                </c:pt>
                <c:pt idx="6723">
                  <c:v>777.55349999999999</c:v>
                </c:pt>
                <c:pt idx="6724">
                  <c:v>798.63810000000001</c:v>
                </c:pt>
                <c:pt idx="6725">
                  <c:v>855.78139999999996</c:v>
                </c:pt>
                <c:pt idx="6726">
                  <c:v>1015.9097</c:v>
                </c:pt>
                <c:pt idx="6727">
                  <c:v>1106.4485</c:v>
                </c:pt>
                <c:pt idx="6728">
                  <c:v>1185.1674</c:v>
                </c:pt>
                <c:pt idx="6729">
                  <c:v>1201.1387</c:v>
                </c:pt>
                <c:pt idx="6730">
                  <c:v>1188.1669999999999</c:v>
                </c:pt>
                <c:pt idx="6731">
                  <c:v>1153.9448</c:v>
                </c:pt>
                <c:pt idx="6732">
                  <c:v>1162.1152</c:v>
                </c:pt>
                <c:pt idx="6733">
                  <c:v>1150.6943000000001</c:v>
                </c:pt>
                <c:pt idx="6734">
                  <c:v>1143.2035000000001</c:v>
                </c:pt>
                <c:pt idx="6735">
                  <c:v>1123.1147000000001</c:v>
                </c:pt>
                <c:pt idx="6736">
                  <c:v>1100.4956</c:v>
                </c:pt>
                <c:pt idx="6737">
                  <c:v>1099.684</c:v>
                </c:pt>
                <c:pt idx="6738">
                  <c:v>1143.7476999999999</c:v>
                </c:pt>
                <c:pt idx="6739">
                  <c:v>1128.3241</c:v>
                </c:pt>
                <c:pt idx="6740">
                  <c:v>1074.5668000000001</c:v>
                </c:pt>
                <c:pt idx="6741">
                  <c:v>1011.3238</c:v>
                </c:pt>
                <c:pt idx="6742">
                  <c:v>901.25040000000001</c:v>
                </c:pt>
                <c:pt idx="6743">
                  <c:v>821.93759999999997</c:v>
                </c:pt>
                <c:pt idx="6744">
                  <c:v>791.43119999999999</c:v>
                </c:pt>
                <c:pt idx="6745">
                  <c:v>752.2373</c:v>
                </c:pt>
                <c:pt idx="6746">
                  <c:v>753.45830000000001</c:v>
                </c:pt>
                <c:pt idx="6747">
                  <c:v>753.88419999999996</c:v>
                </c:pt>
                <c:pt idx="6748">
                  <c:v>768.57719999999995</c:v>
                </c:pt>
                <c:pt idx="6749">
                  <c:v>834.41240000000005</c:v>
                </c:pt>
                <c:pt idx="6750">
                  <c:v>998.70150000000001</c:v>
                </c:pt>
                <c:pt idx="6751">
                  <c:v>1079.5878</c:v>
                </c:pt>
                <c:pt idx="6752">
                  <c:v>1169.3833999999999</c:v>
                </c:pt>
                <c:pt idx="6753">
                  <c:v>1183.7446</c:v>
                </c:pt>
                <c:pt idx="6754">
                  <c:v>1171.9648</c:v>
                </c:pt>
                <c:pt idx="6755">
                  <c:v>1141.6364000000001</c:v>
                </c:pt>
                <c:pt idx="6756">
                  <c:v>1158.8722</c:v>
                </c:pt>
                <c:pt idx="6757">
                  <c:v>1150.8457000000001</c:v>
                </c:pt>
                <c:pt idx="6758">
                  <c:v>1145.6405999999999</c:v>
                </c:pt>
                <c:pt idx="6759">
                  <c:v>1132.691</c:v>
                </c:pt>
                <c:pt idx="6760">
                  <c:v>1083.3599999999999</c:v>
                </c:pt>
                <c:pt idx="6761">
                  <c:v>1111.7628</c:v>
                </c:pt>
                <c:pt idx="6762">
                  <c:v>1157.6017999999999</c:v>
                </c:pt>
                <c:pt idx="6763">
                  <c:v>1124.7191</c:v>
                </c:pt>
                <c:pt idx="6764">
                  <c:v>1079.0047999999999</c:v>
                </c:pt>
                <c:pt idx="6765">
                  <c:v>1013.6543</c:v>
                </c:pt>
                <c:pt idx="6766">
                  <c:v>895.54769999999996</c:v>
                </c:pt>
                <c:pt idx="6767">
                  <c:v>817.94619999999998</c:v>
                </c:pt>
                <c:pt idx="6768">
                  <c:v>780.84910000000002</c:v>
                </c:pt>
                <c:pt idx="6769">
                  <c:v>764.99519999999995</c:v>
                </c:pt>
                <c:pt idx="6770">
                  <c:v>752.03409999999997</c:v>
                </c:pt>
                <c:pt idx="6771">
                  <c:v>748.88720000000001</c:v>
                </c:pt>
                <c:pt idx="6772">
                  <c:v>769.97670000000005</c:v>
                </c:pt>
                <c:pt idx="6773">
                  <c:v>824.39970000000005</c:v>
                </c:pt>
                <c:pt idx="6774">
                  <c:v>988.36519999999996</c:v>
                </c:pt>
                <c:pt idx="6775">
                  <c:v>1079.7689</c:v>
                </c:pt>
                <c:pt idx="6776">
                  <c:v>1167.7461000000001</c:v>
                </c:pt>
                <c:pt idx="6777">
                  <c:v>1173.9004</c:v>
                </c:pt>
                <c:pt idx="6778">
                  <c:v>1169.8145999999999</c:v>
                </c:pt>
                <c:pt idx="6779">
                  <c:v>1141.5346999999999</c:v>
                </c:pt>
                <c:pt idx="6780">
                  <c:v>1147.0607</c:v>
                </c:pt>
                <c:pt idx="6781">
                  <c:v>1140.8604</c:v>
                </c:pt>
                <c:pt idx="6782">
                  <c:v>1139.1162999999999</c:v>
                </c:pt>
                <c:pt idx="6783">
                  <c:v>1121.9965</c:v>
                </c:pt>
                <c:pt idx="6784">
                  <c:v>1064.5464999999999</c:v>
                </c:pt>
                <c:pt idx="6785">
                  <c:v>1077.8960999999999</c:v>
                </c:pt>
                <c:pt idx="6786">
                  <c:v>1121.2207000000001</c:v>
                </c:pt>
                <c:pt idx="6787">
                  <c:v>1102.1268</c:v>
                </c:pt>
                <c:pt idx="6788">
                  <c:v>1064.1392000000001</c:v>
                </c:pt>
                <c:pt idx="6789">
                  <c:v>998.3116</c:v>
                </c:pt>
                <c:pt idx="6790">
                  <c:v>882.01120000000003</c:v>
                </c:pt>
                <c:pt idx="6791">
                  <c:v>814.48419999999999</c:v>
                </c:pt>
                <c:pt idx="6792">
                  <c:v>767.64790000000005</c:v>
                </c:pt>
                <c:pt idx="6793">
                  <c:v>753.98569999999995</c:v>
                </c:pt>
                <c:pt idx="6794">
                  <c:v>754.12300000000005</c:v>
                </c:pt>
                <c:pt idx="6795">
                  <c:v>727.30399999999997</c:v>
                </c:pt>
                <c:pt idx="6796">
                  <c:v>741.15409999999997</c:v>
                </c:pt>
                <c:pt idx="6797">
                  <c:v>808.54740000000004</c:v>
                </c:pt>
                <c:pt idx="6798">
                  <c:v>977.74360000000001</c:v>
                </c:pt>
                <c:pt idx="6799">
                  <c:v>1053.412</c:v>
                </c:pt>
                <c:pt idx="6800">
                  <c:v>1138.8561</c:v>
                </c:pt>
                <c:pt idx="6801">
                  <c:v>1135.3878</c:v>
                </c:pt>
                <c:pt idx="6802">
                  <c:v>1129.5420999999999</c:v>
                </c:pt>
                <c:pt idx="6803">
                  <c:v>1094.9727</c:v>
                </c:pt>
                <c:pt idx="6804">
                  <c:v>1089.2408</c:v>
                </c:pt>
                <c:pt idx="6805">
                  <c:v>1078.8231000000001</c:v>
                </c:pt>
                <c:pt idx="6806">
                  <c:v>1068.5542</c:v>
                </c:pt>
                <c:pt idx="6807">
                  <c:v>1073.9971</c:v>
                </c:pt>
                <c:pt idx="6808">
                  <c:v>1025.7164</c:v>
                </c:pt>
                <c:pt idx="6809">
                  <c:v>1044.7904000000001</c:v>
                </c:pt>
                <c:pt idx="6810">
                  <c:v>1083.9056</c:v>
                </c:pt>
                <c:pt idx="6811">
                  <c:v>1056.2224000000001</c:v>
                </c:pt>
                <c:pt idx="6812">
                  <c:v>1016.9363</c:v>
                </c:pt>
                <c:pt idx="6813">
                  <c:v>937.90830000000005</c:v>
                </c:pt>
                <c:pt idx="6814">
                  <c:v>854.7876</c:v>
                </c:pt>
                <c:pt idx="6815">
                  <c:v>796.70249999999999</c:v>
                </c:pt>
                <c:pt idx="6816">
                  <c:v>741.44240000000002</c:v>
                </c:pt>
                <c:pt idx="6817">
                  <c:v>733.2559</c:v>
                </c:pt>
                <c:pt idx="6818">
                  <c:v>707.24080000000004</c:v>
                </c:pt>
                <c:pt idx="6819">
                  <c:v>708.35599999999999</c:v>
                </c:pt>
                <c:pt idx="6820">
                  <c:v>723.8963</c:v>
                </c:pt>
                <c:pt idx="6821">
                  <c:v>736.49879999999996</c:v>
                </c:pt>
                <c:pt idx="6822">
                  <c:v>766.43629999999996</c:v>
                </c:pt>
                <c:pt idx="6823">
                  <c:v>810.69550000000004</c:v>
                </c:pt>
                <c:pt idx="6824">
                  <c:v>890.63679999999999</c:v>
                </c:pt>
                <c:pt idx="6825">
                  <c:v>924.37070000000006</c:v>
                </c:pt>
                <c:pt idx="6826">
                  <c:v>927.03319999999997</c:v>
                </c:pt>
                <c:pt idx="6827">
                  <c:v>920.88109999999995</c:v>
                </c:pt>
                <c:pt idx="6828">
                  <c:v>919.74149999999997</c:v>
                </c:pt>
                <c:pt idx="6829">
                  <c:v>910.80740000000003</c:v>
                </c:pt>
                <c:pt idx="6830">
                  <c:v>900.73490000000004</c:v>
                </c:pt>
                <c:pt idx="6831">
                  <c:v>905.19650000000001</c:v>
                </c:pt>
                <c:pt idx="6832">
                  <c:v>904.96749999999997</c:v>
                </c:pt>
                <c:pt idx="6833">
                  <c:v>919.35760000000005</c:v>
                </c:pt>
                <c:pt idx="6834">
                  <c:v>984.01580000000001</c:v>
                </c:pt>
                <c:pt idx="6835">
                  <c:v>964.27729999999997</c:v>
                </c:pt>
                <c:pt idx="6836">
                  <c:v>925.32230000000004</c:v>
                </c:pt>
                <c:pt idx="6837">
                  <c:v>878.87400000000002</c:v>
                </c:pt>
                <c:pt idx="6838">
                  <c:v>809.60799999999995</c:v>
                </c:pt>
                <c:pt idx="6839">
                  <c:v>767.16020000000003</c:v>
                </c:pt>
                <c:pt idx="6840">
                  <c:v>725.64449999999999</c:v>
                </c:pt>
                <c:pt idx="6841">
                  <c:v>707.93020000000001</c:v>
                </c:pt>
                <c:pt idx="6842">
                  <c:v>684.44159999999999</c:v>
                </c:pt>
                <c:pt idx="6843">
                  <c:v>677.19960000000003</c:v>
                </c:pt>
                <c:pt idx="6844">
                  <c:v>695.67409999999995</c:v>
                </c:pt>
                <c:pt idx="6845">
                  <c:v>712.04989999999998</c:v>
                </c:pt>
                <c:pt idx="6846">
                  <c:v>742.92380000000003</c:v>
                </c:pt>
                <c:pt idx="6847">
                  <c:v>761.09739999999999</c:v>
                </c:pt>
                <c:pt idx="6848">
                  <c:v>842.01009999999997</c:v>
                </c:pt>
                <c:pt idx="6849">
                  <c:v>886.83910000000003</c:v>
                </c:pt>
                <c:pt idx="6850">
                  <c:v>917.67510000000004</c:v>
                </c:pt>
                <c:pt idx="6851">
                  <c:v>894.2586</c:v>
                </c:pt>
                <c:pt idx="6852">
                  <c:v>899.69349999999997</c:v>
                </c:pt>
                <c:pt idx="6853">
                  <c:v>886.05</c:v>
                </c:pt>
                <c:pt idx="6854">
                  <c:v>878.32569999999998</c:v>
                </c:pt>
                <c:pt idx="6855">
                  <c:v>875.04470000000003</c:v>
                </c:pt>
                <c:pt idx="6856">
                  <c:v>901.43079999999998</c:v>
                </c:pt>
                <c:pt idx="6857">
                  <c:v>919.51120000000003</c:v>
                </c:pt>
                <c:pt idx="6858">
                  <c:v>1016.7503</c:v>
                </c:pt>
                <c:pt idx="6859">
                  <c:v>1008.1885</c:v>
                </c:pt>
                <c:pt idx="6860">
                  <c:v>967.48710000000005</c:v>
                </c:pt>
                <c:pt idx="6861">
                  <c:v>909.3954</c:v>
                </c:pt>
                <c:pt idx="6862">
                  <c:v>842.63969999999995</c:v>
                </c:pt>
                <c:pt idx="6863">
                  <c:v>789.39449999999999</c:v>
                </c:pt>
                <c:pt idx="6864">
                  <c:v>748.35619999999994</c:v>
                </c:pt>
                <c:pt idx="6865">
                  <c:v>715.17750000000001</c:v>
                </c:pt>
                <c:pt idx="6866">
                  <c:v>688.89260000000002</c:v>
                </c:pt>
                <c:pt idx="6867">
                  <c:v>687.01689999999996</c:v>
                </c:pt>
                <c:pt idx="6868">
                  <c:v>720.27610000000004</c:v>
                </c:pt>
                <c:pt idx="6869">
                  <c:v>787.94870000000003</c:v>
                </c:pt>
                <c:pt idx="6870">
                  <c:v>942.94209999999998</c:v>
                </c:pt>
                <c:pt idx="6871">
                  <c:v>1073.5895</c:v>
                </c:pt>
                <c:pt idx="6872">
                  <c:v>1153.2953</c:v>
                </c:pt>
                <c:pt idx="6873">
                  <c:v>1186.8697999999999</c:v>
                </c:pt>
                <c:pt idx="6874">
                  <c:v>1203.1212</c:v>
                </c:pt>
                <c:pt idx="6875">
                  <c:v>1179.5282</c:v>
                </c:pt>
                <c:pt idx="6876">
                  <c:v>1190.2284999999999</c:v>
                </c:pt>
                <c:pt idx="6877">
                  <c:v>1178.2123999999999</c:v>
                </c:pt>
                <c:pt idx="6878">
                  <c:v>1158.0372</c:v>
                </c:pt>
                <c:pt idx="6879">
                  <c:v>1146.1078</c:v>
                </c:pt>
                <c:pt idx="6880">
                  <c:v>1093.7588000000001</c:v>
                </c:pt>
                <c:pt idx="6881">
                  <c:v>1109.4585999999999</c:v>
                </c:pt>
                <c:pt idx="6882">
                  <c:v>1141.3844999999999</c:v>
                </c:pt>
                <c:pt idx="6883">
                  <c:v>1112.1674</c:v>
                </c:pt>
                <c:pt idx="6884">
                  <c:v>1054.0990999999999</c:v>
                </c:pt>
                <c:pt idx="6885">
                  <c:v>983.42460000000005</c:v>
                </c:pt>
                <c:pt idx="6886">
                  <c:v>896.68020000000001</c:v>
                </c:pt>
                <c:pt idx="6887">
                  <c:v>812.37130000000002</c:v>
                </c:pt>
                <c:pt idx="6888">
                  <c:v>766.58659999999998</c:v>
                </c:pt>
                <c:pt idx="6889">
                  <c:v>747.98339999999996</c:v>
                </c:pt>
                <c:pt idx="6890">
                  <c:v>742.21609999999998</c:v>
                </c:pt>
                <c:pt idx="6891">
                  <c:v>751.50220000000002</c:v>
                </c:pt>
                <c:pt idx="6892">
                  <c:v>763.93010000000004</c:v>
                </c:pt>
                <c:pt idx="6893">
                  <c:v>809.30229999999995</c:v>
                </c:pt>
                <c:pt idx="6894">
                  <c:v>964.52930000000003</c:v>
                </c:pt>
                <c:pt idx="6895">
                  <c:v>1059.0219</c:v>
                </c:pt>
                <c:pt idx="6896">
                  <c:v>1162.4028000000001</c:v>
                </c:pt>
                <c:pt idx="6897">
                  <c:v>1133.5145</c:v>
                </c:pt>
                <c:pt idx="6898">
                  <c:v>1120.8286000000001</c:v>
                </c:pt>
                <c:pt idx="6899">
                  <c:v>1064.4702</c:v>
                </c:pt>
                <c:pt idx="6900">
                  <c:v>1067.3656000000001</c:v>
                </c:pt>
                <c:pt idx="6901">
                  <c:v>1054.1433999999999</c:v>
                </c:pt>
                <c:pt idx="6902">
                  <c:v>1083.6143</c:v>
                </c:pt>
                <c:pt idx="6903">
                  <c:v>1059.7501</c:v>
                </c:pt>
                <c:pt idx="6904">
                  <c:v>1035.5043000000001</c:v>
                </c:pt>
                <c:pt idx="6905">
                  <c:v>1053.2813000000001</c:v>
                </c:pt>
                <c:pt idx="6906">
                  <c:v>1095.4039</c:v>
                </c:pt>
                <c:pt idx="6907">
                  <c:v>1071.7251000000001</c:v>
                </c:pt>
                <c:pt idx="6908">
                  <c:v>1026.3613</c:v>
                </c:pt>
                <c:pt idx="6909">
                  <c:v>971.10080000000005</c:v>
                </c:pt>
                <c:pt idx="6910">
                  <c:v>870.91020000000003</c:v>
                </c:pt>
                <c:pt idx="6911">
                  <c:v>788.09910000000002</c:v>
                </c:pt>
                <c:pt idx="6912">
                  <c:v>743.46709999999996</c:v>
                </c:pt>
                <c:pt idx="6913">
                  <c:v>735.72670000000005</c:v>
                </c:pt>
                <c:pt idx="6914">
                  <c:v>726.35109999999997</c:v>
                </c:pt>
                <c:pt idx="6915">
                  <c:v>721.56659999999999</c:v>
                </c:pt>
                <c:pt idx="6916">
                  <c:v>738.66049999999996</c:v>
                </c:pt>
                <c:pt idx="6917">
                  <c:v>799.51559999999995</c:v>
                </c:pt>
                <c:pt idx="6918">
                  <c:v>962.20950000000005</c:v>
                </c:pt>
                <c:pt idx="6919">
                  <c:v>1063.9077</c:v>
                </c:pt>
                <c:pt idx="6920">
                  <c:v>1153.9562000000001</c:v>
                </c:pt>
                <c:pt idx="6921">
                  <c:v>1150.6027999999999</c:v>
                </c:pt>
                <c:pt idx="6922">
                  <c:v>1150.6570999999999</c:v>
                </c:pt>
                <c:pt idx="6923">
                  <c:v>1111.067</c:v>
                </c:pt>
                <c:pt idx="6924">
                  <c:v>1113.4552000000001</c:v>
                </c:pt>
                <c:pt idx="6925">
                  <c:v>1114.9166</c:v>
                </c:pt>
                <c:pt idx="6926">
                  <c:v>1099.1859999999999</c:v>
                </c:pt>
                <c:pt idx="6927">
                  <c:v>1086.9917</c:v>
                </c:pt>
                <c:pt idx="6928">
                  <c:v>1061.3837000000001</c:v>
                </c:pt>
                <c:pt idx="6929">
                  <c:v>1074.6704999999999</c:v>
                </c:pt>
                <c:pt idx="6930">
                  <c:v>1127.5476000000001</c:v>
                </c:pt>
                <c:pt idx="6931">
                  <c:v>1101.4401</c:v>
                </c:pt>
                <c:pt idx="6932">
                  <c:v>1052.3380999999999</c:v>
                </c:pt>
                <c:pt idx="6933">
                  <c:v>994.16499999999996</c:v>
                </c:pt>
                <c:pt idx="6934">
                  <c:v>892.82680000000005</c:v>
                </c:pt>
                <c:pt idx="6935">
                  <c:v>816.10990000000004</c:v>
                </c:pt>
                <c:pt idx="6936">
                  <c:v>777.19359999999995</c:v>
                </c:pt>
                <c:pt idx="6937">
                  <c:v>744.86879999999996</c:v>
                </c:pt>
                <c:pt idx="6938">
                  <c:v>749.65909999999997</c:v>
                </c:pt>
                <c:pt idx="6939">
                  <c:v>747.91639999999995</c:v>
                </c:pt>
                <c:pt idx="6940">
                  <c:v>763.23879999999997</c:v>
                </c:pt>
                <c:pt idx="6941">
                  <c:v>812.37630000000001</c:v>
                </c:pt>
                <c:pt idx="6942">
                  <c:v>968.05100000000004</c:v>
                </c:pt>
                <c:pt idx="6943">
                  <c:v>1070.0804000000001</c:v>
                </c:pt>
                <c:pt idx="6944">
                  <c:v>1136.316</c:v>
                </c:pt>
                <c:pt idx="6945">
                  <c:v>1158.318</c:v>
                </c:pt>
                <c:pt idx="6946">
                  <c:v>1166.7079000000001</c:v>
                </c:pt>
                <c:pt idx="6947">
                  <c:v>1133.5364999999999</c:v>
                </c:pt>
                <c:pt idx="6948">
                  <c:v>1138.4014</c:v>
                </c:pt>
                <c:pt idx="6949">
                  <c:v>1135.2294999999999</c:v>
                </c:pt>
                <c:pt idx="6950">
                  <c:v>1133.2062000000001</c:v>
                </c:pt>
                <c:pt idx="6951">
                  <c:v>1129.5409999999999</c:v>
                </c:pt>
                <c:pt idx="6952">
                  <c:v>1092.3643</c:v>
                </c:pt>
                <c:pt idx="6953">
                  <c:v>1113.6288</c:v>
                </c:pt>
                <c:pt idx="6954">
                  <c:v>1130.6062999999999</c:v>
                </c:pt>
                <c:pt idx="6955">
                  <c:v>1099.6325999999999</c:v>
                </c:pt>
                <c:pt idx="6956">
                  <c:v>1042.0093999999999</c:v>
                </c:pt>
                <c:pt idx="6957">
                  <c:v>973.93870000000004</c:v>
                </c:pt>
                <c:pt idx="6958">
                  <c:v>893.52689999999996</c:v>
                </c:pt>
                <c:pt idx="6959">
                  <c:v>804.46900000000005</c:v>
                </c:pt>
                <c:pt idx="6960">
                  <c:v>768.17740000000003</c:v>
                </c:pt>
                <c:pt idx="6961">
                  <c:v>746.87909999999999</c:v>
                </c:pt>
                <c:pt idx="6962">
                  <c:v>737.04049999999995</c:v>
                </c:pt>
                <c:pt idx="6963">
                  <c:v>734.79290000000003</c:v>
                </c:pt>
                <c:pt idx="6964">
                  <c:v>745.06230000000005</c:v>
                </c:pt>
                <c:pt idx="6965">
                  <c:v>808.0204</c:v>
                </c:pt>
                <c:pt idx="6966">
                  <c:v>964.57510000000002</c:v>
                </c:pt>
                <c:pt idx="6967">
                  <c:v>1077.1205</c:v>
                </c:pt>
                <c:pt idx="6968">
                  <c:v>1138.3153</c:v>
                </c:pt>
                <c:pt idx="6969">
                  <c:v>1144.5899999999999</c:v>
                </c:pt>
                <c:pt idx="6970">
                  <c:v>1149.3353999999999</c:v>
                </c:pt>
                <c:pt idx="6971">
                  <c:v>1118.7929999999999</c:v>
                </c:pt>
                <c:pt idx="6972">
                  <c:v>1130.0289</c:v>
                </c:pt>
                <c:pt idx="6973">
                  <c:v>1110.7068999999999</c:v>
                </c:pt>
                <c:pt idx="6974">
                  <c:v>1101.0444</c:v>
                </c:pt>
                <c:pt idx="6975">
                  <c:v>1085.8994</c:v>
                </c:pt>
                <c:pt idx="6976">
                  <c:v>1046.8364999999999</c:v>
                </c:pt>
                <c:pt idx="6977">
                  <c:v>1071.4984999999999</c:v>
                </c:pt>
                <c:pt idx="6978">
                  <c:v>1098.1380999999999</c:v>
                </c:pt>
                <c:pt idx="6979">
                  <c:v>1058.377</c:v>
                </c:pt>
                <c:pt idx="6980">
                  <c:v>1001.7387</c:v>
                </c:pt>
                <c:pt idx="6981">
                  <c:v>936.15740000000005</c:v>
                </c:pt>
                <c:pt idx="6982">
                  <c:v>831.0462</c:v>
                </c:pt>
                <c:pt idx="6983">
                  <c:v>769.74900000000002</c:v>
                </c:pt>
                <c:pt idx="6984">
                  <c:v>733.0856</c:v>
                </c:pt>
                <c:pt idx="6985">
                  <c:v>722.41139999999996</c:v>
                </c:pt>
                <c:pt idx="6986">
                  <c:v>689.97379999999998</c:v>
                </c:pt>
                <c:pt idx="6987">
                  <c:v>677.07449999999994</c:v>
                </c:pt>
                <c:pt idx="6988">
                  <c:v>667.83450000000005</c:v>
                </c:pt>
                <c:pt idx="6989">
                  <c:v>708.57399999999996</c:v>
                </c:pt>
                <c:pt idx="6990">
                  <c:v>756.72410000000002</c:v>
                </c:pt>
                <c:pt idx="6991">
                  <c:v>804.55290000000002</c:v>
                </c:pt>
                <c:pt idx="6992">
                  <c:v>877.78560000000004</c:v>
                </c:pt>
                <c:pt idx="6993">
                  <c:v>927.31629999999996</c:v>
                </c:pt>
                <c:pt idx="6994">
                  <c:v>939.51859999999999</c:v>
                </c:pt>
                <c:pt idx="6995">
                  <c:v>937.0471</c:v>
                </c:pt>
                <c:pt idx="6996">
                  <c:v>927.04849999999999</c:v>
                </c:pt>
                <c:pt idx="6997">
                  <c:v>902.43610000000001</c:v>
                </c:pt>
                <c:pt idx="6998">
                  <c:v>897.88300000000004</c:v>
                </c:pt>
                <c:pt idx="6999">
                  <c:v>897.82539999999995</c:v>
                </c:pt>
                <c:pt idx="7000">
                  <c:v>904.16650000000004</c:v>
                </c:pt>
                <c:pt idx="7001">
                  <c:v>926.12189999999998</c:v>
                </c:pt>
                <c:pt idx="7002">
                  <c:v>991.05989999999997</c:v>
                </c:pt>
                <c:pt idx="7003">
                  <c:v>968.24929999999995</c:v>
                </c:pt>
                <c:pt idx="7004">
                  <c:v>923.19489999999996</c:v>
                </c:pt>
                <c:pt idx="7005">
                  <c:v>871.65620000000001</c:v>
                </c:pt>
                <c:pt idx="7006">
                  <c:v>804.8338</c:v>
                </c:pt>
                <c:pt idx="7007">
                  <c:v>768.51070000000004</c:v>
                </c:pt>
                <c:pt idx="7008">
                  <c:v>720.7482</c:v>
                </c:pt>
                <c:pt idx="7009">
                  <c:v>698.13919999999996</c:v>
                </c:pt>
                <c:pt idx="7010">
                  <c:v>685.23509999999999</c:v>
                </c:pt>
                <c:pt idx="7011">
                  <c:v>678.17520000000002</c:v>
                </c:pt>
                <c:pt idx="7012">
                  <c:v>688.69880000000001</c:v>
                </c:pt>
                <c:pt idx="7013">
                  <c:v>707.09040000000005</c:v>
                </c:pt>
                <c:pt idx="7014">
                  <c:v>742.875</c:v>
                </c:pt>
                <c:pt idx="7015">
                  <c:v>785.58180000000004</c:v>
                </c:pt>
                <c:pt idx="7016">
                  <c:v>851.07590000000005</c:v>
                </c:pt>
                <c:pt idx="7017">
                  <c:v>897.46659999999997</c:v>
                </c:pt>
                <c:pt idx="7018">
                  <c:v>913.12009999999998</c:v>
                </c:pt>
                <c:pt idx="7019">
                  <c:v>914.8356</c:v>
                </c:pt>
                <c:pt idx="7020">
                  <c:v>908.88329999999996</c:v>
                </c:pt>
                <c:pt idx="7021">
                  <c:v>896.57939999999996</c:v>
                </c:pt>
                <c:pt idx="7022">
                  <c:v>895.80380000000002</c:v>
                </c:pt>
                <c:pt idx="7023">
                  <c:v>905.03639999999996</c:v>
                </c:pt>
                <c:pt idx="7024">
                  <c:v>922.5992</c:v>
                </c:pt>
                <c:pt idx="7025">
                  <c:v>981.74369999999999</c:v>
                </c:pt>
                <c:pt idx="7026">
                  <c:v>1021.3763</c:v>
                </c:pt>
                <c:pt idx="7027">
                  <c:v>997.41189999999995</c:v>
                </c:pt>
                <c:pt idx="7028">
                  <c:v>950.30520000000001</c:v>
                </c:pt>
                <c:pt idx="7029">
                  <c:v>891.1662</c:v>
                </c:pt>
                <c:pt idx="7030">
                  <c:v>816.15440000000001</c:v>
                </c:pt>
                <c:pt idx="7031">
                  <c:v>758.59370000000001</c:v>
                </c:pt>
                <c:pt idx="7032">
                  <c:v>718.39030000000002</c:v>
                </c:pt>
                <c:pt idx="7033">
                  <c:v>703.00369999999998</c:v>
                </c:pt>
                <c:pt idx="7034">
                  <c:v>688.21040000000005</c:v>
                </c:pt>
                <c:pt idx="7035">
                  <c:v>692.58640000000003</c:v>
                </c:pt>
                <c:pt idx="7036">
                  <c:v>706.94380000000001</c:v>
                </c:pt>
                <c:pt idx="7037">
                  <c:v>762.19399999999996</c:v>
                </c:pt>
                <c:pt idx="7038">
                  <c:v>908.49329999999998</c:v>
                </c:pt>
                <c:pt idx="7039">
                  <c:v>1046.0645999999999</c:v>
                </c:pt>
                <c:pt idx="7040">
                  <c:v>1115.422</c:v>
                </c:pt>
                <c:pt idx="7041">
                  <c:v>1137.7239</c:v>
                </c:pt>
                <c:pt idx="7042">
                  <c:v>1142.6708000000001</c:v>
                </c:pt>
                <c:pt idx="7043">
                  <c:v>1120.5228999999999</c:v>
                </c:pt>
                <c:pt idx="7044">
                  <c:v>1130.3615</c:v>
                </c:pt>
                <c:pt idx="7045">
                  <c:v>1120.559</c:v>
                </c:pt>
                <c:pt idx="7046">
                  <c:v>1117.9766999999999</c:v>
                </c:pt>
                <c:pt idx="7047">
                  <c:v>1102.1925000000001</c:v>
                </c:pt>
                <c:pt idx="7048">
                  <c:v>1065.703</c:v>
                </c:pt>
                <c:pt idx="7049">
                  <c:v>1100.6760999999999</c:v>
                </c:pt>
                <c:pt idx="7050">
                  <c:v>1113.1110000000001</c:v>
                </c:pt>
                <c:pt idx="7051">
                  <c:v>1079.6824999999999</c:v>
                </c:pt>
                <c:pt idx="7052">
                  <c:v>1042.4838</c:v>
                </c:pt>
                <c:pt idx="7053">
                  <c:v>978.65430000000003</c:v>
                </c:pt>
                <c:pt idx="7054">
                  <c:v>881.52560000000005</c:v>
                </c:pt>
                <c:pt idx="7055">
                  <c:v>797.62130000000002</c:v>
                </c:pt>
                <c:pt idx="7056">
                  <c:v>764.77329999999995</c:v>
                </c:pt>
                <c:pt idx="7057">
                  <c:v>744.89940000000001</c:v>
                </c:pt>
                <c:pt idx="7058">
                  <c:v>737.02589999999998</c:v>
                </c:pt>
                <c:pt idx="7059">
                  <c:v>729.8954</c:v>
                </c:pt>
                <c:pt idx="7060">
                  <c:v>739.96140000000003</c:v>
                </c:pt>
                <c:pt idx="7061">
                  <c:v>800.87070000000006</c:v>
                </c:pt>
                <c:pt idx="7062">
                  <c:v>938.11749999999995</c:v>
                </c:pt>
                <c:pt idx="7063">
                  <c:v>1039.3937000000001</c:v>
                </c:pt>
                <c:pt idx="7064">
                  <c:v>1113.2748999999999</c:v>
                </c:pt>
                <c:pt idx="7065">
                  <c:v>1132.0427999999999</c:v>
                </c:pt>
                <c:pt idx="7066">
                  <c:v>1139.0671</c:v>
                </c:pt>
                <c:pt idx="7067">
                  <c:v>1117.8058000000001</c:v>
                </c:pt>
                <c:pt idx="7068">
                  <c:v>1127.6783</c:v>
                </c:pt>
                <c:pt idx="7069">
                  <c:v>1128.1572000000001</c:v>
                </c:pt>
                <c:pt idx="7070">
                  <c:v>1127.7155</c:v>
                </c:pt>
                <c:pt idx="7071">
                  <c:v>1110.8107</c:v>
                </c:pt>
                <c:pt idx="7072">
                  <c:v>1067.4691</c:v>
                </c:pt>
                <c:pt idx="7073">
                  <c:v>1083.6631</c:v>
                </c:pt>
                <c:pt idx="7074">
                  <c:v>1115.194</c:v>
                </c:pt>
                <c:pt idx="7075">
                  <c:v>1072.7877000000001</c:v>
                </c:pt>
                <c:pt idx="7076">
                  <c:v>1018.4511</c:v>
                </c:pt>
                <c:pt idx="7077">
                  <c:v>966.91229999999996</c:v>
                </c:pt>
                <c:pt idx="7078">
                  <c:v>882.55290000000002</c:v>
                </c:pt>
                <c:pt idx="7079">
                  <c:v>780.12260000000003</c:v>
                </c:pt>
                <c:pt idx="7080">
                  <c:v>745.87030000000004</c:v>
                </c:pt>
                <c:pt idx="7081">
                  <c:v>718.27149999999995</c:v>
                </c:pt>
                <c:pt idx="7082">
                  <c:v>721.72760000000005</c:v>
                </c:pt>
                <c:pt idx="7083">
                  <c:v>718.29200000000003</c:v>
                </c:pt>
                <c:pt idx="7084">
                  <c:v>736.13930000000005</c:v>
                </c:pt>
                <c:pt idx="7085">
                  <c:v>781.71889999999996</c:v>
                </c:pt>
                <c:pt idx="7086">
                  <c:v>924.70770000000005</c:v>
                </c:pt>
                <c:pt idx="7087">
                  <c:v>1037.5938000000001</c:v>
                </c:pt>
                <c:pt idx="7088">
                  <c:v>1117.1001000000001</c:v>
                </c:pt>
                <c:pt idx="7089">
                  <c:v>1128.7149999999999</c:v>
                </c:pt>
                <c:pt idx="7090">
                  <c:v>1125.2570000000001</c:v>
                </c:pt>
                <c:pt idx="7091">
                  <c:v>1103.8906999999999</c:v>
                </c:pt>
                <c:pt idx="7092">
                  <c:v>1119.1373000000001</c:v>
                </c:pt>
                <c:pt idx="7093">
                  <c:v>1109.8521000000001</c:v>
                </c:pt>
                <c:pt idx="7094">
                  <c:v>1087.6063999999999</c:v>
                </c:pt>
                <c:pt idx="7095">
                  <c:v>1074.4622999999999</c:v>
                </c:pt>
                <c:pt idx="7096">
                  <c:v>1030.2994000000001</c:v>
                </c:pt>
                <c:pt idx="7097">
                  <c:v>1064.7833000000001</c:v>
                </c:pt>
                <c:pt idx="7098">
                  <c:v>1083.0663999999999</c:v>
                </c:pt>
                <c:pt idx="7099">
                  <c:v>1076.1617000000001</c:v>
                </c:pt>
                <c:pt idx="7100">
                  <c:v>1015.7473</c:v>
                </c:pt>
                <c:pt idx="7101">
                  <c:v>948.79750000000001</c:v>
                </c:pt>
                <c:pt idx="7102">
                  <c:v>849.64480000000003</c:v>
                </c:pt>
                <c:pt idx="7103">
                  <c:v>767.37130000000002</c:v>
                </c:pt>
                <c:pt idx="7104">
                  <c:v>728.25699999999995</c:v>
                </c:pt>
                <c:pt idx="7105">
                  <c:v>699.39400000000001</c:v>
                </c:pt>
                <c:pt idx="7106">
                  <c:v>692.99509999999998</c:v>
                </c:pt>
                <c:pt idx="7107">
                  <c:v>692.48850000000004</c:v>
                </c:pt>
                <c:pt idx="7108">
                  <c:v>701.12699999999995</c:v>
                </c:pt>
                <c:pt idx="7109">
                  <c:v>769.83510000000001</c:v>
                </c:pt>
                <c:pt idx="7110">
                  <c:v>903.19010000000003</c:v>
                </c:pt>
                <c:pt idx="7111">
                  <c:v>1027.0155999999999</c:v>
                </c:pt>
                <c:pt idx="7112">
                  <c:v>1089.2814000000001</c:v>
                </c:pt>
                <c:pt idx="7113">
                  <c:v>1080.365</c:v>
                </c:pt>
                <c:pt idx="7114">
                  <c:v>1097.1654000000001</c:v>
                </c:pt>
                <c:pt idx="7115">
                  <c:v>1064.7463</c:v>
                </c:pt>
                <c:pt idx="7116">
                  <c:v>1068.0675000000001</c:v>
                </c:pt>
                <c:pt idx="7117">
                  <c:v>1073.973</c:v>
                </c:pt>
                <c:pt idx="7118">
                  <c:v>1051.2125000000001</c:v>
                </c:pt>
                <c:pt idx="7119">
                  <c:v>1050.4876999999999</c:v>
                </c:pt>
                <c:pt idx="7120">
                  <c:v>1023.2834</c:v>
                </c:pt>
                <c:pt idx="7121">
                  <c:v>1065.8687</c:v>
                </c:pt>
                <c:pt idx="7122">
                  <c:v>1088.3641</c:v>
                </c:pt>
                <c:pt idx="7123">
                  <c:v>1065.7972</c:v>
                </c:pt>
                <c:pt idx="7124">
                  <c:v>999.34879999999998</c:v>
                </c:pt>
                <c:pt idx="7125">
                  <c:v>956.42409999999995</c:v>
                </c:pt>
                <c:pt idx="7126">
                  <c:v>856.58259999999996</c:v>
                </c:pt>
                <c:pt idx="7127">
                  <c:v>775.37030000000004</c:v>
                </c:pt>
                <c:pt idx="7128">
                  <c:v>743.91020000000003</c:v>
                </c:pt>
                <c:pt idx="7129">
                  <c:v>732.35299999999995</c:v>
                </c:pt>
                <c:pt idx="7130">
                  <c:v>728.95839999999998</c:v>
                </c:pt>
                <c:pt idx="7131">
                  <c:v>716.24639999999999</c:v>
                </c:pt>
                <c:pt idx="7132">
                  <c:v>735.32770000000005</c:v>
                </c:pt>
                <c:pt idx="7133">
                  <c:v>791.20180000000005</c:v>
                </c:pt>
                <c:pt idx="7134">
                  <c:v>931.27670000000001</c:v>
                </c:pt>
                <c:pt idx="7135">
                  <c:v>1038.6549</c:v>
                </c:pt>
                <c:pt idx="7136">
                  <c:v>1107.085</c:v>
                </c:pt>
                <c:pt idx="7137">
                  <c:v>1115.3779</c:v>
                </c:pt>
                <c:pt idx="7138">
                  <c:v>1122.752</c:v>
                </c:pt>
                <c:pt idx="7139">
                  <c:v>1093.0815</c:v>
                </c:pt>
                <c:pt idx="7140">
                  <c:v>1109.7318</c:v>
                </c:pt>
                <c:pt idx="7141">
                  <c:v>1090.0590999999999</c:v>
                </c:pt>
                <c:pt idx="7142">
                  <c:v>1083.0391999999999</c:v>
                </c:pt>
                <c:pt idx="7143">
                  <c:v>1079.7183</c:v>
                </c:pt>
                <c:pt idx="7144">
                  <c:v>1060.6664000000001</c:v>
                </c:pt>
                <c:pt idx="7145">
                  <c:v>1096.1455000000001</c:v>
                </c:pt>
                <c:pt idx="7146">
                  <c:v>1087.6827000000001</c:v>
                </c:pt>
                <c:pt idx="7147">
                  <c:v>1048.0387000000001</c:v>
                </c:pt>
                <c:pt idx="7148">
                  <c:v>997.21370000000002</c:v>
                </c:pt>
                <c:pt idx="7149">
                  <c:v>947.85820000000001</c:v>
                </c:pt>
                <c:pt idx="7150">
                  <c:v>863.26729999999998</c:v>
                </c:pt>
                <c:pt idx="7151">
                  <c:v>782.72969999999998</c:v>
                </c:pt>
                <c:pt idx="7152">
                  <c:v>748.62300000000005</c:v>
                </c:pt>
                <c:pt idx="7153">
                  <c:v>729.34739999999999</c:v>
                </c:pt>
                <c:pt idx="7154">
                  <c:v>708.67190000000005</c:v>
                </c:pt>
                <c:pt idx="7155">
                  <c:v>704.75980000000004</c:v>
                </c:pt>
                <c:pt idx="7156">
                  <c:v>712.36919999999998</c:v>
                </c:pt>
                <c:pt idx="7157">
                  <c:v>736.6345</c:v>
                </c:pt>
                <c:pt idx="7158">
                  <c:v>769.61829999999998</c:v>
                </c:pt>
                <c:pt idx="7159">
                  <c:v>838.42330000000004</c:v>
                </c:pt>
                <c:pt idx="7160">
                  <c:v>890.24469999999997</c:v>
                </c:pt>
                <c:pt idx="7161">
                  <c:v>940.14700000000005</c:v>
                </c:pt>
                <c:pt idx="7162">
                  <c:v>964.78060000000005</c:v>
                </c:pt>
                <c:pt idx="7163">
                  <c:v>972.39829999999995</c:v>
                </c:pt>
                <c:pt idx="7164">
                  <c:v>973.58540000000005</c:v>
                </c:pt>
                <c:pt idx="7165">
                  <c:v>968.62080000000003</c:v>
                </c:pt>
                <c:pt idx="7166">
                  <c:v>959.98910000000001</c:v>
                </c:pt>
                <c:pt idx="7167">
                  <c:v>961.52760000000001</c:v>
                </c:pt>
                <c:pt idx="7168">
                  <c:v>959.08569999999997</c:v>
                </c:pt>
                <c:pt idx="7169">
                  <c:v>995.3143</c:v>
                </c:pt>
                <c:pt idx="7170">
                  <c:v>984.93179999999995</c:v>
                </c:pt>
                <c:pt idx="7171">
                  <c:v>960.70650000000001</c:v>
                </c:pt>
                <c:pt idx="7172">
                  <c:v>916.54219999999998</c:v>
                </c:pt>
                <c:pt idx="7173">
                  <c:v>869.72280000000001</c:v>
                </c:pt>
                <c:pt idx="7174">
                  <c:v>813.69380000000001</c:v>
                </c:pt>
                <c:pt idx="7175">
                  <c:v>770.0367</c:v>
                </c:pt>
                <c:pt idx="7176">
                  <c:v>735.82510000000002</c:v>
                </c:pt>
                <c:pt idx="7177">
                  <c:v>699.67139999999995</c:v>
                </c:pt>
                <c:pt idx="7178">
                  <c:v>690.62059999999997</c:v>
                </c:pt>
                <c:pt idx="7179">
                  <c:v>688.1472</c:v>
                </c:pt>
                <c:pt idx="7180">
                  <c:v>690.50559999999996</c:v>
                </c:pt>
                <c:pt idx="7181">
                  <c:v>689.80560000000003</c:v>
                </c:pt>
                <c:pt idx="7182">
                  <c:v>715.76070000000004</c:v>
                </c:pt>
                <c:pt idx="7183">
                  <c:v>751.59990000000005</c:v>
                </c:pt>
                <c:pt idx="7184">
                  <c:v>799.32349999999997</c:v>
                </c:pt>
                <c:pt idx="7185">
                  <c:v>891.08259999999996</c:v>
                </c:pt>
                <c:pt idx="7186">
                  <c:v>937.97950000000003</c:v>
                </c:pt>
                <c:pt idx="7187">
                  <c:v>953.25409999999999</c:v>
                </c:pt>
                <c:pt idx="7188">
                  <c:v>966.10360000000003</c:v>
                </c:pt>
                <c:pt idx="7189">
                  <c:v>970.18299999999999</c:v>
                </c:pt>
                <c:pt idx="7190">
                  <c:v>957.64649999999995</c:v>
                </c:pt>
                <c:pt idx="7191">
                  <c:v>968.49329999999998</c:v>
                </c:pt>
                <c:pt idx="7192">
                  <c:v>954.08860000000004</c:v>
                </c:pt>
                <c:pt idx="7193">
                  <c:v>975.78340000000003</c:v>
                </c:pt>
                <c:pt idx="7194">
                  <c:v>995.8261</c:v>
                </c:pt>
                <c:pt idx="7195">
                  <c:v>978.47050000000002</c:v>
                </c:pt>
                <c:pt idx="7196">
                  <c:v>954.55600000000004</c:v>
                </c:pt>
                <c:pt idx="7197">
                  <c:v>916.8972</c:v>
                </c:pt>
                <c:pt idx="7198">
                  <c:v>865.96109999999999</c:v>
                </c:pt>
                <c:pt idx="7199">
                  <c:v>798.95010000000002</c:v>
                </c:pt>
                <c:pt idx="7200">
                  <c:v>747.43240000000003</c:v>
                </c:pt>
                <c:pt idx="7201">
                  <c:v>723.1816</c:v>
                </c:pt>
                <c:pt idx="7202">
                  <c:v>708.14649999999995</c:v>
                </c:pt>
                <c:pt idx="7203">
                  <c:v>703.04930000000002</c:v>
                </c:pt>
                <c:pt idx="7204">
                  <c:v>711.92750000000001</c:v>
                </c:pt>
                <c:pt idx="7205">
                  <c:v>735.01639999999998</c:v>
                </c:pt>
                <c:pt idx="7206">
                  <c:v>804.66330000000005</c:v>
                </c:pt>
                <c:pt idx="7207">
                  <c:v>969.32100000000003</c:v>
                </c:pt>
                <c:pt idx="7208">
                  <c:v>1055.1285</c:v>
                </c:pt>
                <c:pt idx="7209">
                  <c:v>1127.0882999999999</c:v>
                </c:pt>
                <c:pt idx="7210">
                  <c:v>1120.0028</c:v>
                </c:pt>
                <c:pt idx="7211">
                  <c:v>1112.0047999999999</c:v>
                </c:pt>
                <c:pt idx="7212">
                  <c:v>1090.8851</c:v>
                </c:pt>
                <c:pt idx="7213">
                  <c:v>1106.4672</c:v>
                </c:pt>
                <c:pt idx="7214">
                  <c:v>1105.8407</c:v>
                </c:pt>
                <c:pt idx="7215">
                  <c:v>1110.5216</c:v>
                </c:pt>
                <c:pt idx="7216">
                  <c:v>1114.1895999999999</c:v>
                </c:pt>
                <c:pt idx="7217">
                  <c:v>1142.1305</c:v>
                </c:pt>
                <c:pt idx="7218">
                  <c:v>1167.5708999999999</c:v>
                </c:pt>
                <c:pt idx="7219">
                  <c:v>1129.3184000000001</c:v>
                </c:pt>
                <c:pt idx="7220">
                  <c:v>1106.145</c:v>
                </c:pt>
                <c:pt idx="7221">
                  <c:v>1045.3571999999999</c:v>
                </c:pt>
                <c:pt idx="7222">
                  <c:v>968.68579999999997</c:v>
                </c:pt>
                <c:pt idx="7223">
                  <c:v>874.28189999999995</c:v>
                </c:pt>
                <c:pt idx="7224">
                  <c:v>811.94659999999999</c:v>
                </c:pt>
                <c:pt idx="7225">
                  <c:v>784.47080000000005</c:v>
                </c:pt>
                <c:pt idx="7226">
                  <c:v>780.66819999999996</c:v>
                </c:pt>
                <c:pt idx="7227">
                  <c:v>770.24189999999999</c:v>
                </c:pt>
                <c:pt idx="7228">
                  <c:v>763.17920000000004</c:v>
                </c:pt>
                <c:pt idx="7229">
                  <c:v>783.67060000000004</c:v>
                </c:pt>
                <c:pt idx="7230">
                  <c:v>855.08109999999999</c:v>
                </c:pt>
                <c:pt idx="7231">
                  <c:v>1023.7122000000001</c:v>
                </c:pt>
                <c:pt idx="7232">
                  <c:v>1107.6097</c:v>
                </c:pt>
                <c:pt idx="7233">
                  <c:v>1187.2766999999999</c:v>
                </c:pt>
                <c:pt idx="7234">
                  <c:v>1165.3246999999999</c:v>
                </c:pt>
                <c:pt idx="7235">
                  <c:v>1163.4314999999999</c:v>
                </c:pt>
                <c:pt idx="7236">
                  <c:v>1146.6185</c:v>
                </c:pt>
                <c:pt idx="7237">
                  <c:v>1169.0585000000001</c:v>
                </c:pt>
                <c:pt idx="7238">
                  <c:v>1171.6878999999999</c:v>
                </c:pt>
                <c:pt idx="7239">
                  <c:v>1164.5418999999999</c:v>
                </c:pt>
                <c:pt idx="7240">
                  <c:v>1172.5897</c:v>
                </c:pt>
                <c:pt idx="7241">
                  <c:v>1194.1364000000001</c:v>
                </c:pt>
                <c:pt idx="7242">
                  <c:v>1240.2297000000001</c:v>
                </c:pt>
                <c:pt idx="7243">
                  <c:v>1200.0516</c:v>
                </c:pt>
                <c:pt idx="7244">
                  <c:v>1158.9684</c:v>
                </c:pt>
                <c:pt idx="7245">
                  <c:v>1122.8387</c:v>
                </c:pt>
                <c:pt idx="7246">
                  <c:v>1049.0346999999999</c:v>
                </c:pt>
                <c:pt idx="7247">
                  <c:v>953.75340000000006</c:v>
                </c:pt>
                <c:pt idx="7248">
                  <c:v>872.46220000000005</c:v>
                </c:pt>
                <c:pt idx="7249">
                  <c:v>838.08510000000001</c:v>
                </c:pt>
                <c:pt idx="7250">
                  <c:v>830.64409999999998</c:v>
                </c:pt>
                <c:pt idx="7251">
                  <c:v>822.35749999999996</c:v>
                </c:pt>
                <c:pt idx="7252">
                  <c:v>822.39499999999998</c:v>
                </c:pt>
                <c:pt idx="7253">
                  <c:v>842.27909999999997</c:v>
                </c:pt>
                <c:pt idx="7254">
                  <c:v>917.86</c:v>
                </c:pt>
                <c:pt idx="7255">
                  <c:v>1076.3507</c:v>
                </c:pt>
                <c:pt idx="7256">
                  <c:v>1158.8561</c:v>
                </c:pt>
                <c:pt idx="7257">
                  <c:v>1224.828</c:v>
                </c:pt>
                <c:pt idx="7258">
                  <c:v>1219.1854000000001</c:v>
                </c:pt>
                <c:pt idx="7259">
                  <c:v>1207.7914000000001</c:v>
                </c:pt>
                <c:pt idx="7260">
                  <c:v>1171.9813999999999</c:v>
                </c:pt>
                <c:pt idx="7261">
                  <c:v>1191.4248</c:v>
                </c:pt>
                <c:pt idx="7262">
                  <c:v>1189.2596000000001</c:v>
                </c:pt>
                <c:pt idx="7263">
                  <c:v>1192.0931</c:v>
                </c:pt>
                <c:pt idx="7264">
                  <c:v>1192.5217</c:v>
                </c:pt>
                <c:pt idx="7265">
                  <c:v>1238.0907999999999</c:v>
                </c:pt>
                <c:pt idx="7266">
                  <c:v>1269.6156000000001</c:v>
                </c:pt>
                <c:pt idx="7267">
                  <c:v>1230.6075000000001</c:v>
                </c:pt>
                <c:pt idx="7268">
                  <c:v>1196.8541</c:v>
                </c:pt>
                <c:pt idx="7269">
                  <c:v>1145.3069</c:v>
                </c:pt>
                <c:pt idx="7270">
                  <c:v>1074.9037000000001</c:v>
                </c:pt>
                <c:pt idx="7271">
                  <c:v>973.55010000000004</c:v>
                </c:pt>
                <c:pt idx="7272">
                  <c:v>896.98850000000004</c:v>
                </c:pt>
                <c:pt idx="7273">
                  <c:v>859.85199999999998</c:v>
                </c:pt>
                <c:pt idx="7274">
                  <c:v>843.93140000000005</c:v>
                </c:pt>
                <c:pt idx="7275">
                  <c:v>828.65110000000004</c:v>
                </c:pt>
                <c:pt idx="7276">
                  <c:v>836.86929999999995</c:v>
                </c:pt>
                <c:pt idx="7277">
                  <c:v>847.39769999999999</c:v>
                </c:pt>
                <c:pt idx="7278">
                  <c:v>917.54719999999998</c:v>
                </c:pt>
                <c:pt idx="7279">
                  <c:v>1076.4166</c:v>
                </c:pt>
                <c:pt idx="7280">
                  <c:v>1158.6744000000001</c:v>
                </c:pt>
                <c:pt idx="7281">
                  <c:v>1235.7865999999999</c:v>
                </c:pt>
                <c:pt idx="7282">
                  <c:v>1241.9387999999999</c:v>
                </c:pt>
                <c:pt idx="7283">
                  <c:v>1240.4662000000001</c:v>
                </c:pt>
                <c:pt idx="7284">
                  <c:v>1196.2872</c:v>
                </c:pt>
                <c:pt idx="7285">
                  <c:v>1204.6197999999999</c:v>
                </c:pt>
                <c:pt idx="7286">
                  <c:v>1200.5405000000001</c:v>
                </c:pt>
                <c:pt idx="7287">
                  <c:v>1192.9187999999999</c:v>
                </c:pt>
                <c:pt idx="7288">
                  <c:v>1191.8314</c:v>
                </c:pt>
                <c:pt idx="7289">
                  <c:v>1216.9266</c:v>
                </c:pt>
                <c:pt idx="7290">
                  <c:v>1225.0325</c:v>
                </c:pt>
                <c:pt idx="7291">
                  <c:v>1179.3829000000001</c:v>
                </c:pt>
                <c:pt idx="7292">
                  <c:v>1138.1522</c:v>
                </c:pt>
                <c:pt idx="7293">
                  <c:v>1095.3873000000001</c:v>
                </c:pt>
                <c:pt idx="7294">
                  <c:v>1021.9981</c:v>
                </c:pt>
                <c:pt idx="7295">
                  <c:v>927.32330000000002</c:v>
                </c:pt>
                <c:pt idx="7296">
                  <c:v>851.1848</c:v>
                </c:pt>
                <c:pt idx="7297">
                  <c:v>814.11059999999998</c:v>
                </c:pt>
                <c:pt idx="7298">
                  <c:v>799.79669999999999</c:v>
                </c:pt>
                <c:pt idx="7299">
                  <c:v>786.72919999999999</c:v>
                </c:pt>
                <c:pt idx="7300">
                  <c:v>790.56330000000003</c:v>
                </c:pt>
                <c:pt idx="7301">
                  <c:v>808.10860000000002</c:v>
                </c:pt>
                <c:pt idx="7302">
                  <c:v>877.61400000000003</c:v>
                </c:pt>
                <c:pt idx="7303">
                  <c:v>1033.0604000000001</c:v>
                </c:pt>
                <c:pt idx="7304">
                  <c:v>1114.5024000000001</c:v>
                </c:pt>
                <c:pt idx="7305">
                  <c:v>1188.5089</c:v>
                </c:pt>
                <c:pt idx="7306">
                  <c:v>1185.4117000000001</c:v>
                </c:pt>
                <c:pt idx="7307">
                  <c:v>1163.1464000000001</c:v>
                </c:pt>
                <c:pt idx="7308">
                  <c:v>1136.452</c:v>
                </c:pt>
                <c:pt idx="7309">
                  <c:v>1140.5110999999999</c:v>
                </c:pt>
                <c:pt idx="7310">
                  <c:v>1139.7281</c:v>
                </c:pt>
                <c:pt idx="7311">
                  <c:v>1138.5406</c:v>
                </c:pt>
                <c:pt idx="7312">
                  <c:v>1153.9873</c:v>
                </c:pt>
                <c:pt idx="7313">
                  <c:v>1198.1031</c:v>
                </c:pt>
                <c:pt idx="7314">
                  <c:v>1214.104</c:v>
                </c:pt>
                <c:pt idx="7315">
                  <c:v>1180.213</c:v>
                </c:pt>
                <c:pt idx="7316">
                  <c:v>1130.2865999999999</c:v>
                </c:pt>
                <c:pt idx="7317">
                  <c:v>1086.2266999999999</c:v>
                </c:pt>
                <c:pt idx="7318">
                  <c:v>1025.223</c:v>
                </c:pt>
                <c:pt idx="7319">
                  <c:v>939.97969999999998</c:v>
                </c:pt>
                <c:pt idx="7320">
                  <c:v>855.92579999999998</c:v>
                </c:pt>
                <c:pt idx="7321">
                  <c:v>838.85889999999995</c:v>
                </c:pt>
                <c:pt idx="7322">
                  <c:v>823.15350000000001</c:v>
                </c:pt>
                <c:pt idx="7323">
                  <c:v>800.87869999999998</c:v>
                </c:pt>
                <c:pt idx="7324">
                  <c:v>795.77290000000005</c:v>
                </c:pt>
                <c:pt idx="7325">
                  <c:v>794.87530000000004</c:v>
                </c:pt>
                <c:pt idx="7326">
                  <c:v>831.94820000000004</c:v>
                </c:pt>
                <c:pt idx="7327">
                  <c:v>854.25980000000004</c:v>
                </c:pt>
                <c:pt idx="7328">
                  <c:v>885.33870000000002</c:v>
                </c:pt>
                <c:pt idx="7329">
                  <c:v>960.73350000000005</c:v>
                </c:pt>
                <c:pt idx="7330">
                  <c:v>1013.5410000000001</c:v>
                </c:pt>
                <c:pt idx="7331">
                  <c:v>1016.1618999999999</c:v>
                </c:pt>
                <c:pt idx="7332">
                  <c:v>1014.09</c:v>
                </c:pt>
                <c:pt idx="7333">
                  <c:v>1022.9872</c:v>
                </c:pt>
                <c:pt idx="7334">
                  <c:v>1010.3791</c:v>
                </c:pt>
                <c:pt idx="7335">
                  <c:v>1006.3613</c:v>
                </c:pt>
                <c:pt idx="7336">
                  <c:v>1009.5961</c:v>
                </c:pt>
                <c:pt idx="7337">
                  <c:v>1075.1578</c:v>
                </c:pt>
                <c:pt idx="7338">
                  <c:v>1078.4514999999999</c:v>
                </c:pt>
                <c:pt idx="7339">
                  <c:v>1056.0223000000001</c:v>
                </c:pt>
                <c:pt idx="7340">
                  <c:v>1026.1397999999999</c:v>
                </c:pt>
                <c:pt idx="7341">
                  <c:v>977.67939999999999</c:v>
                </c:pt>
                <c:pt idx="7342">
                  <c:v>929.72170000000006</c:v>
                </c:pt>
                <c:pt idx="7343">
                  <c:v>859.52229999999997</c:v>
                </c:pt>
                <c:pt idx="7344">
                  <c:v>803.01149999999996</c:v>
                </c:pt>
                <c:pt idx="7345">
                  <c:v>773.93409999999994</c:v>
                </c:pt>
                <c:pt idx="7346">
                  <c:v>747.47829999999999</c:v>
                </c:pt>
                <c:pt idx="7347">
                  <c:v>728.41520000000003</c:v>
                </c:pt>
                <c:pt idx="7348">
                  <c:v>726.20010000000002</c:v>
                </c:pt>
                <c:pt idx="7349">
                  <c:v>735.31370000000004</c:v>
                </c:pt>
                <c:pt idx="7350">
                  <c:v>788.76890000000003</c:v>
                </c:pt>
                <c:pt idx="7351">
                  <c:v>810.69949999999994</c:v>
                </c:pt>
                <c:pt idx="7352">
                  <c:v>843.45540000000005</c:v>
                </c:pt>
                <c:pt idx="7353">
                  <c:v>919.27660000000003</c:v>
                </c:pt>
                <c:pt idx="7354">
                  <c:v>980.09519999999998</c:v>
                </c:pt>
                <c:pt idx="7355">
                  <c:v>992.17190000000005</c:v>
                </c:pt>
                <c:pt idx="7356">
                  <c:v>995.89639999999997</c:v>
                </c:pt>
                <c:pt idx="7357">
                  <c:v>999.73490000000004</c:v>
                </c:pt>
                <c:pt idx="7358">
                  <c:v>1001.2973</c:v>
                </c:pt>
                <c:pt idx="7359">
                  <c:v>995.3845</c:v>
                </c:pt>
                <c:pt idx="7360">
                  <c:v>991.42939999999999</c:v>
                </c:pt>
                <c:pt idx="7361">
                  <c:v>1070.1986999999999</c:v>
                </c:pt>
                <c:pt idx="7362">
                  <c:v>1070.8221000000001</c:v>
                </c:pt>
                <c:pt idx="7363">
                  <c:v>1059.7014999999999</c:v>
                </c:pt>
                <c:pt idx="7364">
                  <c:v>1036.3765000000001</c:v>
                </c:pt>
                <c:pt idx="7365">
                  <c:v>987.0942</c:v>
                </c:pt>
                <c:pt idx="7366">
                  <c:v>931.03449999999998</c:v>
                </c:pt>
                <c:pt idx="7367">
                  <c:v>865.03909999999996</c:v>
                </c:pt>
                <c:pt idx="7368">
                  <c:v>801.43970000000002</c:v>
                </c:pt>
                <c:pt idx="7369">
                  <c:v>763.99689999999998</c:v>
                </c:pt>
                <c:pt idx="7370">
                  <c:v>763.57619999999997</c:v>
                </c:pt>
                <c:pt idx="7371">
                  <c:v>742.82280000000003</c:v>
                </c:pt>
                <c:pt idx="7372">
                  <c:v>727.26509999999996</c:v>
                </c:pt>
                <c:pt idx="7373">
                  <c:v>750.25130000000001</c:v>
                </c:pt>
                <c:pt idx="7374">
                  <c:v>825.66089999999997</c:v>
                </c:pt>
                <c:pt idx="7375">
                  <c:v>991.47559999999999</c:v>
                </c:pt>
                <c:pt idx="7376">
                  <c:v>1100.3214</c:v>
                </c:pt>
                <c:pt idx="7377">
                  <c:v>1178.9350999999999</c:v>
                </c:pt>
                <c:pt idx="7378">
                  <c:v>1190.8234</c:v>
                </c:pt>
                <c:pt idx="7379">
                  <c:v>1201.1161</c:v>
                </c:pt>
                <c:pt idx="7380">
                  <c:v>1178.3945000000001</c:v>
                </c:pt>
                <c:pt idx="7381">
                  <c:v>1194.6478</c:v>
                </c:pt>
                <c:pt idx="7382">
                  <c:v>1198.3339000000001</c:v>
                </c:pt>
                <c:pt idx="7383">
                  <c:v>1197.4337</c:v>
                </c:pt>
                <c:pt idx="7384">
                  <c:v>1196.1488999999999</c:v>
                </c:pt>
                <c:pt idx="7385">
                  <c:v>1223.8777</c:v>
                </c:pt>
                <c:pt idx="7386">
                  <c:v>1233.3639000000001</c:v>
                </c:pt>
                <c:pt idx="7387">
                  <c:v>1180.7275</c:v>
                </c:pt>
                <c:pt idx="7388">
                  <c:v>1138.1818000000001</c:v>
                </c:pt>
                <c:pt idx="7389">
                  <c:v>1095.6188</c:v>
                </c:pt>
                <c:pt idx="7390">
                  <c:v>1014.1667</c:v>
                </c:pt>
                <c:pt idx="7391">
                  <c:v>921.15390000000002</c:v>
                </c:pt>
                <c:pt idx="7392">
                  <c:v>842.2441</c:v>
                </c:pt>
                <c:pt idx="7393">
                  <c:v>801.28510000000006</c:v>
                </c:pt>
                <c:pt idx="7394">
                  <c:v>789.01139999999998</c:v>
                </c:pt>
                <c:pt idx="7395">
                  <c:v>791.99300000000005</c:v>
                </c:pt>
                <c:pt idx="7396">
                  <c:v>761.47490000000005</c:v>
                </c:pt>
                <c:pt idx="7397">
                  <c:v>778.9058</c:v>
                </c:pt>
                <c:pt idx="7398">
                  <c:v>848.35739999999998</c:v>
                </c:pt>
                <c:pt idx="7399">
                  <c:v>1017.7119</c:v>
                </c:pt>
                <c:pt idx="7400">
                  <c:v>1096.1470999999999</c:v>
                </c:pt>
                <c:pt idx="7401">
                  <c:v>1209.0477000000001</c:v>
                </c:pt>
                <c:pt idx="7402">
                  <c:v>1222.1187</c:v>
                </c:pt>
                <c:pt idx="7403">
                  <c:v>1228.6898000000001</c:v>
                </c:pt>
                <c:pt idx="7404">
                  <c:v>1207.9197999999999</c:v>
                </c:pt>
                <c:pt idx="7405">
                  <c:v>1232.9149</c:v>
                </c:pt>
                <c:pt idx="7406">
                  <c:v>1235.0718999999999</c:v>
                </c:pt>
                <c:pt idx="7407">
                  <c:v>1243.0724</c:v>
                </c:pt>
                <c:pt idx="7408">
                  <c:v>1225.7084</c:v>
                </c:pt>
                <c:pt idx="7409">
                  <c:v>1232.6967</c:v>
                </c:pt>
                <c:pt idx="7410">
                  <c:v>1247.6647</c:v>
                </c:pt>
                <c:pt idx="7411">
                  <c:v>1221.2728</c:v>
                </c:pt>
                <c:pt idx="7412">
                  <c:v>1174.4920999999999</c:v>
                </c:pt>
                <c:pt idx="7413">
                  <c:v>1120.8108999999999</c:v>
                </c:pt>
                <c:pt idx="7414">
                  <c:v>1052.2391</c:v>
                </c:pt>
                <c:pt idx="7415">
                  <c:v>955.05470000000003</c:v>
                </c:pt>
                <c:pt idx="7416">
                  <c:v>875.98649999999998</c:v>
                </c:pt>
                <c:pt idx="7417">
                  <c:v>830.85640000000001</c:v>
                </c:pt>
                <c:pt idx="7418">
                  <c:v>809.51340000000005</c:v>
                </c:pt>
                <c:pt idx="7419">
                  <c:v>792.17409999999995</c:v>
                </c:pt>
                <c:pt idx="7420">
                  <c:v>792.19849999999997</c:v>
                </c:pt>
                <c:pt idx="7421">
                  <c:v>811.98810000000003</c:v>
                </c:pt>
                <c:pt idx="7422">
                  <c:v>872.30539999999996</c:v>
                </c:pt>
                <c:pt idx="7423">
                  <c:v>1039.2465999999999</c:v>
                </c:pt>
                <c:pt idx="7424">
                  <c:v>1139.703</c:v>
                </c:pt>
                <c:pt idx="7425">
                  <c:v>1218.1075000000001</c:v>
                </c:pt>
                <c:pt idx="7426">
                  <c:v>1220.1695999999999</c:v>
                </c:pt>
                <c:pt idx="7427">
                  <c:v>1227.1764000000001</c:v>
                </c:pt>
                <c:pt idx="7428">
                  <c:v>1196.1442</c:v>
                </c:pt>
                <c:pt idx="7429">
                  <c:v>1216.4281000000001</c:v>
                </c:pt>
                <c:pt idx="7430">
                  <c:v>1219</c:v>
                </c:pt>
                <c:pt idx="7431">
                  <c:v>1233.8</c:v>
                </c:pt>
                <c:pt idx="7432">
                  <c:v>1252.3</c:v>
                </c:pt>
                <c:pt idx="7433">
                  <c:v>1266.5999999999999</c:v>
                </c:pt>
                <c:pt idx="7434">
                  <c:v>1242.5999999999999</c:v>
                </c:pt>
                <c:pt idx="7435">
                  <c:v>1206.4000000000001</c:v>
                </c:pt>
                <c:pt idx="7436">
                  <c:v>1168.2</c:v>
                </c:pt>
                <c:pt idx="7437">
                  <c:v>1117.5</c:v>
                </c:pt>
                <c:pt idx="7438">
                  <c:v>1021.2</c:v>
                </c:pt>
                <c:pt idx="7439">
                  <c:v>912.2</c:v>
                </c:pt>
                <c:pt idx="7440">
                  <c:v>859.1</c:v>
                </c:pt>
                <c:pt idx="7441">
                  <c:v>829</c:v>
                </c:pt>
                <c:pt idx="7442">
                  <c:v>809.6</c:v>
                </c:pt>
                <c:pt idx="7443">
                  <c:v>812.1</c:v>
                </c:pt>
                <c:pt idx="7444">
                  <c:v>825.2</c:v>
                </c:pt>
                <c:pt idx="7445">
                  <c:v>865.9</c:v>
                </c:pt>
                <c:pt idx="7446">
                  <c:v>1000.1</c:v>
                </c:pt>
                <c:pt idx="7447">
                  <c:v>1151.9000000000001</c:v>
                </c:pt>
                <c:pt idx="7448">
                  <c:v>1239.5</c:v>
                </c:pt>
                <c:pt idx="7449">
                  <c:v>1279.8</c:v>
                </c:pt>
                <c:pt idx="7450">
                  <c:v>1275.3</c:v>
                </c:pt>
                <c:pt idx="7451">
                  <c:v>1267.5999999999999</c:v>
                </c:pt>
                <c:pt idx="7452">
                  <c:v>1245.8</c:v>
                </c:pt>
                <c:pt idx="7453">
                  <c:v>1274.8</c:v>
                </c:pt>
                <c:pt idx="7454">
                  <c:v>1255.4000000000001</c:v>
                </c:pt>
                <c:pt idx="7455">
                  <c:v>1268</c:v>
                </c:pt>
                <c:pt idx="7456">
                  <c:v>1284.0999999999999</c:v>
                </c:pt>
                <c:pt idx="7457">
                  <c:v>1286.3</c:v>
                </c:pt>
                <c:pt idx="7458">
                  <c:v>1254.8</c:v>
                </c:pt>
                <c:pt idx="7459">
                  <c:v>1212.2</c:v>
                </c:pt>
                <c:pt idx="7460">
                  <c:v>1170.9000000000001</c:v>
                </c:pt>
                <c:pt idx="7461">
                  <c:v>1109.2</c:v>
                </c:pt>
                <c:pt idx="7462">
                  <c:v>1027.5</c:v>
                </c:pt>
                <c:pt idx="7463">
                  <c:v>933.9</c:v>
                </c:pt>
                <c:pt idx="7464">
                  <c:v>865.2</c:v>
                </c:pt>
                <c:pt idx="7465">
                  <c:v>827.2</c:v>
                </c:pt>
                <c:pt idx="7466">
                  <c:v>808.8</c:v>
                </c:pt>
                <c:pt idx="7467">
                  <c:v>797.6</c:v>
                </c:pt>
                <c:pt idx="7468">
                  <c:v>807.2</c:v>
                </c:pt>
                <c:pt idx="7469">
                  <c:v>851.3</c:v>
                </c:pt>
                <c:pt idx="7470">
                  <c:v>980.7</c:v>
                </c:pt>
                <c:pt idx="7471">
                  <c:v>1132.3</c:v>
                </c:pt>
                <c:pt idx="7472">
                  <c:v>1214.3</c:v>
                </c:pt>
                <c:pt idx="7473">
                  <c:v>1245.7</c:v>
                </c:pt>
                <c:pt idx="7474">
                  <c:v>1228.5999999999999</c:v>
                </c:pt>
                <c:pt idx="7475">
                  <c:v>1213.5999999999999</c:v>
                </c:pt>
                <c:pt idx="7476">
                  <c:v>1192.2</c:v>
                </c:pt>
                <c:pt idx="7477">
                  <c:v>1212</c:v>
                </c:pt>
                <c:pt idx="7478">
                  <c:v>1196.4000000000001</c:v>
                </c:pt>
                <c:pt idx="7479">
                  <c:v>1194.3</c:v>
                </c:pt>
                <c:pt idx="7480">
                  <c:v>1217</c:v>
                </c:pt>
                <c:pt idx="7481">
                  <c:v>1222.8</c:v>
                </c:pt>
                <c:pt idx="7482">
                  <c:v>1195.4000000000001</c:v>
                </c:pt>
                <c:pt idx="7483">
                  <c:v>1150.7</c:v>
                </c:pt>
                <c:pt idx="7484">
                  <c:v>1103.3</c:v>
                </c:pt>
                <c:pt idx="7485">
                  <c:v>1047.4000000000001</c:v>
                </c:pt>
                <c:pt idx="7486">
                  <c:v>964</c:v>
                </c:pt>
                <c:pt idx="7487">
                  <c:v>880.4</c:v>
                </c:pt>
                <c:pt idx="7488">
                  <c:v>829</c:v>
                </c:pt>
                <c:pt idx="7489">
                  <c:v>787.2</c:v>
                </c:pt>
                <c:pt idx="7490">
                  <c:v>756.6</c:v>
                </c:pt>
                <c:pt idx="7491">
                  <c:v>749.1</c:v>
                </c:pt>
                <c:pt idx="7492">
                  <c:v>745.3</c:v>
                </c:pt>
                <c:pt idx="7493">
                  <c:v>754.2</c:v>
                </c:pt>
                <c:pt idx="7494">
                  <c:v>801.4</c:v>
                </c:pt>
                <c:pt idx="7495">
                  <c:v>841.5</c:v>
                </c:pt>
                <c:pt idx="7496">
                  <c:v>897.4</c:v>
                </c:pt>
                <c:pt idx="7497">
                  <c:v>965.4</c:v>
                </c:pt>
                <c:pt idx="7498">
                  <c:v>996.5</c:v>
                </c:pt>
                <c:pt idx="7499">
                  <c:v>1004</c:v>
                </c:pt>
                <c:pt idx="7500">
                  <c:v>1000</c:v>
                </c:pt>
                <c:pt idx="7501">
                  <c:v>999.2</c:v>
                </c:pt>
                <c:pt idx="7502">
                  <c:v>991.5</c:v>
                </c:pt>
                <c:pt idx="7503">
                  <c:v>1000.9</c:v>
                </c:pt>
                <c:pt idx="7504">
                  <c:v>1045.8</c:v>
                </c:pt>
                <c:pt idx="7505">
                  <c:v>1070.5</c:v>
                </c:pt>
                <c:pt idx="7506">
                  <c:v>1051.0999999999999</c:v>
                </c:pt>
                <c:pt idx="7507">
                  <c:v>1022.5</c:v>
                </c:pt>
                <c:pt idx="7508">
                  <c:v>985.5</c:v>
                </c:pt>
                <c:pt idx="7509">
                  <c:v>940.4</c:v>
                </c:pt>
                <c:pt idx="7510">
                  <c:v>886.7</c:v>
                </c:pt>
                <c:pt idx="7511">
                  <c:v>834.5</c:v>
                </c:pt>
                <c:pt idx="7512">
                  <c:v>782.4</c:v>
                </c:pt>
                <c:pt idx="7513">
                  <c:v>746.4</c:v>
                </c:pt>
                <c:pt idx="7514">
                  <c:v>724.9</c:v>
                </c:pt>
                <c:pt idx="7515">
                  <c:v>712.9</c:v>
                </c:pt>
                <c:pt idx="7516">
                  <c:v>710.5</c:v>
                </c:pt>
                <c:pt idx="7517">
                  <c:v>715.2</c:v>
                </c:pt>
                <c:pt idx="7518">
                  <c:v>749.2</c:v>
                </c:pt>
                <c:pt idx="7519">
                  <c:v>793</c:v>
                </c:pt>
                <c:pt idx="7520">
                  <c:v>845.9</c:v>
                </c:pt>
                <c:pt idx="7521">
                  <c:v>909.7</c:v>
                </c:pt>
                <c:pt idx="7522">
                  <c:v>943.7</c:v>
                </c:pt>
                <c:pt idx="7523">
                  <c:v>956.9</c:v>
                </c:pt>
                <c:pt idx="7524">
                  <c:v>954.8</c:v>
                </c:pt>
                <c:pt idx="7525">
                  <c:v>968.7</c:v>
                </c:pt>
                <c:pt idx="7526">
                  <c:v>969.8</c:v>
                </c:pt>
                <c:pt idx="7527">
                  <c:v>982.7</c:v>
                </c:pt>
                <c:pt idx="7528">
                  <c:v>1037.9000000000001</c:v>
                </c:pt>
                <c:pt idx="7529">
                  <c:v>1072.7</c:v>
                </c:pt>
                <c:pt idx="7530">
                  <c:v>1067.4000000000001</c:v>
                </c:pt>
                <c:pt idx="7531">
                  <c:v>1057.5</c:v>
                </c:pt>
                <c:pt idx="7532">
                  <c:v>1024.0999999999999</c:v>
                </c:pt>
                <c:pt idx="7533">
                  <c:v>981.3</c:v>
                </c:pt>
                <c:pt idx="7534">
                  <c:v>910.9</c:v>
                </c:pt>
                <c:pt idx="7535">
                  <c:v>827.2</c:v>
                </c:pt>
                <c:pt idx="7536">
                  <c:v>780.7</c:v>
                </c:pt>
                <c:pt idx="7537">
                  <c:v>748.2</c:v>
                </c:pt>
                <c:pt idx="7538">
                  <c:v>737</c:v>
                </c:pt>
                <c:pt idx="7539">
                  <c:v>735.3</c:v>
                </c:pt>
                <c:pt idx="7540">
                  <c:v>750</c:v>
                </c:pt>
                <c:pt idx="7541">
                  <c:v>786.6</c:v>
                </c:pt>
                <c:pt idx="7542">
                  <c:v>910.1</c:v>
                </c:pt>
                <c:pt idx="7543">
                  <c:v>1075.5</c:v>
                </c:pt>
                <c:pt idx="7544">
                  <c:v>1168.8</c:v>
                </c:pt>
                <c:pt idx="7545">
                  <c:v>1211.8</c:v>
                </c:pt>
                <c:pt idx="7546">
                  <c:v>1208.9816000000001</c:v>
                </c:pt>
                <c:pt idx="7547">
                  <c:v>1226.3339000000001</c:v>
                </c:pt>
                <c:pt idx="7548">
                  <c:v>1201.8158000000001</c:v>
                </c:pt>
                <c:pt idx="7549">
                  <c:v>1216.3699999999999</c:v>
                </c:pt>
                <c:pt idx="7550">
                  <c:v>1230.691</c:v>
                </c:pt>
                <c:pt idx="7551">
                  <c:v>1223.9160999999999</c:v>
                </c:pt>
                <c:pt idx="7552">
                  <c:v>1234.7262000000001</c:v>
                </c:pt>
                <c:pt idx="7553">
                  <c:v>1245.8</c:v>
                </c:pt>
                <c:pt idx="7554">
                  <c:v>1217.1106</c:v>
                </c:pt>
                <c:pt idx="7555">
                  <c:v>1173.54</c:v>
                </c:pt>
                <c:pt idx="7556">
                  <c:v>1128.4644000000001</c:v>
                </c:pt>
                <c:pt idx="7557">
                  <c:v>1090.7799</c:v>
                </c:pt>
                <c:pt idx="7558">
                  <c:v>1026.8134</c:v>
                </c:pt>
                <c:pt idx="7559">
                  <c:v>934.87480000000005</c:v>
                </c:pt>
                <c:pt idx="7560">
                  <c:v>851.73869999999999</c:v>
                </c:pt>
                <c:pt idx="7561">
                  <c:v>791.71159999999998</c:v>
                </c:pt>
                <c:pt idx="7562">
                  <c:v>768.11069999999995</c:v>
                </c:pt>
                <c:pt idx="7563">
                  <c:v>755.572</c:v>
                </c:pt>
                <c:pt idx="7564">
                  <c:v>749.72950000000003</c:v>
                </c:pt>
                <c:pt idx="7565">
                  <c:v>763.29729999999995</c:v>
                </c:pt>
                <c:pt idx="7566">
                  <c:v>838.80439999999999</c:v>
                </c:pt>
                <c:pt idx="7567">
                  <c:v>996.1558</c:v>
                </c:pt>
                <c:pt idx="7568">
                  <c:v>1095.4010000000001</c:v>
                </c:pt>
                <c:pt idx="7569">
                  <c:v>1176.8091999999999</c:v>
                </c:pt>
                <c:pt idx="7570">
                  <c:v>1168.0376000000001</c:v>
                </c:pt>
                <c:pt idx="7571">
                  <c:v>1172.0831000000001</c:v>
                </c:pt>
                <c:pt idx="7572">
                  <c:v>1120.9795999999999</c:v>
                </c:pt>
                <c:pt idx="7573">
                  <c:v>1149.1056000000001</c:v>
                </c:pt>
                <c:pt idx="7574">
                  <c:v>1166.3579</c:v>
                </c:pt>
                <c:pt idx="7575">
                  <c:v>1164.1387999999999</c:v>
                </c:pt>
                <c:pt idx="7576">
                  <c:v>1188.4529</c:v>
                </c:pt>
                <c:pt idx="7577">
                  <c:v>1220.4928</c:v>
                </c:pt>
                <c:pt idx="7578">
                  <c:v>1208.9764</c:v>
                </c:pt>
                <c:pt idx="7579">
                  <c:v>1162.0245</c:v>
                </c:pt>
                <c:pt idx="7580">
                  <c:v>1126.963</c:v>
                </c:pt>
                <c:pt idx="7581">
                  <c:v>1087.5779</c:v>
                </c:pt>
                <c:pt idx="7582">
                  <c:v>997.61540000000002</c:v>
                </c:pt>
                <c:pt idx="7583">
                  <c:v>890.13919999999996</c:v>
                </c:pt>
                <c:pt idx="7584">
                  <c:v>801.90419999999995</c:v>
                </c:pt>
                <c:pt idx="7585">
                  <c:v>755.65070000000003</c:v>
                </c:pt>
                <c:pt idx="7586">
                  <c:v>735.40740000000005</c:v>
                </c:pt>
                <c:pt idx="7587">
                  <c:v>734.97479999999996</c:v>
                </c:pt>
                <c:pt idx="7588">
                  <c:v>739.04169999999999</c:v>
                </c:pt>
                <c:pt idx="7589">
                  <c:v>745.13670000000002</c:v>
                </c:pt>
                <c:pt idx="7590">
                  <c:v>833.37929999999994</c:v>
                </c:pt>
                <c:pt idx="7591">
                  <c:v>997.13530000000003</c:v>
                </c:pt>
                <c:pt idx="7592">
                  <c:v>1105.4117000000001</c:v>
                </c:pt>
                <c:pt idx="7593">
                  <c:v>1196.9626000000001</c:v>
                </c:pt>
                <c:pt idx="7594">
                  <c:v>1199.1233999999999</c:v>
                </c:pt>
                <c:pt idx="7595">
                  <c:v>1197.8524</c:v>
                </c:pt>
                <c:pt idx="7596">
                  <c:v>1170.7762</c:v>
                </c:pt>
                <c:pt idx="7597">
                  <c:v>1199.7389000000001</c:v>
                </c:pt>
                <c:pt idx="7598">
                  <c:v>1206.4399000000001</c:v>
                </c:pt>
                <c:pt idx="7599">
                  <c:v>1195.8643999999999</c:v>
                </c:pt>
                <c:pt idx="7600">
                  <c:v>1198.6301000000001</c:v>
                </c:pt>
                <c:pt idx="7601">
                  <c:v>1211.4224999999999</c:v>
                </c:pt>
                <c:pt idx="7602">
                  <c:v>1202.9303</c:v>
                </c:pt>
                <c:pt idx="7603">
                  <c:v>1144.4812999999999</c:v>
                </c:pt>
                <c:pt idx="7604">
                  <c:v>1117.3995</c:v>
                </c:pt>
                <c:pt idx="7605">
                  <c:v>1068.1166000000001</c:v>
                </c:pt>
                <c:pt idx="7606">
                  <c:v>992.64400000000001</c:v>
                </c:pt>
                <c:pt idx="7607">
                  <c:v>895.01070000000004</c:v>
                </c:pt>
                <c:pt idx="7608">
                  <c:v>816.15629999999999</c:v>
                </c:pt>
                <c:pt idx="7609">
                  <c:v>762.90020000000004</c:v>
                </c:pt>
                <c:pt idx="7610">
                  <c:v>724.64480000000003</c:v>
                </c:pt>
                <c:pt idx="7611">
                  <c:v>718.72860000000003</c:v>
                </c:pt>
                <c:pt idx="7612">
                  <c:v>731.8623</c:v>
                </c:pt>
                <c:pt idx="7613">
                  <c:v>747.75239999999997</c:v>
                </c:pt>
                <c:pt idx="7614">
                  <c:v>801.10230000000001</c:v>
                </c:pt>
                <c:pt idx="7615">
                  <c:v>972.85149999999999</c:v>
                </c:pt>
                <c:pt idx="7616">
                  <c:v>1095.4545000000001</c:v>
                </c:pt>
                <c:pt idx="7617">
                  <c:v>1158.1268</c:v>
                </c:pt>
                <c:pt idx="7618">
                  <c:v>1165.4933000000001</c:v>
                </c:pt>
                <c:pt idx="7619">
                  <c:v>1180.3395</c:v>
                </c:pt>
                <c:pt idx="7620">
                  <c:v>1161.3788</c:v>
                </c:pt>
                <c:pt idx="7621">
                  <c:v>1167.5255</c:v>
                </c:pt>
                <c:pt idx="7622">
                  <c:v>1171.1624999999999</c:v>
                </c:pt>
                <c:pt idx="7623">
                  <c:v>1167.8534</c:v>
                </c:pt>
                <c:pt idx="7624">
                  <c:v>1188.7</c:v>
                </c:pt>
                <c:pt idx="7625">
                  <c:v>1187</c:v>
                </c:pt>
                <c:pt idx="7626">
                  <c:v>1164.2</c:v>
                </c:pt>
                <c:pt idx="7627">
                  <c:v>1129.5</c:v>
                </c:pt>
                <c:pt idx="7628">
                  <c:v>1090.8</c:v>
                </c:pt>
                <c:pt idx="7629">
                  <c:v>1047.4000000000001</c:v>
                </c:pt>
                <c:pt idx="7630">
                  <c:v>998.6</c:v>
                </c:pt>
                <c:pt idx="7631">
                  <c:v>897.8</c:v>
                </c:pt>
                <c:pt idx="7632">
                  <c:v>824.9</c:v>
                </c:pt>
                <c:pt idx="7633">
                  <c:v>794.5</c:v>
                </c:pt>
                <c:pt idx="7634">
                  <c:v>782.9</c:v>
                </c:pt>
                <c:pt idx="7635">
                  <c:v>774.7</c:v>
                </c:pt>
                <c:pt idx="7636">
                  <c:v>783.6</c:v>
                </c:pt>
                <c:pt idx="7637">
                  <c:v>814.3</c:v>
                </c:pt>
                <c:pt idx="7638">
                  <c:v>938.6</c:v>
                </c:pt>
                <c:pt idx="7639">
                  <c:v>1108.0999999999999</c:v>
                </c:pt>
                <c:pt idx="7640">
                  <c:v>1194.3</c:v>
                </c:pt>
                <c:pt idx="7641">
                  <c:v>1244.9000000000001</c:v>
                </c:pt>
                <c:pt idx="7642">
                  <c:v>1229.0999999999999</c:v>
                </c:pt>
                <c:pt idx="7643">
                  <c:v>1215.3</c:v>
                </c:pt>
                <c:pt idx="7644">
                  <c:v>1175.3</c:v>
                </c:pt>
                <c:pt idx="7645">
                  <c:v>1200.3</c:v>
                </c:pt>
                <c:pt idx="7646">
                  <c:v>1187.7</c:v>
                </c:pt>
                <c:pt idx="7647">
                  <c:v>1192.7</c:v>
                </c:pt>
                <c:pt idx="7648">
                  <c:v>1227.5999999999999</c:v>
                </c:pt>
                <c:pt idx="7649">
                  <c:v>1242.3</c:v>
                </c:pt>
                <c:pt idx="7650">
                  <c:v>1213.5</c:v>
                </c:pt>
                <c:pt idx="7651">
                  <c:v>1175.4000000000001</c:v>
                </c:pt>
                <c:pt idx="7652">
                  <c:v>1117.7</c:v>
                </c:pt>
                <c:pt idx="7653">
                  <c:v>1069</c:v>
                </c:pt>
                <c:pt idx="7654">
                  <c:v>1006.5</c:v>
                </c:pt>
                <c:pt idx="7655">
                  <c:v>925.4</c:v>
                </c:pt>
                <c:pt idx="7656">
                  <c:v>855.7</c:v>
                </c:pt>
                <c:pt idx="7657">
                  <c:v>812.7</c:v>
                </c:pt>
                <c:pt idx="7658">
                  <c:v>789.3</c:v>
                </c:pt>
                <c:pt idx="7659">
                  <c:v>776.7</c:v>
                </c:pt>
                <c:pt idx="7660">
                  <c:v>773.5</c:v>
                </c:pt>
                <c:pt idx="7661">
                  <c:v>785.1</c:v>
                </c:pt>
                <c:pt idx="7662">
                  <c:v>819.3</c:v>
                </c:pt>
                <c:pt idx="7663">
                  <c:v>874.4</c:v>
                </c:pt>
                <c:pt idx="7664">
                  <c:v>923.2</c:v>
                </c:pt>
                <c:pt idx="7665">
                  <c:v>995.9</c:v>
                </c:pt>
                <c:pt idx="7666">
                  <c:v>1029.7</c:v>
                </c:pt>
                <c:pt idx="7667">
                  <c:v>1039.5</c:v>
                </c:pt>
                <c:pt idx="7668">
                  <c:v>1037.7</c:v>
                </c:pt>
                <c:pt idx="7669">
                  <c:v>1035.5</c:v>
                </c:pt>
                <c:pt idx="7670">
                  <c:v>1033.4000000000001</c:v>
                </c:pt>
                <c:pt idx="7671">
                  <c:v>1025.4000000000001</c:v>
                </c:pt>
                <c:pt idx="7672">
                  <c:v>1074.5</c:v>
                </c:pt>
                <c:pt idx="7673">
                  <c:v>1093.2</c:v>
                </c:pt>
                <c:pt idx="7674">
                  <c:v>1077.5999999999999</c:v>
                </c:pt>
                <c:pt idx="7675">
                  <c:v>1052.4000000000001</c:v>
                </c:pt>
                <c:pt idx="7676">
                  <c:v>1017.9</c:v>
                </c:pt>
                <c:pt idx="7677">
                  <c:v>972.9</c:v>
                </c:pt>
                <c:pt idx="7678">
                  <c:v>907.6</c:v>
                </c:pt>
                <c:pt idx="7679">
                  <c:v>858.8</c:v>
                </c:pt>
                <c:pt idx="7680">
                  <c:v>811.8</c:v>
                </c:pt>
                <c:pt idx="7681">
                  <c:v>771.9</c:v>
                </c:pt>
                <c:pt idx="7682">
                  <c:v>750.1</c:v>
                </c:pt>
                <c:pt idx="7683">
                  <c:v>737</c:v>
                </c:pt>
                <c:pt idx="7684">
                  <c:v>729.9</c:v>
                </c:pt>
                <c:pt idx="7685">
                  <c:v>732.1</c:v>
                </c:pt>
                <c:pt idx="7686">
                  <c:v>762.1</c:v>
                </c:pt>
                <c:pt idx="7687">
                  <c:v>806.3</c:v>
                </c:pt>
                <c:pt idx="7688">
                  <c:v>846.1</c:v>
                </c:pt>
                <c:pt idx="7689">
                  <c:v>910.8</c:v>
                </c:pt>
                <c:pt idx="7690">
                  <c:v>957</c:v>
                </c:pt>
                <c:pt idx="7691">
                  <c:v>973.3</c:v>
                </c:pt>
                <c:pt idx="7692">
                  <c:v>952</c:v>
                </c:pt>
                <c:pt idx="7693">
                  <c:v>944.1</c:v>
                </c:pt>
                <c:pt idx="7694">
                  <c:v>950.1</c:v>
                </c:pt>
                <c:pt idx="7695">
                  <c:v>953.4</c:v>
                </c:pt>
                <c:pt idx="7696">
                  <c:v>1022.2</c:v>
                </c:pt>
                <c:pt idx="7697">
                  <c:v>1062.3</c:v>
                </c:pt>
                <c:pt idx="7698">
                  <c:v>1064.0999999999999</c:v>
                </c:pt>
                <c:pt idx="7699">
                  <c:v>1040.8</c:v>
                </c:pt>
                <c:pt idx="7700">
                  <c:v>1009.8</c:v>
                </c:pt>
                <c:pt idx="7701">
                  <c:v>970.2</c:v>
                </c:pt>
                <c:pt idx="7702">
                  <c:v>897.9</c:v>
                </c:pt>
                <c:pt idx="7703">
                  <c:v>831.3</c:v>
                </c:pt>
                <c:pt idx="7704">
                  <c:v>773.8</c:v>
                </c:pt>
                <c:pt idx="7705">
                  <c:v>737.6</c:v>
                </c:pt>
                <c:pt idx="7706">
                  <c:v>714.5</c:v>
                </c:pt>
                <c:pt idx="7707">
                  <c:v>720.4</c:v>
                </c:pt>
                <c:pt idx="7708">
                  <c:v>727.5</c:v>
                </c:pt>
                <c:pt idx="7709">
                  <c:v>756.3</c:v>
                </c:pt>
                <c:pt idx="7710">
                  <c:v>878.5</c:v>
                </c:pt>
                <c:pt idx="7711">
                  <c:v>1044.7</c:v>
                </c:pt>
                <c:pt idx="7712">
                  <c:v>1147.9000000000001</c:v>
                </c:pt>
                <c:pt idx="7713">
                  <c:v>1197.5</c:v>
                </c:pt>
                <c:pt idx="7714">
                  <c:v>1189.4000000000001</c:v>
                </c:pt>
                <c:pt idx="7715">
                  <c:v>1174.5999999999999</c:v>
                </c:pt>
                <c:pt idx="7716">
                  <c:v>1163.8</c:v>
                </c:pt>
                <c:pt idx="7717">
                  <c:v>1192.5999999999999</c:v>
                </c:pt>
                <c:pt idx="7718">
                  <c:v>1188.5999999999999</c:v>
                </c:pt>
                <c:pt idx="7719">
                  <c:v>1201.5999999999999</c:v>
                </c:pt>
                <c:pt idx="7720">
                  <c:v>1230.2</c:v>
                </c:pt>
                <c:pt idx="7721">
                  <c:v>1208.8</c:v>
                </c:pt>
                <c:pt idx="7722">
                  <c:v>1179.2</c:v>
                </c:pt>
                <c:pt idx="7723">
                  <c:v>1130.5999999999999</c:v>
                </c:pt>
                <c:pt idx="7724">
                  <c:v>1080.5999999999999</c:v>
                </c:pt>
                <c:pt idx="7725">
                  <c:v>1033.2</c:v>
                </c:pt>
                <c:pt idx="7726">
                  <c:v>943.3</c:v>
                </c:pt>
                <c:pt idx="7727">
                  <c:v>837.1</c:v>
                </c:pt>
                <c:pt idx="7728">
                  <c:v>793.2</c:v>
                </c:pt>
                <c:pt idx="7729">
                  <c:v>756.8</c:v>
                </c:pt>
                <c:pt idx="7730">
                  <c:v>741.8</c:v>
                </c:pt>
                <c:pt idx="7731">
                  <c:v>733.2</c:v>
                </c:pt>
                <c:pt idx="7732">
                  <c:v>736.2</c:v>
                </c:pt>
                <c:pt idx="7733">
                  <c:v>770.7</c:v>
                </c:pt>
                <c:pt idx="7734">
                  <c:v>895.6</c:v>
                </c:pt>
                <c:pt idx="7735">
                  <c:v>1053.0999999999999</c:v>
                </c:pt>
                <c:pt idx="7736">
                  <c:v>1155.3</c:v>
                </c:pt>
                <c:pt idx="7737">
                  <c:v>1200.8</c:v>
                </c:pt>
                <c:pt idx="7738">
                  <c:v>1186.3</c:v>
                </c:pt>
                <c:pt idx="7739">
                  <c:v>1202</c:v>
                </c:pt>
                <c:pt idx="7740">
                  <c:v>1176.0999999999999</c:v>
                </c:pt>
                <c:pt idx="7741">
                  <c:v>1195.5</c:v>
                </c:pt>
                <c:pt idx="7742">
                  <c:v>1174.2</c:v>
                </c:pt>
                <c:pt idx="7743">
                  <c:v>1189</c:v>
                </c:pt>
                <c:pt idx="7744">
                  <c:v>1215.9000000000001</c:v>
                </c:pt>
                <c:pt idx="7745">
                  <c:v>1207.5999999999999</c:v>
                </c:pt>
                <c:pt idx="7746">
                  <c:v>1190.5</c:v>
                </c:pt>
                <c:pt idx="7747">
                  <c:v>1152</c:v>
                </c:pt>
                <c:pt idx="7748">
                  <c:v>1116.0999999999999</c:v>
                </c:pt>
                <c:pt idx="7749">
                  <c:v>1053.2</c:v>
                </c:pt>
                <c:pt idx="7750">
                  <c:v>978.1</c:v>
                </c:pt>
                <c:pt idx="7751">
                  <c:v>888.1</c:v>
                </c:pt>
                <c:pt idx="7752">
                  <c:v>817.4</c:v>
                </c:pt>
                <c:pt idx="7753">
                  <c:v>767.1</c:v>
                </c:pt>
                <c:pt idx="7754">
                  <c:v>750</c:v>
                </c:pt>
                <c:pt idx="7755">
                  <c:v>744.4</c:v>
                </c:pt>
                <c:pt idx="7756">
                  <c:v>751.4</c:v>
                </c:pt>
                <c:pt idx="7757">
                  <c:v>789.2</c:v>
                </c:pt>
                <c:pt idx="7758">
                  <c:v>904.6</c:v>
                </c:pt>
                <c:pt idx="7759">
                  <c:v>1058.8</c:v>
                </c:pt>
                <c:pt idx="7760">
                  <c:v>1159.9000000000001</c:v>
                </c:pt>
                <c:pt idx="7761">
                  <c:v>1192.8</c:v>
                </c:pt>
                <c:pt idx="7762">
                  <c:v>1193.7</c:v>
                </c:pt>
                <c:pt idx="7763">
                  <c:v>1194.5</c:v>
                </c:pt>
                <c:pt idx="7764">
                  <c:v>1181.4000000000001</c:v>
                </c:pt>
                <c:pt idx="7765">
                  <c:v>1212.2</c:v>
                </c:pt>
                <c:pt idx="7766">
                  <c:v>1207.4000000000001</c:v>
                </c:pt>
                <c:pt idx="7767">
                  <c:v>1213.8</c:v>
                </c:pt>
                <c:pt idx="7768">
                  <c:v>1244.3</c:v>
                </c:pt>
                <c:pt idx="7769">
                  <c:v>1228.3</c:v>
                </c:pt>
                <c:pt idx="7770">
                  <c:v>1199.7</c:v>
                </c:pt>
                <c:pt idx="7771">
                  <c:v>1163.0999999999999</c:v>
                </c:pt>
                <c:pt idx="7772">
                  <c:v>1120.0999999999999</c:v>
                </c:pt>
                <c:pt idx="7773">
                  <c:v>1068.3</c:v>
                </c:pt>
                <c:pt idx="7774">
                  <c:v>991.1</c:v>
                </c:pt>
                <c:pt idx="7775">
                  <c:v>901.8</c:v>
                </c:pt>
                <c:pt idx="7776">
                  <c:v>833.5</c:v>
                </c:pt>
                <c:pt idx="7777">
                  <c:v>782.3</c:v>
                </c:pt>
                <c:pt idx="7778">
                  <c:v>760.9</c:v>
                </c:pt>
                <c:pt idx="7779">
                  <c:v>755.6</c:v>
                </c:pt>
                <c:pt idx="7780">
                  <c:v>761.8</c:v>
                </c:pt>
                <c:pt idx="7781">
                  <c:v>791.5</c:v>
                </c:pt>
                <c:pt idx="7782">
                  <c:v>913.1</c:v>
                </c:pt>
                <c:pt idx="7783">
                  <c:v>1091.4000000000001</c:v>
                </c:pt>
                <c:pt idx="7784">
                  <c:v>1200.4000000000001</c:v>
                </c:pt>
                <c:pt idx="7785">
                  <c:v>1231.5</c:v>
                </c:pt>
                <c:pt idx="7786">
                  <c:v>1235.4000000000001</c:v>
                </c:pt>
                <c:pt idx="7787">
                  <c:v>1226.8</c:v>
                </c:pt>
                <c:pt idx="7788">
                  <c:v>1204.2</c:v>
                </c:pt>
                <c:pt idx="7789">
                  <c:v>1217.9000000000001</c:v>
                </c:pt>
                <c:pt idx="7790">
                  <c:v>1231.5999999999999</c:v>
                </c:pt>
                <c:pt idx="7791">
                  <c:v>1231.9000000000001</c:v>
                </c:pt>
                <c:pt idx="7792">
                  <c:v>1266.2</c:v>
                </c:pt>
                <c:pt idx="7793">
                  <c:v>1243</c:v>
                </c:pt>
                <c:pt idx="7794">
                  <c:v>1217.4000000000001</c:v>
                </c:pt>
                <c:pt idx="7795">
                  <c:v>1165.5999999999999</c:v>
                </c:pt>
                <c:pt idx="7796">
                  <c:v>1121.5999999999999</c:v>
                </c:pt>
                <c:pt idx="7797">
                  <c:v>1067.0999999999999</c:v>
                </c:pt>
                <c:pt idx="7798">
                  <c:v>1002.5</c:v>
                </c:pt>
                <c:pt idx="7799">
                  <c:v>907.6</c:v>
                </c:pt>
                <c:pt idx="7800">
                  <c:v>833</c:v>
                </c:pt>
                <c:pt idx="7801">
                  <c:v>786</c:v>
                </c:pt>
                <c:pt idx="7802">
                  <c:v>777</c:v>
                </c:pt>
                <c:pt idx="7803">
                  <c:v>776.7</c:v>
                </c:pt>
                <c:pt idx="7804">
                  <c:v>789.7</c:v>
                </c:pt>
                <c:pt idx="7805">
                  <c:v>827.1</c:v>
                </c:pt>
                <c:pt idx="7806">
                  <c:v>947.4</c:v>
                </c:pt>
                <c:pt idx="7807">
                  <c:v>1107.5999999999999</c:v>
                </c:pt>
                <c:pt idx="7808">
                  <c:v>1216.4000000000001</c:v>
                </c:pt>
                <c:pt idx="7809">
                  <c:v>1270.5999999999999</c:v>
                </c:pt>
                <c:pt idx="7810">
                  <c:v>1273.0999999999999</c:v>
                </c:pt>
                <c:pt idx="7811">
                  <c:v>1283.4000000000001</c:v>
                </c:pt>
                <c:pt idx="7812">
                  <c:v>1263.3</c:v>
                </c:pt>
                <c:pt idx="7813">
                  <c:v>1281.8</c:v>
                </c:pt>
                <c:pt idx="7814">
                  <c:v>1269.5999999999999</c:v>
                </c:pt>
                <c:pt idx="7815">
                  <c:v>1278.2</c:v>
                </c:pt>
                <c:pt idx="7816">
                  <c:v>1321.6</c:v>
                </c:pt>
                <c:pt idx="7817">
                  <c:v>1301.5</c:v>
                </c:pt>
                <c:pt idx="7818">
                  <c:v>1271.5</c:v>
                </c:pt>
                <c:pt idx="7819">
                  <c:v>1222.8</c:v>
                </c:pt>
                <c:pt idx="7820">
                  <c:v>1177.9000000000001</c:v>
                </c:pt>
                <c:pt idx="7821">
                  <c:v>1120.9000000000001</c:v>
                </c:pt>
                <c:pt idx="7822">
                  <c:v>1058.2</c:v>
                </c:pt>
                <c:pt idx="7823">
                  <c:v>964.9</c:v>
                </c:pt>
                <c:pt idx="7824">
                  <c:v>889.6</c:v>
                </c:pt>
                <c:pt idx="7825">
                  <c:v>860.2</c:v>
                </c:pt>
                <c:pt idx="7826">
                  <c:v>832.6</c:v>
                </c:pt>
                <c:pt idx="7827">
                  <c:v>824.5</c:v>
                </c:pt>
                <c:pt idx="7828">
                  <c:v>811.6</c:v>
                </c:pt>
                <c:pt idx="7829">
                  <c:v>810.9</c:v>
                </c:pt>
                <c:pt idx="7830">
                  <c:v>851.4</c:v>
                </c:pt>
                <c:pt idx="7831">
                  <c:v>916.7</c:v>
                </c:pt>
                <c:pt idx="7832">
                  <c:v>974.5</c:v>
                </c:pt>
                <c:pt idx="7833">
                  <c:v>1034.3</c:v>
                </c:pt>
                <c:pt idx="7834">
                  <c:v>1078.0999999999999</c:v>
                </c:pt>
                <c:pt idx="7835">
                  <c:v>1085.4000000000001</c:v>
                </c:pt>
                <c:pt idx="7836">
                  <c:v>1086</c:v>
                </c:pt>
                <c:pt idx="7837">
                  <c:v>1090.0999999999999</c:v>
                </c:pt>
                <c:pt idx="7838">
                  <c:v>1082</c:v>
                </c:pt>
                <c:pt idx="7839">
                  <c:v>1092.7</c:v>
                </c:pt>
                <c:pt idx="7840">
                  <c:v>1158.0999999999999</c:v>
                </c:pt>
                <c:pt idx="7841">
                  <c:v>1169.3</c:v>
                </c:pt>
                <c:pt idx="7842">
                  <c:v>1147.8</c:v>
                </c:pt>
                <c:pt idx="7843">
                  <c:v>1121.4000000000001</c:v>
                </c:pt>
                <c:pt idx="7844">
                  <c:v>1089.9000000000001</c:v>
                </c:pt>
                <c:pt idx="7845">
                  <c:v>1048.8</c:v>
                </c:pt>
                <c:pt idx="7846">
                  <c:v>994.5</c:v>
                </c:pt>
                <c:pt idx="7847">
                  <c:v>942.9</c:v>
                </c:pt>
                <c:pt idx="7848">
                  <c:v>891.5</c:v>
                </c:pt>
                <c:pt idx="7849">
                  <c:v>845.4</c:v>
                </c:pt>
                <c:pt idx="7850">
                  <c:v>824.1</c:v>
                </c:pt>
                <c:pt idx="7851">
                  <c:v>810.7</c:v>
                </c:pt>
                <c:pt idx="7852">
                  <c:v>811.8</c:v>
                </c:pt>
                <c:pt idx="7853">
                  <c:v>824.3</c:v>
                </c:pt>
                <c:pt idx="7854">
                  <c:v>853.3</c:v>
                </c:pt>
                <c:pt idx="7855">
                  <c:v>898.3</c:v>
                </c:pt>
                <c:pt idx="7856">
                  <c:v>963.2</c:v>
                </c:pt>
                <c:pt idx="7857">
                  <c:v>1023.4</c:v>
                </c:pt>
                <c:pt idx="7858">
                  <c:v>1070.5</c:v>
                </c:pt>
                <c:pt idx="7859">
                  <c:v>1078.0999999999999</c:v>
                </c:pt>
                <c:pt idx="7860">
                  <c:v>1070.9000000000001</c:v>
                </c:pt>
                <c:pt idx="7861">
                  <c:v>1067.4000000000001</c:v>
                </c:pt>
                <c:pt idx="7862">
                  <c:v>1071</c:v>
                </c:pt>
                <c:pt idx="7863">
                  <c:v>1078.3</c:v>
                </c:pt>
                <c:pt idx="7864">
                  <c:v>1161.9000000000001</c:v>
                </c:pt>
                <c:pt idx="7865">
                  <c:v>1193</c:v>
                </c:pt>
                <c:pt idx="7866">
                  <c:v>1184.8</c:v>
                </c:pt>
                <c:pt idx="7867">
                  <c:v>1173.4000000000001</c:v>
                </c:pt>
                <c:pt idx="7868">
                  <c:v>1140.5999999999999</c:v>
                </c:pt>
                <c:pt idx="7869">
                  <c:v>1091.5</c:v>
                </c:pt>
                <c:pt idx="7870">
                  <c:v>1033</c:v>
                </c:pt>
                <c:pt idx="7871">
                  <c:v>963.4</c:v>
                </c:pt>
                <c:pt idx="7872">
                  <c:v>907.4</c:v>
                </c:pt>
                <c:pt idx="7873">
                  <c:v>868.6</c:v>
                </c:pt>
                <c:pt idx="7874">
                  <c:v>846.1</c:v>
                </c:pt>
                <c:pt idx="7875">
                  <c:v>845.7</c:v>
                </c:pt>
                <c:pt idx="7876">
                  <c:v>868.4</c:v>
                </c:pt>
                <c:pt idx="7877">
                  <c:v>904.5</c:v>
                </c:pt>
                <c:pt idx="7878">
                  <c:v>1010.3</c:v>
                </c:pt>
                <c:pt idx="7879">
                  <c:v>1185.5999999999999</c:v>
                </c:pt>
                <c:pt idx="7880">
                  <c:v>1300.9000000000001</c:v>
                </c:pt>
                <c:pt idx="7881">
                  <c:v>1328.1</c:v>
                </c:pt>
                <c:pt idx="7882">
                  <c:v>1333</c:v>
                </c:pt>
                <c:pt idx="7883">
                  <c:v>1319.4</c:v>
                </c:pt>
                <c:pt idx="7884">
                  <c:v>1291.5999999999999</c:v>
                </c:pt>
                <c:pt idx="7885">
                  <c:v>1322.3</c:v>
                </c:pt>
                <c:pt idx="7886">
                  <c:v>1318.5</c:v>
                </c:pt>
                <c:pt idx="7887">
                  <c:v>1330.6</c:v>
                </c:pt>
                <c:pt idx="7888">
                  <c:v>1374.1</c:v>
                </c:pt>
                <c:pt idx="7889">
                  <c:v>1351.9</c:v>
                </c:pt>
                <c:pt idx="7890">
                  <c:v>1322.7</c:v>
                </c:pt>
                <c:pt idx="7891">
                  <c:v>1278</c:v>
                </c:pt>
                <c:pt idx="7892">
                  <c:v>1235.4000000000001</c:v>
                </c:pt>
                <c:pt idx="7893">
                  <c:v>1184.8</c:v>
                </c:pt>
                <c:pt idx="7894">
                  <c:v>1092.8</c:v>
                </c:pt>
                <c:pt idx="7895">
                  <c:v>1000.5</c:v>
                </c:pt>
                <c:pt idx="7896">
                  <c:v>933.6</c:v>
                </c:pt>
                <c:pt idx="7897">
                  <c:v>883.7</c:v>
                </c:pt>
                <c:pt idx="7898">
                  <c:v>862</c:v>
                </c:pt>
                <c:pt idx="7899">
                  <c:v>858</c:v>
                </c:pt>
                <c:pt idx="7900">
                  <c:v>872</c:v>
                </c:pt>
                <c:pt idx="7901">
                  <c:v>905.3</c:v>
                </c:pt>
                <c:pt idx="7902">
                  <c:v>1012.9</c:v>
                </c:pt>
                <c:pt idx="7903">
                  <c:v>1185.9000000000001</c:v>
                </c:pt>
                <c:pt idx="7904">
                  <c:v>1295.8</c:v>
                </c:pt>
                <c:pt idx="7905">
                  <c:v>1323.2</c:v>
                </c:pt>
                <c:pt idx="7906">
                  <c:v>1328.3</c:v>
                </c:pt>
                <c:pt idx="7907">
                  <c:v>1347</c:v>
                </c:pt>
                <c:pt idx="7908">
                  <c:v>1320.8</c:v>
                </c:pt>
                <c:pt idx="7909">
                  <c:v>1356.7</c:v>
                </c:pt>
                <c:pt idx="7910">
                  <c:v>1324.8</c:v>
                </c:pt>
                <c:pt idx="7911">
                  <c:v>1345</c:v>
                </c:pt>
                <c:pt idx="7912">
                  <c:v>1372.3</c:v>
                </c:pt>
                <c:pt idx="7913">
                  <c:v>1337</c:v>
                </c:pt>
                <c:pt idx="7914">
                  <c:v>1305.7</c:v>
                </c:pt>
                <c:pt idx="7915">
                  <c:v>1264.5</c:v>
                </c:pt>
                <c:pt idx="7916">
                  <c:v>1224.8</c:v>
                </c:pt>
                <c:pt idx="7917">
                  <c:v>1173.5999999999999</c:v>
                </c:pt>
                <c:pt idx="7918">
                  <c:v>1092.5</c:v>
                </c:pt>
                <c:pt idx="7919">
                  <c:v>996.8</c:v>
                </c:pt>
                <c:pt idx="7920">
                  <c:v>923.8</c:v>
                </c:pt>
                <c:pt idx="7921">
                  <c:v>879.9</c:v>
                </c:pt>
                <c:pt idx="7922">
                  <c:v>861</c:v>
                </c:pt>
                <c:pt idx="7923">
                  <c:v>857.6</c:v>
                </c:pt>
                <c:pt idx="7924">
                  <c:v>859</c:v>
                </c:pt>
                <c:pt idx="7925">
                  <c:v>896.5</c:v>
                </c:pt>
                <c:pt idx="7926">
                  <c:v>997.9</c:v>
                </c:pt>
                <c:pt idx="7927">
                  <c:v>1168.8</c:v>
                </c:pt>
                <c:pt idx="7928">
                  <c:v>1310.0999999999999</c:v>
                </c:pt>
                <c:pt idx="7929">
                  <c:v>1332.7</c:v>
                </c:pt>
                <c:pt idx="7930">
                  <c:v>1326.3</c:v>
                </c:pt>
                <c:pt idx="7931">
                  <c:v>1330.6</c:v>
                </c:pt>
                <c:pt idx="7932">
                  <c:v>1302.5</c:v>
                </c:pt>
                <c:pt idx="7933">
                  <c:v>1330.5</c:v>
                </c:pt>
                <c:pt idx="7934">
                  <c:v>1316.3</c:v>
                </c:pt>
                <c:pt idx="7935">
                  <c:v>1329.2</c:v>
                </c:pt>
                <c:pt idx="7936">
                  <c:v>1339.6</c:v>
                </c:pt>
                <c:pt idx="7937">
                  <c:v>1300.4000000000001</c:v>
                </c:pt>
                <c:pt idx="7938">
                  <c:v>1290.4000000000001</c:v>
                </c:pt>
                <c:pt idx="7939">
                  <c:v>1254.2</c:v>
                </c:pt>
                <c:pt idx="7940">
                  <c:v>1219</c:v>
                </c:pt>
                <c:pt idx="7941">
                  <c:v>1166.5</c:v>
                </c:pt>
                <c:pt idx="7942">
                  <c:v>1080</c:v>
                </c:pt>
                <c:pt idx="7943">
                  <c:v>980.8</c:v>
                </c:pt>
                <c:pt idx="7944">
                  <c:v>908.9</c:v>
                </c:pt>
                <c:pt idx="7945">
                  <c:v>847</c:v>
                </c:pt>
                <c:pt idx="7946">
                  <c:v>832</c:v>
                </c:pt>
                <c:pt idx="7947">
                  <c:v>819.2</c:v>
                </c:pt>
                <c:pt idx="7948">
                  <c:v>830.5</c:v>
                </c:pt>
                <c:pt idx="7949">
                  <c:v>852.1</c:v>
                </c:pt>
                <c:pt idx="7950">
                  <c:v>989.3</c:v>
                </c:pt>
                <c:pt idx="7951">
                  <c:v>1141.9000000000001</c:v>
                </c:pt>
                <c:pt idx="7952">
                  <c:v>1263.9000000000001</c:v>
                </c:pt>
                <c:pt idx="7953">
                  <c:v>1287.5</c:v>
                </c:pt>
                <c:pt idx="7954">
                  <c:v>1306.2</c:v>
                </c:pt>
                <c:pt idx="7955">
                  <c:v>1301.8</c:v>
                </c:pt>
                <c:pt idx="7956">
                  <c:v>1289.7</c:v>
                </c:pt>
                <c:pt idx="7957">
                  <c:v>1312.5</c:v>
                </c:pt>
                <c:pt idx="7958">
                  <c:v>1302.2</c:v>
                </c:pt>
                <c:pt idx="7959">
                  <c:v>1307</c:v>
                </c:pt>
                <c:pt idx="7960">
                  <c:v>1333.1</c:v>
                </c:pt>
                <c:pt idx="7961">
                  <c:v>1304.5999999999999</c:v>
                </c:pt>
                <c:pt idx="7962">
                  <c:v>1267.8</c:v>
                </c:pt>
                <c:pt idx="7963">
                  <c:v>1224.5999999999999</c:v>
                </c:pt>
                <c:pt idx="7964">
                  <c:v>1199.5</c:v>
                </c:pt>
                <c:pt idx="7965">
                  <c:v>1134.5999999999999</c:v>
                </c:pt>
                <c:pt idx="7966">
                  <c:v>1056.5999999999999</c:v>
                </c:pt>
                <c:pt idx="7967">
                  <c:v>951.9</c:v>
                </c:pt>
                <c:pt idx="7968">
                  <c:v>883.5</c:v>
                </c:pt>
                <c:pt idx="7969">
                  <c:v>850.8</c:v>
                </c:pt>
                <c:pt idx="7970">
                  <c:v>820.4</c:v>
                </c:pt>
                <c:pt idx="7971">
                  <c:v>804.2</c:v>
                </c:pt>
                <c:pt idx="7972">
                  <c:v>807.4</c:v>
                </c:pt>
                <c:pt idx="7973">
                  <c:v>858.5</c:v>
                </c:pt>
                <c:pt idx="7974">
                  <c:v>960.9</c:v>
                </c:pt>
                <c:pt idx="7975">
                  <c:v>1123.3</c:v>
                </c:pt>
                <c:pt idx="7976">
                  <c:v>1239.2</c:v>
                </c:pt>
                <c:pt idx="7977">
                  <c:v>1252.5999999999999</c:v>
                </c:pt>
                <c:pt idx="7978">
                  <c:v>1259.3</c:v>
                </c:pt>
                <c:pt idx="7979">
                  <c:v>1264.9000000000001</c:v>
                </c:pt>
                <c:pt idx="7980">
                  <c:v>1244.0999999999999</c:v>
                </c:pt>
                <c:pt idx="7981">
                  <c:v>1284.5999999999999</c:v>
                </c:pt>
                <c:pt idx="7982">
                  <c:v>1236</c:v>
                </c:pt>
                <c:pt idx="7983">
                  <c:v>1247.5</c:v>
                </c:pt>
                <c:pt idx="7984">
                  <c:v>1267.8</c:v>
                </c:pt>
                <c:pt idx="7985">
                  <c:v>1228.5</c:v>
                </c:pt>
                <c:pt idx="7986">
                  <c:v>1196.0999999999999</c:v>
                </c:pt>
                <c:pt idx="7987">
                  <c:v>1157.4000000000001</c:v>
                </c:pt>
                <c:pt idx="7988">
                  <c:v>1144.2</c:v>
                </c:pt>
                <c:pt idx="7989">
                  <c:v>1103.7</c:v>
                </c:pt>
                <c:pt idx="7990">
                  <c:v>1031.9000000000001</c:v>
                </c:pt>
                <c:pt idx="7991">
                  <c:v>947.6</c:v>
                </c:pt>
                <c:pt idx="7992">
                  <c:v>875.9</c:v>
                </c:pt>
                <c:pt idx="7993">
                  <c:v>836.5</c:v>
                </c:pt>
                <c:pt idx="7994">
                  <c:v>821.6</c:v>
                </c:pt>
                <c:pt idx="7995">
                  <c:v>835.7</c:v>
                </c:pt>
                <c:pt idx="7996">
                  <c:v>832.1</c:v>
                </c:pt>
                <c:pt idx="7997">
                  <c:v>842</c:v>
                </c:pt>
                <c:pt idx="7998">
                  <c:v>881.4</c:v>
                </c:pt>
                <c:pt idx="7999">
                  <c:v>947.8</c:v>
                </c:pt>
                <c:pt idx="8000">
                  <c:v>1025.2</c:v>
                </c:pt>
                <c:pt idx="8001">
                  <c:v>1084.7</c:v>
                </c:pt>
                <c:pt idx="8002">
                  <c:v>1120.5999999999999</c:v>
                </c:pt>
                <c:pt idx="8003">
                  <c:v>1122</c:v>
                </c:pt>
                <c:pt idx="8004">
                  <c:v>1094.4000000000001</c:v>
                </c:pt>
                <c:pt idx="8005">
                  <c:v>1086.8</c:v>
                </c:pt>
                <c:pt idx="8006">
                  <c:v>1101.5</c:v>
                </c:pt>
                <c:pt idx="8007">
                  <c:v>1109.8</c:v>
                </c:pt>
                <c:pt idx="8008">
                  <c:v>1179.2</c:v>
                </c:pt>
                <c:pt idx="8009">
                  <c:v>1192.9000000000001</c:v>
                </c:pt>
                <c:pt idx="8010">
                  <c:v>1181.7</c:v>
                </c:pt>
                <c:pt idx="8011">
                  <c:v>1152.5999999999999</c:v>
                </c:pt>
                <c:pt idx="8012">
                  <c:v>1121.3</c:v>
                </c:pt>
                <c:pt idx="8013">
                  <c:v>1076.5999999999999</c:v>
                </c:pt>
                <c:pt idx="8014">
                  <c:v>1019</c:v>
                </c:pt>
                <c:pt idx="8015">
                  <c:v>953.7</c:v>
                </c:pt>
                <c:pt idx="8016">
                  <c:v>901.4</c:v>
                </c:pt>
                <c:pt idx="8017">
                  <c:v>860.4</c:v>
                </c:pt>
                <c:pt idx="8018">
                  <c:v>838.1</c:v>
                </c:pt>
                <c:pt idx="8019">
                  <c:v>804.7</c:v>
                </c:pt>
                <c:pt idx="8020">
                  <c:v>805.5</c:v>
                </c:pt>
                <c:pt idx="8021">
                  <c:v>817.8</c:v>
                </c:pt>
                <c:pt idx="8022">
                  <c:v>849.8</c:v>
                </c:pt>
                <c:pt idx="8023">
                  <c:v>890.4</c:v>
                </c:pt>
                <c:pt idx="8024">
                  <c:v>953.5</c:v>
                </c:pt>
                <c:pt idx="8025">
                  <c:v>1002.2</c:v>
                </c:pt>
                <c:pt idx="8026">
                  <c:v>1038.2</c:v>
                </c:pt>
                <c:pt idx="8027">
                  <c:v>1044.9000000000001</c:v>
                </c:pt>
                <c:pt idx="8028">
                  <c:v>1032.0999999999999</c:v>
                </c:pt>
                <c:pt idx="8029">
                  <c:v>1021.3</c:v>
                </c:pt>
                <c:pt idx="8030">
                  <c:v>1019.5</c:v>
                </c:pt>
                <c:pt idx="8031">
                  <c:v>1040.2</c:v>
                </c:pt>
                <c:pt idx="8032">
                  <c:v>1117.4000000000001</c:v>
                </c:pt>
                <c:pt idx="8033">
                  <c:v>1140.2</c:v>
                </c:pt>
                <c:pt idx="8034">
                  <c:v>1140.5999999999999</c:v>
                </c:pt>
                <c:pt idx="8035">
                  <c:v>1125.5</c:v>
                </c:pt>
                <c:pt idx="8036">
                  <c:v>1104.8</c:v>
                </c:pt>
                <c:pt idx="8037">
                  <c:v>1060.8</c:v>
                </c:pt>
                <c:pt idx="8038">
                  <c:v>983.4</c:v>
                </c:pt>
                <c:pt idx="8039">
                  <c:v>921.8</c:v>
                </c:pt>
                <c:pt idx="8040">
                  <c:v>880.8</c:v>
                </c:pt>
                <c:pt idx="8041">
                  <c:v>845.1</c:v>
                </c:pt>
                <c:pt idx="8042">
                  <c:v>829.6</c:v>
                </c:pt>
                <c:pt idx="8043">
                  <c:v>815.9</c:v>
                </c:pt>
                <c:pt idx="8044">
                  <c:v>825.5</c:v>
                </c:pt>
                <c:pt idx="8045">
                  <c:v>859.6</c:v>
                </c:pt>
                <c:pt idx="8046">
                  <c:v>1000.9</c:v>
                </c:pt>
                <c:pt idx="8047">
                  <c:v>1163.7</c:v>
                </c:pt>
                <c:pt idx="8048">
                  <c:v>1280.4000000000001</c:v>
                </c:pt>
                <c:pt idx="8049">
                  <c:v>1309.5</c:v>
                </c:pt>
                <c:pt idx="8050">
                  <c:v>1303.5</c:v>
                </c:pt>
                <c:pt idx="8051">
                  <c:v>1298.8</c:v>
                </c:pt>
                <c:pt idx="8052">
                  <c:v>1263.0999999999999</c:v>
                </c:pt>
                <c:pt idx="8053">
                  <c:v>1296.5999999999999</c:v>
                </c:pt>
                <c:pt idx="8054">
                  <c:v>1283.5999999999999</c:v>
                </c:pt>
                <c:pt idx="8055">
                  <c:v>1304.0999999999999</c:v>
                </c:pt>
                <c:pt idx="8056">
                  <c:v>1360.7</c:v>
                </c:pt>
                <c:pt idx="8057">
                  <c:v>1335.1</c:v>
                </c:pt>
                <c:pt idx="8058">
                  <c:v>1313.9</c:v>
                </c:pt>
                <c:pt idx="8059">
                  <c:v>1276.9000000000001</c:v>
                </c:pt>
                <c:pt idx="8060">
                  <c:v>1241.8</c:v>
                </c:pt>
                <c:pt idx="8061">
                  <c:v>1185.2</c:v>
                </c:pt>
                <c:pt idx="8062">
                  <c:v>1106.5</c:v>
                </c:pt>
                <c:pt idx="8063">
                  <c:v>1015</c:v>
                </c:pt>
                <c:pt idx="8064">
                  <c:v>935.3</c:v>
                </c:pt>
                <c:pt idx="8065">
                  <c:v>902.1</c:v>
                </c:pt>
                <c:pt idx="8066">
                  <c:v>879.4</c:v>
                </c:pt>
                <c:pt idx="8067">
                  <c:v>866.6</c:v>
                </c:pt>
                <c:pt idx="8068">
                  <c:v>879.4</c:v>
                </c:pt>
                <c:pt idx="8069">
                  <c:v>928.6</c:v>
                </c:pt>
                <c:pt idx="8070">
                  <c:v>1041</c:v>
                </c:pt>
                <c:pt idx="8071">
                  <c:v>1212</c:v>
                </c:pt>
                <c:pt idx="8072">
                  <c:v>1310.7</c:v>
                </c:pt>
                <c:pt idx="8073">
                  <c:v>1317</c:v>
                </c:pt>
                <c:pt idx="8074">
                  <c:v>1329</c:v>
                </c:pt>
                <c:pt idx="8075">
                  <c:v>1321</c:v>
                </c:pt>
                <c:pt idx="8076">
                  <c:v>1285.5999999999999</c:v>
                </c:pt>
                <c:pt idx="8077">
                  <c:v>1312.8</c:v>
                </c:pt>
                <c:pt idx="8078">
                  <c:v>1308</c:v>
                </c:pt>
                <c:pt idx="8079">
                  <c:v>1324.8</c:v>
                </c:pt>
                <c:pt idx="8080">
                  <c:v>1365.6</c:v>
                </c:pt>
                <c:pt idx="8081">
                  <c:v>1353.3</c:v>
                </c:pt>
                <c:pt idx="8082">
                  <c:v>1324.1</c:v>
                </c:pt>
                <c:pt idx="8083">
                  <c:v>1288.2</c:v>
                </c:pt>
                <c:pt idx="8084">
                  <c:v>1253.8</c:v>
                </c:pt>
                <c:pt idx="8085">
                  <c:v>1194.9000000000001</c:v>
                </c:pt>
                <c:pt idx="8086">
                  <c:v>1115.2</c:v>
                </c:pt>
                <c:pt idx="8087">
                  <c:v>1007</c:v>
                </c:pt>
                <c:pt idx="8088">
                  <c:v>920.3</c:v>
                </c:pt>
                <c:pt idx="8089">
                  <c:v>900.5</c:v>
                </c:pt>
                <c:pt idx="8090">
                  <c:v>882.3</c:v>
                </c:pt>
                <c:pt idx="8091">
                  <c:v>873.2</c:v>
                </c:pt>
                <c:pt idx="8092">
                  <c:v>873.5</c:v>
                </c:pt>
                <c:pt idx="8093">
                  <c:v>906.6</c:v>
                </c:pt>
                <c:pt idx="8094">
                  <c:v>1017.8</c:v>
                </c:pt>
                <c:pt idx="8095">
                  <c:v>1179</c:v>
                </c:pt>
                <c:pt idx="8096">
                  <c:v>1292.8</c:v>
                </c:pt>
                <c:pt idx="8097">
                  <c:v>1308.5999999999999</c:v>
                </c:pt>
                <c:pt idx="8098">
                  <c:v>1298</c:v>
                </c:pt>
                <c:pt idx="8099">
                  <c:v>1297.8</c:v>
                </c:pt>
                <c:pt idx="8100">
                  <c:v>1268.0999999999999</c:v>
                </c:pt>
                <c:pt idx="8101">
                  <c:v>1282.7</c:v>
                </c:pt>
                <c:pt idx="8102">
                  <c:v>1272.4000000000001</c:v>
                </c:pt>
                <c:pt idx="8103">
                  <c:v>1278</c:v>
                </c:pt>
                <c:pt idx="8104">
                  <c:v>1321.1</c:v>
                </c:pt>
                <c:pt idx="8105">
                  <c:v>1298.9000000000001</c:v>
                </c:pt>
                <c:pt idx="8106">
                  <c:v>1277.8</c:v>
                </c:pt>
                <c:pt idx="8107">
                  <c:v>1238.5999999999999</c:v>
                </c:pt>
                <c:pt idx="8108">
                  <c:v>1210</c:v>
                </c:pt>
                <c:pt idx="8109">
                  <c:v>1146.8</c:v>
                </c:pt>
                <c:pt idx="8110">
                  <c:v>1064</c:v>
                </c:pt>
                <c:pt idx="8111">
                  <c:v>960.3</c:v>
                </c:pt>
                <c:pt idx="8112">
                  <c:v>875.1</c:v>
                </c:pt>
                <c:pt idx="8113">
                  <c:v>821.5</c:v>
                </c:pt>
                <c:pt idx="8114">
                  <c:v>801.4</c:v>
                </c:pt>
                <c:pt idx="8115">
                  <c:v>803.2</c:v>
                </c:pt>
                <c:pt idx="8116">
                  <c:v>810</c:v>
                </c:pt>
                <c:pt idx="8117">
                  <c:v>831.3</c:v>
                </c:pt>
                <c:pt idx="8118">
                  <c:v>953.9</c:v>
                </c:pt>
                <c:pt idx="8119">
                  <c:v>1123.5999999999999</c:v>
                </c:pt>
                <c:pt idx="8120">
                  <c:v>1243.9000000000001</c:v>
                </c:pt>
                <c:pt idx="8121">
                  <c:v>1264.7</c:v>
                </c:pt>
                <c:pt idx="8122">
                  <c:v>1262.4000000000001</c:v>
                </c:pt>
                <c:pt idx="8123">
                  <c:v>1262.8</c:v>
                </c:pt>
                <c:pt idx="8124">
                  <c:v>1244.9000000000001</c:v>
                </c:pt>
                <c:pt idx="8125">
                  <c:v>1278.4000000000001</c:v>
                </c:pt>
                <c:pt idx="8126">
                  <c:v>1275.5999999999999</c:v>
                </c:pt>
                <c:pt idx="8127">
                  <c:v>1283.8</c:v>
                </c:pt>
                <c:pt idx="8128">
                  <c:v>1303.7</c:v>
                </c:pt>
                <c:pt idx="8129">
                  <c:v>1273.9000000000001</c:v>
                </c:pt>
                <c:pt idx="8130">
                  <c:v>1241</c:v>
                </c:pt>
                <c:pt idx="8131">
                  <c:v>1196.2</c:v>
                </c:pt>
                <c:pt idx="8132">
                  <c:v>1160</c:v>
                </c:pt>
                <c:pt idx="8133">
                  <c:v>1101.4000000000001</c:v>
                </c:pt>
                <c:pt idx="8134">
                  <c:v>1025.5</c:v>
                </c:pt>
                <c:pt idx="8135">
                  <c:v>925.8</c:v>
                </c:pt>
                <c:pt idx="8136">
                  <c:v>857.3</c:v>
                </c:pt>
                <c:pt idx="8137">
                  <c:v>817.7</c:v>
                </c:pt>
                <c:pt idx="8138">
                  <c:v>808.4</c:v>
                </c:pt>
                <c:pt idx="8139">
                  <c:v>799.5</c:v>
                </c:pt>
                <c:pt idx="8140">
                  <c:v>799.2</c:v>
                </c:pt>
                <c:pt idx="8141">
                  <c:v>828.8</c:v>
                </c:pt>
                <c:pt idx="8142">
                  <c:v>948.6</c:v>
                </c:pt>
                <c:pt idx="8143">
                  <c:v>1114.9000000000001</c:v>
                </c:pt>
                <c:pt idx="8144">
                  <c:v>1242.7</c:v>
                </c:pt>
                <c:pt idx="8145">
                  <c:v>1278.2</c:v>
                </c:pt>
                <c:pt idx="8146">
                  <c:v>1277.0999999999999</c:v>
                </c:pt>
                <c:pt idx="8147">
                  <c:v>1276</c:v>
                </c:pt>
                <c:pt idx="8148">
                  <c:v>1252.5</c:v>
                </c:pt>
                <c:pt idx="8149">
                  <c:v>1269.9000000000001</c:v>
                </c:pt>
                <c:pt idx="8150">
                  <c:v>1252.0999999999999</c:v>
                </c:pt>
                <c:pt idx="8151">
                  <c:v>1271.4000000000001</c:v>
                </c:pt>
                <c:pt idx="8152">
                  <c:v>1286.2</c:v>
                </c:pt>
                <c:pt idx="8153">
                  <c:v>1260.3</c:v>
                </c:pt>
                <c:pt idx="8154">
                  <c:v>1225.4000000000001</c:v>
                </c:pt>
                <c:pt idx="8155">
                  <c:v>1183</c:v>
                </c:pt>
                <c:pt idx="8156">
                  <c:v>1141.4000000000001</c:v>
                </c:pt>
                <c:pt idx="8157">
                  <c:v>1085.9000000000001</c:v>
                </c:pt>
                <c:pt idx="8158">
                  <c:v>1014.1</c:v>
                </c:pt>
                <c:pt idx="8159">
                  <c:v>924.8</c:v>
                </c:pt>
                <c:pt idx="8160">
                  <c:v>866</c:v>
                </c:pt>
                <c:pt idx="8161">
                  <c:v>827.6</c:v>
                </c:pt>
                <c:pt idx="8162">
                  <c:v>811.4</c:v>
                </c:pt>
                <c:pt idx="8163">
                  <c:v>773.9</c:v>
                </c:pt>
                <c:pt idx="8164">
                  <c:v>772.4</c:v>
                </c:pt>
                <c:pt idx="8165">
                  <c:v>785.6</c:v>
                </c:pt>
                <c:pt idx="8166">
                  <c:v>825.7</c:v>
                </c:pt>
                <c:pt idx="8167">
                  <c:v>888.5</c:v>
                </c:pt>
                <c:pt idx="8168">
                  <c:v>969.5</c:v>
                </c:pt>
                <c:pt idx="8169">
                  <c:v>1018.7</c:v>
                </c:pt>
                <c:pt idx="8170">
                  <c:v>1061.7</c:v>
                </c:pt>
                <c:pt idx="8171">
                  <c:v>1096.2</c:v>
                </c:pt>
                <c:pt idx="8172">
                  <c:v>1093.5</c:v>
                </c:pt>
                <c:pt idx="8173">
                  <c:v>1094.7</c:v>
                </c:pt>
                <c:pt idx="8174">
                  <c:v>1096.4000000000001</c:v>
                </c:pt>
                <c:pt idx="8175">
                  <c:v>1114.0999999999999</c:v>
                </c:pt>
                <c:pt idx="8176">
                  <c:v>1151.0999999999999</c:v>
                </c:pt>
                <c:pt idx="8177">
                  <c:v>1141.2</c:v>
                </c:pt>
                <c:pt idx="8178">
                  <c:v>1120.9000000000001</c:v>
                </c:pt>
                <c:pt idx="8179">
                  <c:v>1088.8</c:v>
                </c:pt>
                <c:pt idx="8180">
                  <c:v>1038.7</c:v>
                </c:pt>
                <c:pt idx="8181">
                  <c:v>1010.9</c:v>
                </c:pt>
                <c:pt idx="8182">
                  <c:v>951.6</c:v>
                </c:pt>
                <c:pt idx="8183">
                  <c:v>890.7</c:v>
                </c:pt>
                <c:pt idx="8184">
                  <c:v>831.4</c:v>
                </c:pt>
                <c:pt idx="8185">
                  <c:v>788.2</c:v>
                </c:pt>
                <c:pt idx="8186">
                  <c:v>751.1</c:v>
                </c:pt>
                <c:pt idx="8187">
                  <c:v>746.9</c:v>
                </c:pt>
                <c:pt idx="8188">
                  <c:v>748.6</c:v>
                </c:pt>
                <c:pt idx="8189">
                  <c:v>760.3</c:v>
                </c:pt>
                <c:pt idx="8190">
                  <c:v>790.3</c:v>
                </c:pt>
                <c:pt idx="8191">
                  <c:v>828.9</c:v>
                </c:pt>
                <c:pt idx="8192">
                  <c:v>907.5</c:v>
                </c:pt>
                <c:pt idx="8193">
                  <c:v>950</c:v>
                </c:pt>
                <c:pt idx="8194">
                  <c:v>993.8</c:v>
                </c:pt>
                <c:pt idx="8195">
                  <c:v>991.2</c:v>
                </c:pt>
                <c:pt idx="8196">
                  <c:v>995.2</c:v>
                </c:pt>
                <c:pt idx="8197">
                  <c:v>1009.1</c:v>
                </c:pt>
                <c:pt idx="8198">
                  <c:v>1019.4</c:v>
                </c:pt>
                <c:pt idx="8199">
                  <c:v>1061.5999999999999</c:v>
                </c:pt>
                <c:pt idx="8200">
                  <c:v>1122.5</c:v>
                </c:pt>
                <c:pt idx="8201">
                  <c:v>1136.5</c:v>
                </c:pt>
                <c:pt idx="8202">
                  <c:v>1134.3</c:v>
                </c:pt>
                <c:pt idx="8203">
                  <c:v>1116.4000000000001</c:v>
                </c:pt>
                <c:pt idx="8204">
                  <c:v>1083.7</c:v>
                </c:pt>
                <c:pt idx="8205">
                  <c:v>1025.4000000000001</c:v>
                </c:pt>
                <c:pt idx="8206">
                  <c:v>952.8</c:v>
                </c:pt>
                <c:pt idx="8207">
                  <c:v>881.2</c:v>
                </c:pt>
                <c:pt idx="8208">
                  <c:v>825.3</c:v>
                </c:pt>
                <c:pt idx="8209">
                  <c:v>799.2</c:v>
                </c:pt>
                <c:pt idx="8210">
                  <c:v>785.3</c:v>
                </c:pt>
                <c:pt idx="8211">
                  <c:v>774.6</c:v>
                </c:pt>
                <c:pt idx="8212">
                  <c:v>767.6</c:v>
                </c:pt>
                <c:pt idx="8213">
                  <c:v>803.6</c:v>
                </c:pt>
                <c:pt idx="8214">
                  <c:v>912.9</c:v>
                </c:pt>
                <c:pt idx="8215">
                  <c:v>1091.2</c:v>
                </c:pt>
                <c:pt idx="8216">
                  <c:v>1224.9000000000001</c:v>
                </c:pt>
                <c:pt idx="8217">
                  <c:v>1249.5999999999999</c:v>
                </c:pt>
                <c:pt idx="8218">
                  <c:v>1225.5</c:v>
                </c:pt>
                <c:pt idx="8219">
                  <c:v>1236.7</c:v>
                </c:pt>
                <c:pt idx="8220">
                  <c:v>1208.7</c:v>
                </c:pt>
                <c:pt idx="8221">
                  <c:v>1241.2</c:v>
                </c:pt>
                <c:pt idx="8222">
                  <c:v>1230</c:v>
                </c:pt>
                <c:pt idx="8223">
                  <c:v>1243.9000000000001</c:v>
                </c:pt>
                <c:pt idx="8224">
                  <c:v>1285.5999999999999</c:v>
                </c:pt>
                <c:pt idx="8225">
                  <c:v>1261.2</c:v>
                </c:pt>
                <c:pt idx="8226">
                  <c:v>1229.2</c:v>
                </c:pt>
                <c:pt idx="8227">
                  <c:v>1189.2</c:v>
                </c:pt>
                <c:pt idx="8228">
                  <c:v>1152.2</c:v>
                </c:pt>
                <c:pt idx="8229">
                  <c:v>1103.0999999999999</c:v>
                </c:pt>
                <c:pt idx="8230">
                  <c:v>1027.3</c:v>
                </c:pt>
                <c:pt idx="8231">
                  <c:v>920.7</c:v>
                </c:pt>
                <c:pt idx="8232">
                  <c:v>857.9</c:v>
                </c:pt>
                <c:pt idx="8233">
                  <c:v>814.6</c:v>
                </c:pt>
                <c:pt idx="8234">
                  <c:v>793.8</c:v>
                </c:pt>
                <c:pt idx="8235">
                  <c:v>783.4</c:v>
                </c:pt>
                <c:pt idx="8236">
                  <c:v>790.1</c:v>
                </c:pt>
                <c:pt idx="8237">
                  <c:v>826.9</c:v>
                </c:pt>
                <c:pt idx="8238">
                  <c:v>961.9</c:v>
                </c:pt>
                <c:pt idx="8239">
                  <c:v>1130.0999999999999</c:v>
                </c:pt>
                <c:pt idx="8240">
                  <c:v>1266.3</c:v>
                </c:pt>
                <c:pt idx="8241">
                  <c:v>1285.2</c:v>
                </c:pt>
                <c:pt idx="8242">
                  <c:v>1299.9000000000001</c:v>
                </c:pt>
                <c:pt idx="8243">
                  <c:v>1291.5999999999999</c:v>
                </c:pt>
                <c:pt idx="8244">
                  <c:v>1264.4000000000001</c:v>
                </c:pt>
                <c:pt idx="8245">
                  <c:v>1303.5999999999999</c:v>
                </c:pt>
                <c:pt idx="8246">
                  <c:v>1298.5999999999999</c:v>
                </c:pt>
                <c:pt idx="8247">
                  <c:v>1312.1</c:v>
                </c:pt>
                <c:pt idx="8248">
                  <c:v>1348.2</c:v>
                </c:pt>
                <c:pt idx="8249">
                  <c:v>1301.2</c:v>
                </c:pt>
                <c:pt idx="8250">
                  <c:v>1267.0999999999999</c:v>
                </c:pt>
                <c:pt idx="8251">
                  <c:v>1243</c:v>
                </c:pt>
                <c:pt idx="8252">
                  <c:v>1214.3</c:v>
                </c:pt>
                <c:pt idx="8253">
                  <c:v>1166.5</c:v>
                </c:pt>
                <c:pt idx="8254">
                  <c:v>1093.0999999999999</c:v>
                </c:pt>
                <c:pt idx="8255">
                  <c:v>997.6</c:v>
                </c:pt>
                <c:pt idx="8256">
                  <c:v>934.1</c:v>
                </c:pt>
                <c:pt idx="8257">
                  <c:v>896.7</c:v>
                </c:pt>
                <c:pt idx="8258">
                  <c:v>878.7</c:v>
                </c:pt>
                <c:pt idx="8259">
                  <c:v>867.5</c:v>
                </c:pt>
                <c:pt idx="8260">
                  <c:v>873</c:v>
                </c:pt>
                <c:pt idx="8261">
                  <c:v>906</c:v>
                </c:pt>
                <c:pt idx="8262">
                  <c:v>1018.9</c:v>
                </c:pt>
                <c:pt idx="8263">
                  <c:v>1179.9000000000001</c:v>
                </c:pt>
                <c:pt idx="8264">
                  <c:v>1306.2</c:v>
                </c:pt>
                <c:pt idx="8265">
                  <c:v>1316.9</c:v>
                </c:pt>
                <c:pt idx="8266">
                  <c:v>1309.8</c:v>
                </c:pt>
                <c:pt idx="8267">
                  <c:v>1312</c:v>
                </c:pt>
                <c:pt idx="8268">
                  <c:v>1287.7</c:v>
                </c:pt>
                <c:pt idx="8269">
                  <c:v>1317.8</c:v>
                </c:pt>
                <c:pt idx="8270">
                  <c:v>1304.8</c:v>
                </c:pt>
                <c:pt idx="8271">
                  <c:v>1324.1</c:v>
                </c:pt>
                <c:pt idx="8272">
                  <c:v>1360.3</c:v>
                </c:pt>
                <c:pt idx="8273">
                  <c:v>1328.7</c:v>
                </c:pt>
                <c:pt idx="8274">
                  <c:v>1302.8</c:v>
                </c:pt>
                <c:pt idx="8275">
                  <c:v>1260.5999999999999</c:v>
                </c:pt>
                <c:pt idx="8276">
                  <c:v>1229.7</c:v>
                </c:pt>
                <c:pt idx="8277">
                  <c:v>1161.3</c:v>
                </c:pt>
                <c:pt idx="8278">
                  <c:v>1095</c:v>
                </c:pt>
                <c:pt idx="8279">
                  <c:v>996.1</c:v>
                </c:pt>
                <c:pt idx="8280">
                  <c:v>929</c:v>
                </c:pt>
                <c:pt idx="8281">
                  <c:v>890</c:v>
                </c:pt>
                <c:pt idx="8282">
                  <c:v>874.5</c:v>
                </c:pt>
                <c:pt idx="8283">
                  <c:v>864.1</c:v>
                </c:pt>
                <c:pt idx="8284">
                  <c:v>875.9</c:v>
                </c:pt>
                <c:pt idx="8285">
                  <c:v>912.8</c:v>
                </c:pt>
                <c:pt idx="8286">
                  <c:v>1022.9</c:v>
                </c:pt>
                <c:pt idx="8287">
                  <c:v>1200.4000000000001</c:v>
                </c:pt>
                <c:pt idx="8288">
                  <c:v>1314.8</c:v>
                </c:pt>
                <c:pt idx="8289">
                  <c:v>1325.6</c:v>
                </c:pt>
                <c:pt idx="8290">
                  <c:v>1287.4000000000001</c:v>
                </c:pt>
                <c:pt idx="8291">
                  <c:v>1296.4000000000001</c:v>
                </c:pt>
                <c:pt idx="8292">
                  <c:v>1277.0999999999999</c:v>
                </c:pt>
                <c:pt idx="8293">
                  <c:v>1300.5</c:v>
                </c:pt>
                <c:pt idx="8294">
                  <c:v>1299.2</c:v>
                </c:pt>
                <c:pt idx="8295">
                  <c:v>1320.5</c:v>
                </c:pt>
                <c:pt idx="8296">
                  <c:v>1357.2</c:v>
                </c:pt>
                <c:pt idx="8297">
                  <c:v>1327.6</c:v>
                </c:pt>
                <c:pt idx="8298">
                  <c:v>1302</c:v>
                </c:pt>
                <c:pt idx="8299">
                  <c:v>1271.8</c:v>
                </c:pt>
                <c:pt idx="8300">
                  <c:v>1242.4000000000001</c:v>
                </c:pt>
                <c:pt idx="8301">
                  <c:v>1181.5999999999999</c:v>
                </c:pt>
                <c:pt idx="8302">
                  <c:v>1110.9000000000001</c:v>
                </c:pt>
                <c:pt idx="8303">
                  <c:v>1020.3</c:v>
                </c:pt>
                <c:pt idx="8304">
                  <c:v>945.5</c:v>
                </c:pt>
                <c:pt idx="8305">
                  <c:v>875.4</c:v>
                </c:pt>
                <c:pt idx="8306">
                  <c:v>851.9</c:v>
                </c:pt>
                <c:pt idx="8307">
                  <c:v>845.5</c:v>
                </c:pt>
                <c:pt idx="8308">
                  <c:v>852.8</c:v>
                </c:pt>
                <c:pt idx="8309">
                  <c:v>876</c:v>
                </c:pt>
                <c:pt idx="8310">
                  <c:v>1000.3</c:v>
                </c:pt>
                <c:pt idx="8311">
                  <c:v>1161.3</c:v>
                </c:pt>
                <c:pt idx="8312">
                  <c:v>1284.7</c:v>
                </c:pt>
                <c:pt idx="8313">
                  <c:v>1309.5</c:v>
                </c:pt>
                <c:pt idx="8314">
                  <c:v>1309.8</c:v>
                </c:pt>
                <c:pt idx="8315">
                  <c:v>1307.7</c:v>
                </c:pt>
                <c:pt idx="8316">
                  <c:v>1280.9000000000001</c:v>
                </c:pt>
                <c:pt idx="8317">
                  <c:v>1301.5</c:v>
                </c:pt>
                <c:pt idx="8318">
                  <c:v>1281.5999999999999</c:v>
                </c:pt>
                <c:pt idx="8319">
                  <c:v>1291.4000000000001</c:v>
                </c:pt>
                <c:pt idx="8320">
                  <c:v>1325.4</c:v>
                </c:pt>
                <c:pt idx="8321">
                  <c:v>1287.5</c:v>
                </c:pt>
                <c:pt idx="8322">
                  <c:v>1249.9000000000001</c:v>
                </c:pt>
                <c:pt idx="8323">
                  <c:v>1209.5999999999999</c:v>
                </c:pt>
                <c:pt idx="8324">
                  <c:v>1177.2</c:v>
                </c:pt>
                <c:pt idx="8325">
                  <c:v>1123.5999999999999</c:v>
                </c:pt>
                <c:pt idx="8326">
                  <c:v>1038.4000000000001</c:v>
                </c:pt>
                <c:pt idx="8327">
                  <c:v>959.3</c:v>
                </c:pt>
                <c:pt idx="8328">
                  <c:v>903.9</c:v>
                </c:pt>
                <c:pt idx="8329">
                  <c:v>861.9</c:v>
                </c:pt>
                <c:pt idx="8330">
                  <c:v>830</c:v>
                </c:pt>
                <c:pt idx="8331">
                  <c:v>813.3</c:v>
                </c:pt>
                <c:pt idx="8332">
                  <c:v>810.9</c:v>
                </c:pt>
                <c:pt idx="8333">
                  <c:v>821.3</c:v>
                </c:pt>
                <c:pt idx="8334">
                  <c:v>861.2</c:v>
                </c:pt>
                <c:pt idx="8335">
                  <c:v>927.1</c:v>
                </c:pt>
                <c:pt idx="8336">
                  <c:v>1012.7</c:v>
                </c:pt>
                <c:pt idx="8337">
                  <c:v>1065.3</c:v>
                </c:pt>
                <c:pt idx="8338">
                  <c:v>1092.8</c:v>
                </c:pt>
                <c:pt idx="8339">
                  <c:v>1105.5</c:v>
                </c:pt>
                <c:pt idx="8340">
                  <c:v>1103.3</c:v>
                </c:pt>
                <c:pt idx="8341">
                  <c:v>1102.2</c:v>
                </c:pt>
                <c:pt idx="8342">
                  <c:v>1106.2</c:v>
                </c:pt>
                <c:pt idx="8343">
                  <c:v>1128.2</c:v>
                </c:pt>
                <c:pt idx="8344">
                  <c:v>1164.3</c:v>
                </c:pt>
                <c:pt idx="8345">
                  <c:v>1152.9000000000001</c:v>
                </c:pt>
                <c:pt idx="8346">
                  <c:v>1136.4000000000001</c:v>
                </c:pt>
                <c:pt idx="8347">
                  <c:v>1110.9000000000001</c:v>
                </c:pt>
                <c:pt idx="8348">
                  <c:v>1078.2</c:v>
                </c:pt>
                <c:pt idx="8349">
                  <c:v>1030.8</c:v>
                </c:pt>
                <c:pt idx="8350">
                  <c:v>977.7</c:v>
                </c:pt>
                <c:pt idx="8351">
                  <c:v>921.4</c:v>
                </c:pt>
                <c:pt idx="8352">
                  <c:v>870.8</c:v>
                </c:pt>
                <c:pt idx="8353">
                  <c:v>836.3</c:v>
                </c:pt>
                <c:pt idx="8354">
                  <c:v>824.2</c:v>
                </c:pt>
                <c:pt idx="8355">
                  <c:v>810.8</c:v>
                </c:pt>
                <c:pt idx="8356">
                  <c:v>793.6</c:v>
                </c:pt>
                <c:pt idx="8357">
                  <c:v>801.7</c:v>
                </c:pt>
                <c:pt idx="8358">
                  <c:v>825.2</c:v>
                </c:pt>
                <c:pt idx="8359">
                  <c:v>886</c:v>
                </c:pt>
                <c:pt idx="8360">
                  <c:v>935.3</c:v>
                </c:pt>
                <c:pt idx="8361">
                  <c:v>1012.4</c:v>
                </c:pt>
                <c:pt idx="8362">
                  <c:v>1050.0999999999999</c:v>
                </c:pt>
                <c:pt idx="8363">
                  <c:v>1059.9000000000001</c:v>
                </c:pt>
                <c:pt idx="8364">
                  <c:v>1065.3</c:v>
                </c:pt>
                <c:pt idx="8365">
                  <c:v>1066.9000000000001</c:v>
                </c:pt>
                <c:pt idx="8366">
                  <c:v>1073.5999999999999</c:v>
                </c:pt>
                <c:pt idx="8367">
                  <c:v>1097.4000000000001</c:v>
                </c:pt>
                <c:pt idx="8368">
                  <c:v>1150.9000000000001</c:v>
                </c:pt>
                <c:pt idx="8369">
                  <c:v>1159.0999999999999</c:v>
                </c:pt>
                <c:pt idx="8370">
                  <c:v>1147.8</c:v>
                </c:pt>
                <c:pt idx="8371">
                  <c:v>1123.8</c:v>
                </c:pt>
                <c:pt idx="8372">
                  <c:v>1088.4000000000001</c:v>
                </c:pt>
                <c:pt idx="8373">
                  <c:v>1043.3</c:v>
                </c:pt>
                <c:pt idx="8374">
                  <c:v>975.3</c:v>
                </c:pt>
                <c:pt idx="8375">
                  <c:v>911.4</c:v>
                </c:pt>
                <c:pt idx="8376">
                  <c:v>847.7</c:v>
                </c:pt>
                <c:pt idx="8377">
                  <c:v>809</c:v>
                </c:pt>
                <c:pt idx="8378">
                  <c:v>787.9</c:v>
                </c:pt>
                <c:pt idx="8379">
                  <c:v>781.6</c:v>
                </c:pt>
                <c:pt idx="8380">
                  <c:v>789</c:v>
                </c:pt>
                <c:pt idx="8381">
                  <c:v>822.4</c:v>
                </c:pt>
                <c:pt idx="8382">
                  <c:v>943.4</c:v>
                </c:pt>
                <c:pt idx="8383">
                  <c:v>1105.3</c:v>
                </c:pt>
                <c:pt idx="8384">
                  <c:v>1224.5999999999999</c:v>
                </c:pt>
                <c:pt idx="8385">
                  <c:v>1262.9000000000001</c:v>
                </c:pt>
                <c:pt idx="8386">
                  <c:v>1255.0999999999999</c:v>
                </c:pt>
                <c:pt idx="8387">
                  <c:v>1256.7</c:v>
                </c:pt>
                <c:pt idx="8388">
                  <c:v>1241.0999999999999</c:v>
                </c:pt>
                <c:pt idx="8389">
                  <c:v>1254.3</c:v>
                </c:pt>
                <c:pt idx="8390">
                  <c:v>1240.7</c:v>
                </c:pt>
                <c:pt idx="8391">
                  <c:v>1249.0999999999999</c:v>
                </c:pt>
                <c:pt idx="8392">
                  <c:v>1275.4000000000001</c:v>
                </c:pt>
                <c:pt idx="8393">
                  <c:v>1240.5999999999999</c:v>
                </c:pt>
                <c:pt idx="8394">
                  <c:v>1206.5</c:v>
                </c:pt>
                <c:pt idx="8395">
                  <c:v>1174.7</c:v>
                </c:pt>
                <c:pt idx="8396">
                  <c:v>1149.8</c:v>
                </c:pt>
                <c:pt idx="8397">
                  <c:v>1105.3</c:v>
                </c:pt>
                <c:pt idx="8398">
                  <c:v>1028.5</c:v>
                </c:pt>
                <c:pt idx="8399">
                  <c:v>923.6</c:v>
                </c:pt>
                <c:pt idx="8400">
                  <c:v>857.2</c:v>
                </c:pt>
                <c:pt idx="8401">
                  <c:v>810.9</c:v>
                </c:pt>
                <c:pt idx="8402">
                  <c:v>788.9</c:v>
                </c:pt>
                <c:pt idx="8403">
                  <c:v>764.1</c:v>
                </c:pt>
                <c:pt idx="8404">
                  <c:v>765.5</c:v>
                </c:pt>
                <c:pt idx="8405">
                  <c:v>794.2</c:v>
                </c:pt>
                <c:pt idx="8406">
                  <c:v>896.6</c:v>
                </c:pt>
                <c:pt idx="8407">
                  <c:v>1058</c:v>
                </c:pt>
                <c:pt idx="8408">
                  <c:v>1185.3</c:v>
                </c:pt>
                <c:pt idx="8409">
                  <c:v>1200.3</c:v>
                </c:pt>
                <c:pt idx="8410">
                  <c:v>1191.8</c:v>
                </c:pt>
                <c:pt idx="8411">
                  <c:v>1189.4000000000001</c:v>
                </c:pt>
                <c:pt idx="8412">
                  <c:v>1164.5</c:v>
                </c:pt>
                <c:pt idx="8413">
                  <c:v>1199.9000000000001</c:v>
                </c:pt>
                <c:pt idx="8414">
                  <c:v>1178.5999999999999</c:v>
                </c:pt>
                <c:pt idx="8415">
                  <c:v>1216.3</c:v>
                </c:pt>
                <c:pt idx="8416">
                  <c:v>1237.9000000000001</c:v>
                </c:pt>
                <c:pt idx="8417">
                  <c:v>1202.0999999999999</c:v>
                </c:pt>
                <c:pt idx="8418">
                  <c:v>1174.5999999999999</c:v>
                </c:pt>
                <c:pt idx="8419">
                  <c:v>1139.4000000000001</c:v>
                </c:pt>
                <c:pt idx="8420">
                  <c:v>1100.5999999999999</c:v>
                </c:pt>
                <c:pt idx="8421">
                  <c:v>1053</c:v>
                </c:pt>
                <c:pt idx="8422">
                  <c:v>983.9</c:v>
                </c:pt>
                <c:pt idx="8423">
                  <c:v>897.5</c:v>
                </c:pt>
                <c:pt idx="8424">
                  <c:v>830.5</c:v>
                </c:pt>
                <c:pt idx="8425">
                  <c:v>793.6</c:v>
                </c:pt>
                <c:pt idx="8426">
                  <c:v>770.9</c:v>
                </c:pt>
                <c:pt idx="8427">
                  <c:v>769.3</c:v>
                </c:pt>
                <c:pt idx="8428">
                  <c:v>767.6</c:v>
                </c:pt>
                <c:pt idx="8429">
                  <c:v>797.7</c:v>
                </c:pt>
                <c:pt idx="8430">
                  <c:v>923.3</c:v>
                </c:pt>
                <c:pt idx="8431">
                  <c:v>1079.3</c:v>
                </c:pt>
                <c:pt idx="8432">
                  <c:v>1191.9000000000001</c:v>
                </c:pt>
                <c:pt idx="8433">
                  <c:v>1226.0999999999999</c:v>
                </c:pt>
                <c:pt idx="8434">
                  <c:v>1221.4000000000001</c:v>
                </c:pt>
                <c:pt idx="8435">
                  <c:v>1220.4000000000001</c:v>
                </c:pt>
                <c:pt idx="8436">
                  <c:v>1182</c:v>
                </c:pt>
                <c:pt idx="8437">
                  <c:v>1211.0999999999999</c:v>
                </c:pt>
                <c:pt idx="8438">
                  <c:v>1207.9000000000001</c:v>
                </c:pt>
                <c:pt idx="8439">
                  <c:v>1229.5999999999999</c:v>
                </c:pt>
                <c:pt idx="8440">
                  <c:v>1228</c:v>
                </c:pt>
                <c:pt idx="8441">
                  <c:v>1191.7</c:v>
                </c:pt>
                <c:pt idx="8442">
                  <c:v>1165.2</c:v>
                </c:pt>
                <c:pt idx="8443">
                  <c:v>1133.4000000000001</c:v>
                </c:pt>
                <c:pt idx="8444">
                  <c:v>1108.3</c:v>
                </c:pt>
                <c:pt idx="8445">
                  <c:v>1071.7</c:v>
                </c:pt>
                <c:pt idx="8446">
                  <c:v>992.8</c:v>
                </c:pt>
                <c:pt idx="8447">
                  <c:v>897.4</c:v>
                </c:pt>
                <c:pt idx="8448">
                  <c:v>851.3</c:v>
                </c:pt>
                <c:pt idx="8449">
                  <c:v>828.7</c:v>
                </c:pt>
                <c:pt idx="8450">
                  <c:v>796.3</c:v>
                </c:pt>
                <c:pt idx="8451">
                  <c:v>797.3</c:v>
                </c:pt>
                <c:pt idx="8452">
                  <c:v>796.4</c:v>
                </c:pt>
                <c:pt idx="8453">
                  <c:v>828.5</c:v>
                </c:pt>
                <c:pt idx="8454">
                  <c:v>939.5</c:v>
                </c:pt>
                <c:pt idx="8455">
                  <c:v>1105</c:v>
                </c:pt>
                <c:pt idx="8456">
                  <c:v>1220.2</c:v>
                </c:pt>
                <c:pt idx="8457">
                  <c:v>1238.4000000000001</c:v>
                </c:pt>
                <c:pt idx="8458">
                  <c:v>1223.4000000000001</c:v>
                </c:pt>
                <c:pt idx="8459">
                  <c:v>1214.5</c:v>
                </c:pt>
                <c:pt idx="8460">
                  <c:v>1191.5999999999999</c:v>
                </c:pt>
                <c:pt idx="8461">
                  <c:v>1221.3</c:v>
                </c:pt>
                <c:pt idx="8462">
                  <c:v>1205.8</c:v>
                </c:pt>
                <c:pt idx="8463">
                  <c:v>1222.9000000000001</c:v>
                </c:pt>
                <c:pt idx="8464">
                  <c:v>1275.3</c:v>
                </c:pt>
                <c:pt idx="8465">
                  <c:v>1243.5</c:v>
                </c:pt>
                <c:pt idx="8466">
                  <c:v>1234.2</c:v>
                </c:pt>
                <c:pt idx="8467">
                  <c:v>1198.5</c:v>
                </c:pt>
                <c:pt idx="8468">
                  <c:v>1189.5999999999999</c:v>
                </c:pt>
                <c:pt idx="8469">
                  <c:v>1128.2</c:v>
                </c:pt>
                <c:pt idx="8470">
                  <c:v>1055.3</c:v>
                </c:pt>
                <c:pt idx="8471">
                  <c:v>965.3</c:v>
                </c:pt>
                <c:pt idx="8472">
                  <c:v>889</c:v>
                </c:pt>
                <c:pt idx="8473">
                  <c:v>844.5</c:v>
                </c:pt>
                <c:pt idx="8474">
                  <c:v>818.7</c:v>
                </c:pt>
                <c:pt idx="8475">
                  <c:v>805.3</c:v>
                </c:pt>
                <c:pt idx="8476">
                  <c:v>807.8</c:v>
                </c:pt>
                <c:pt idx="8477">
                  <c:v>832.9</c:v>
                </c:pt>
                <c:pt idx="8478">
                  <c:v>930.6</c:v>
                </c:pt>
                <c:pt idx="8479">
                  <c:v>1077.7</c:v>
                </c:pt>
                <c:pt idx="8480">
                  <c:v>1213.5999999999999</c:v>
                </c:pt>
                <c:pt idx="8481">
                  <c:v>1244</c:v>
                </c:pt>
                <c:pt idx="8482">
                  <c:v>1231.4000000000001</c:v>
                </c:pt>
                <c:pt idx="8483">
                  <c:v>1225.4000000000001</c:v>
                </c:pt>
                <c:pt idx="8484">
                  <c:v>1191.4000000000001</c:v>
                </c:pt>
                <c:pt idx="8485">
                  <c:v>1201.7</c:v>
                </c:pt>
                <c:pt idx="8486">
                  <c:v>1189.9000000000001</c:v>
                </c:pt>
                <c:pt idx="8487">
                  <c:v>1195.8</c:v>
                </c:pt>
                <c:pt idx="8488">
                  <c:v>1241.7</c:v>
                </c:pt>
                <c:pt idx="8489">
                  <c:v>1217.7</c:v>
                </c:pt>
                <c:pt idx="8490">
                  <c:v>1177</c:v>
                </c:pt>
                <c:pt idx="8491">
                  <c:v>1149.3</c:v>
                </c:pt>
                <c:pt idx="8492">
                  <c:v>1118.3</c:v>
                </c:pt>
                <c:pt idx="8493">
                  <c:v>1071.3</c:v>
                </c:pt>
                <c:pt idx="8494">
                  <c:v>1001.3</c:v>
                </c:pt>
                <c:pt idx="8495">
                  <c:v>934.6</c:v>
                </c:pt>
                <c:pt idx="8496">
                  <c:v>853.7</c:v>
                </c:pt>
                <c:pt idx="8497">
                  <c:v>818.4</c:v>
                </c:pt>
                <c:pt idx="8498">
                  <c:v>795.6</c:v>
                </c:pt>
                <c:pt idx="8499">
                  <c:v>782.3</c:v>
                </c:pt>
                <c:pt idx="8500">
                  <c:v>775.8</c:v>
                </c:pt>
                <c:pt idx="8501">
                  <c:v>783.8</c:v>
                </c:pt>
                <c:pt idx="8502">
                  <c:v>817.5</c:v>
                </c:pt>
                <c:pt idx="8503">
                  <c:v>876.6</c:v>
                </c:pt>
                <c:pt idx="8504">
                  <c:v>957.8</c:v>
                </c:pt>
                <c:pt idx="8505">
                  <c:v>1011.7</c:v>
                </c:pt>
                <c:pt idx="8506">
                  <c:v>1050.5999999999999</c:v>
                </c:pt>
                <c:pt idx="8507">
                  <c:v>1068.2</c:v>
                </c:pt>
                <c:pt idx="8508">
                  <c:v>1066.9000000000001</c:v>
                </c:pt>
                <c:pt idx="8509">
                  <c:v>1065.8</c:v>
                </c:pt>
                <c:pt idx="8510">
                  <c:v>1067.7</c:v>
                </c:pt>
                <c:pt idx="8511">
                  <c:v>1086.5999999999999</c:v>
                </c:pt>
                <c:pt idx="8512">
                  <c:v>1127.9000000000001</c:v>
                </c:pt>
                <c:pt idx="8513">
                  <c:v>1123.0999999999999</c:v>
                </c:pt>
                <c:pt idx="8514">
                  <c:v>1099.7</c:v>
                </c:pt>
                <c:pt idx="8515">
                  <c:v>1073.2</c:v>
                </c:pt>
                <c:pt idx="8516">
                  <c:v>1041.5999999999999</c:v>
                </c:pt>
                <c:pt idx="8517">
                  <c:v>1001.8</c:v>
                </c:pt>
                <c:pt idx="8518">
                  <c:v>950</c:v>
                </c:pt>
                <c:pt idx="8519">
                  <c:v>891.8</c:v>
                </c:pt>
                <c:pt idx="8520">
                  <c:v>838.6</c:v>
                </c:pt>
                <c:pt idx="8521">
                  <c:v>794.7</c:v>
                </c:pt>
                <c:pt idx="8522">
                  <c:v>774.4</c:v>
                </c:pt>
                <c:pt idx="8523">
                  <c:v>760.7</c:v>
                </c:pt>
                <c:pt idx="8524">
                  <c:v>752.7</c:v>
                </c:pt>
                <c:pt idx="8525">
                  <c:v>749.4</c:v>
                </c:pt>
                <c:pt idx="8526">
                  <c:v>778.1</c:v>
                </c:pt>
                <c:pt idx="8527">
                  <c:v>837.9</c:v>
                </c:pt>
                <c:pt idx="8528">
                  <c:v>908</c:v>
                </c:pt>
                <c:pt idx="8529">
                  <c:v>957.4</c:v>
                </c:pt>
                <c:pt idx="8530">
                  <c:v>992.8</c:v>
                </c:pt>
                <c:pt idx="8531">
                  <c:v>1013</c:v>
                </c:pt>
                <c:pt idx="8532">
                  <c:v>1013.5</c:v>
                </c:pt>
                <c:pt idx="8533">
                  <c:v>1007.4</c:v>
                </c:pt>
                <c:pt idx="8534">
                  <c:v>1011.6</c:v>
                </c:pt>
                <c:pt idx="8535">
                  <c:v>1028.4000000000001</c:v>
                </c:pt>
                <c:pt idx="8536">
                  <c:v>1074.2</c:v>
                </c:pt>
                <c:pt idx="8537">
                  <c:v>1078.5999999999999</c:v>
                </c:pt>
                <c:pt idx="8538">
                  <c:v>1068.3</c:v>
                </c:pt>
                <c:pt idx="8539">
                  <c:v>1049.9000000000001</c:v>
                </c:pt>
                <c:pt idx="8540">
                  <c:v>1019</c:v>
                </c:pt>
                <c:pt idx="8541">
                  <c:v>969.5</c:v>
                </c:pt>
                <c:pt idx="8542">
                  <c:v>919</c:v>
                </c:pt>
                <c:pt idx="8543">
                  <c:v>863.5</c:v>
                </c:pt>
                <c:pt idx="8544">
                  <c:v>805.9</c:v>
                </c:pt>
                <c:pt idx="8545">
                  <c:v>763.2</c:v>
                </c:pt>
                <c:pt idx="8546">
                  <c:v>740.9</c:v>
                </c:pt>
                <c:pt idx="8547">
                  <c:v>727</c:v>
                </c:pt>
                <c:pt idx="8548">
                  <c:v>731.7</c:v>
                </c:pt>
                <c:pt idx="8549">
                  <c:v>746.2</c:v>
                </c:pt>
                <c:pt idx="8550">
                  <c:v>810.3</c:v>
                </c:pt>
                <c:pt idx="8551">
                  <c:v>900.2</c:v>
                </c:pt>
                <c:pt idx="8552">
                  <c:v>1004.5</c:v>
                </c:pt>
                <c:pt idx="8553">
                  <c:v>1054.7</c:v>
                </c:pt>
                <c:pt idx="8554">
                  <c:v>1082.3</c:v>
                </c:pt>
                <c:pt idx="8555">
                  <c:v>1082.3</c:v>
                </c:pt>
                <c:pt idx="8556">
                  <c:v>1081.3</c:v>
                </c:pt>
                <c:pt idx="8557">
                  <c:v>1069.3</c:v>
                </c:pt>
                <c:pt idx="8558">
                  <c:v>1040.4000000000001</c:v>
                </c:pt>
                <c:pt idx="8559">
                  <c:v>1056.0999999999999</c:v>
                </c:pt>
                <c:pt idx="8560">
                  <c:v>1099.5</c:v>
                </c:pt>
                <c:pt idx="8561">
                  <c:v>1089</c:v>
                </c:pt>
                <c:pt idx="8562">
                  <c:v>1064.7</c:v>
                </c:pt>
                <c:pt idx="8563">
                  <c:v>1034.0999999999999</c:v>
                </c:pt>
                <c:pt idx="8564">
                  <c:v>1003.5</c:v>
                </c:pt>
                <c:pt idx="8565">
                  <c:v>962.2</c:v>
                </c:pt>
                <c:pt idx="8566">
                  <c:v>894.2</c:v>
                </c:pt>
                <c:pt idx="8567">
                  <c:v>845.7</c:v>
                </c:pt>
                <c:pt idx="8568">
                  <c:v>793.3</c:v>
                </c:pt>
                <c:pt idx="8569">
                  <c:v>746.3</c:v>
                </c:pt>
                <c:pt idx="8570">
                  <c:v>722.4</c:v>
                </c:pt>
                <c:pt idx="8571">
                  <c:v>710.4</c:v>
                </c:pt>
                <c:pt idx="8572">
                  <c:v>708.9</c:v>
                </c:pt>
                <c:pt idx="8573">
                  <c:v>723.2</c:v>
                </c:pt>
                <c:pt idx="8574">
                  <c:v>766.4</c:v>
                </c:pt>
                <c:pt idx="8575">
                  <c:v>814.2</c:v>
                </c:pt>
                <c:pt idx="8576">
                  <c:v>883.2</c:v>
                </c:pt>
                <c:pt idx="8577">
                  <c:v>919</c:v>
                </c:pt>
                <c:pt idx="8578">
                  <c:v>959.1</c:v>
                </c:pt>
                <c:pt idx="8579">
                  <c:v>976.9</c:v>
                </c:pt>
                <c:pt idx="8580">
                  <c:v>992.3</c:v>
                </c:pt>
                <c:pt idx="8581">
                  <c:v>1005.4</c:v>
                </c:pt>
                <c:pt idx="8582">
                  <c:v>1007.9</c:v>
                </c:pt>
                <c:pt idx="8583">
                  <c:v>1031.3</c:v>
                </c:pt>
                <c:pt idx="8584">
                  <c:v>1072.2</c:v>
                </c:pt>
                <c:pt idx="8585">
                  <c:v>1049.9000000000001</c:v>
                </c:pt>
                <c:pt idx="8586">
                  <c:v>992.4</c:v>
                </c:pt>
                <c:pt idx="8587">
                  <c:v>933.8</c:v>
                </c:pt>
                <c:pt idx="8588">
                  <c:v>902.6</c:v>
                </c:pt>
                <c:pt idx="8589">
                  <c:v>895.8</c:v>
                </c:pt>
                <c:pt idx="8590">
                  <c:v>871.5</c:v>
                </c:pt>
                <c:pt idx="8591">
                  <c:v>836</c:v>
                </c:pt>
                <c:pt idx="8592">
                  <c:v>799.3</c:v>
                </c:pt>
                <c:pt idx="8593">
                  <c:v>752.7</c:v>
                </c:pt>
                <c:pt idx="8594">
                  <c:v>724.6</c:v>
                </c:pt>
                <c:pt idx="8595">
                  <c:v>714.6</c:v>
                </c:pt>
                <c:pt idx="8596">
                  <c:v>708.7</c:v>
                </c:pt>
                <c:pt idx="8597">
                  <c:v>715.5</c:v>
                </c:pt>
                <c:pt idx="8598">
                  <c:v>750.3</c:v>
                </c:pt>
                <c:pt idx="8599">
                  <c:v>782.1</c:v>
                </c:pt>
                <c:pt idx="8600">
                  <c:v>833.8</c:v>
                </c:pt>
                <c:pt idx="8601">
                  <c:v>865.1</c:v>
                </c:pt>
                <c:pt idx="8602">
                  <c:v>903.1</c:v>
                </c:pt>
                <c:pt idx="8603">
                  <c:v>928.9</c:v>
                </c:pt>
                <c:pt idx="8604">
                  <c:v>931.2</c:v>
                </c:pt>
                <c:pt idx="8605">
                  <c:v>939.8</c:v>
                </c:pt>
                <c:pt idx="8606">
                  <c:v>940.9</c:v>
                </c:pt>
                <c:pt idx="8607">
                  <c:v>967.5</c:v>
                </c:pt>
                <c:pt idx="8608">
                  <c:v>1004.6</c:v>
                </c:pt>
                <c:pt idx="8609">
                  <c:v>1010.8</c:v>
                </c:pt>
                <c:pt idx="8610">
                  <c:v>966.1</c:v>
                </c:pt>
                <c:pt idx="8611">
                  <c:v>959.4</c:v>
                </c:pt>
                <c:pt idx="8612">
                  <c:v>942.1</c:v>
                </c:pt>
                <c:pt idx="8613">
                  <c:v>918.4</c:v>
                </c:pt>
                <c:pt idx="8614">
                  <c:v>881</c:v>
                </c:pt>
                <c:pt idx="8615">
                  <c:v>842.3</c:v>
                </c:pt>
                <c:pt idx="8616">
                  <c:v>787.8</c:v>
                </c:pt>
                <c:pt idx="8617">
                  <c:v>756.1</c:v>
                </c:pt>
                <c:pt idx="8618">
                  <c:v>736.1</c:v>
                </c:pt>
                <c:pt idx="8619">
                  <c:v>727.1</c:v>
                </c:pt>
                <c:pt idx="8620">
                  <c:v>727.4</c:v>
                </c:pt>
                <c:pt idx="8621">
                  <c:v>744.5</c:v>
                </c:pt>
                <c:pt idx="8622">
                  <c:v>783.1</c:v>
                </c:pt>
                <c:pt idx="8623">
                  <c:v>824.3</c:v>
                </c:pt>
                <c:pt idx="8624">
                  <c:v>882.3</c:v>
                </c:pt>
                <c:pt idx="8625">
                  <c:v>918.2</c:v>
                </c:pt>
                <c:pt idx="8626">
                  <c:v>964.5</c:v>
                </c:pt>
                <c:pt idx="8627">
                  <c:v>988.8</c:v>
                </c:pt>
                <c:pt idx="8628">
                  <c:v>996.8</c:v>
                </c:pt>
                <c:pt idx="8629">
                  <c:v>1000</c:v>
                </c:pt>
                <c:pt idx="8630">
                  <c:v>998.2</c:v>
                </c:pt>
                <c:pt idx="8631">
                  <c:v>1025.5999999999999</c:v>
                </c:pt>
                <c:pt idx="8632">
                  <c:v>1079.3</c:v>
                </c:pt>
                <c:pt idx="8633">
                  <c:v>1068.3</c:v>
                </c:pt>
                <c:pt idx="8634">
                  <c:v>1053.8</c:v>
                </c:pt>
                <c:pt idx="8635">
                  <c:v>1028.7</c:v>
                </c:pt>
                <c:pt idx="8636">
                  <c:v>1005.7</c:v>
                </c:pt>
                <c:pt idx="8637">
                  <c:v>977.9</c:v>
                </c:pt>
                <c:pt idx="8638">
                  <c:v>928.1</c:v>
                </c:pt>
                <c:pt idx="8639">
                  <c:v>878.7</c:v>
                </c:pt>
                <c:pt idx="8640">
                  <c:v>829.1</c:v>
                </c:pt>
                <c:pt idx="8641">
                  <c:v>793.9</c:v>
                </c:pt>
                <c:pt idx="8642">
                  <c:v>761.1</c:v>
                </c:pt>
                <c:pt idx="8643">
                  <c:v>752.6</c:v>
                </c:pt>
                <c:pt idx="8644">
                  <c:v>755.4</c:v>
                </c:pt>
                <c:pt idx="8645">
                  <c:v>767.3</c:v>
                </c:pt>
                <c:pt idx="8646">
                  <c:v>845.4</c:v>
                </c:pt>
                <c:pt idx="8647">
                  <c:v>923.6</c:v>
                </c:pt>
                <c:pt idx="8648">
                  <c:v>1026.4000000000001</c:v>
                </c:pt>
                <c:pt idx="8649">
                  <c:v>1067</c:v>
                </c:pt>
                <c:pt idx="8650">
                  <c:v>1105</c:v>
                </c:pt>
                <c:pt idx="8651">
                  <c:v>1121.9000000000001</c:v>
                </c:pt>
                <c:pt idx="8652">
                  <c:v>1126.0999999999999</c:v>
                </c:pt>
                <c:pt idx="8653">
                  <c:v>1142.9000000000001</c:v>
                </c:pt>
                <c:pt idx="8654">
                  <c:v>1150.0999999999999</c:v>
                </c:pt>
                <c:pt idx="8655">
                  <c:v>1161.9000000000001</c:v>
                </c:pt>
                <c:pt idx="8656">
                  <c:v>1198.8</c:v>
                </c:pt>
                <c:pt idx="8657">
                  <c:v>1186.0999999999999</c:v>
                </c:pt>
                <c:pt idx="8658">
                  <c:v>1169.5999999999999</c:v>
                </c:pt>
                <c:pt idx="8659">
                  <c:v>1131.2</c:v>
                </c:pt>
                <c:pt idx="8660">
                  <c:v>1098</c:v>
                </c:pt>
                <c:pt idx="8661">
                  <c:v>1049.9000000000001</c:v>
                </c:pt>
                <c:pt idx="8662">
                  <c:v>980.1</c:v>
                </c:pt>
                <c:pt idx="8663">
                  <c:v>931</c:v>
                </c:pt>
                <c:pt idx="8664">
                  <c:v>879.1</c:v>
                </c:pt>
                <c:pt idx="8665">
                  <c:v>833</c:v>
                </c:pt>
                <c:pt idx="8666">
                  <c:v>812.5</c:v>
                </c:pt>
                <c:pt idx="8667">
                  <c:v>795.3</c:v>
                </c:pt>
                <c:pt idx="8668">
                  <c:v>797.4</c:v>
                </c:pt>
                <c:pt idx="8669">
                  <c:v>809.1</c:v>
                </c:pt>
                <c:pt idx="8670">
                  <c:v>841.7</c:v>
                </c:pt>
                <c:pt idx="8671">
                  <c:v>889.7</c:v>
                </c:pt>
                <c:pt idx="8672">
                  <c:v>955.6</c:v>
                </c:pt>
                <c:pt idx="8673">
                  <c:v>993.9</c:v>
                </c:pt>
                <c:pt idx="8674">
                  <c:v>1047.3</c:v>
                </c:pt>
                <c:pt idx="8675">
                  <c:v>1072.0999999999999</c:v>
                </c:pt>
                <c:pt idx="8676">
                  <c:v>1067.5999999999999</c:v>
                </c:pt>
                <c:pt idx="8677">
                  <c:v>1074.8</c:v>
                </c:pt>
                <c:pt idx="8678">
                  <c:v>1074.0999999999999</c:v>
                </c:pt>
                <c:pt idx="8679">
                  <c:v>1088.5999999999999</c:v>
                </c:pt>
                <c:pt idx="8680">
                  <c:v>1155.2</c:v>
                </c:pt>
                <c:pt idx="8681">
                  <c:v>1162.8</c:v>
                </c:pt>
                <c:pt idx="8682">
                  <c:v>1149.0999999999999</c:v>
                </c:pt>
                <c:pt idx="8683">
                  <c:v>1131</c:v>
                </c:pt>
                <c:pt idx="8684">
                  <c:v>1104.4000000000001</c:v>
                </c:pt>
                <c:pt idx="8685">
                  <c:v>1074.0999999999999</c:v>
                </c:pt>
                <c:pt idx="8686">
                  <c:v>1024</c:v>
                </c:pt>
                <c:pt idx="8687">
                  <c:v>968.6</c:v>
                </c:pt>
                <c:pt idx="8688">
                  <c:v>915.4</c:v>
                </c:pt>
                <c:pt idx="8689">
                  <c:v>873.5</c:v>
                </c:pt>
                <c:pt idx="8690">
                  <c:v>845.9</c:v>
                </c:pt>
                <c:pt idx="8691">
                  <c:v>832.9</c:v>
                </c:pt>
                <c:pt idx="8692">
                  <c:v>830.6</c:v>
                </c:pt>
                <c:pt idx="8693">
                  <c:v>840.3</c:v>
                </c:pt>
                <c:pt idx="8694">
                  <c:v>866.4</c:v>
                </c:pt>
                <c:pt idx="8695">
                  <c:v>907.3</c:v>
                </c:pt>
                <c:pt idx="8696">
                  <c:v>964.9</c:v>
                </c:pt>
                <c:pt idx="8697">
                  <c:v>995.7</c:v>
                </c:pt>
                <c:pt idx="8698">
                  <c:v>1043.7</c:v>
                </c:pt>
                <c:pt idx="8699">
                  <c:v>1061.0999999999999</c:v>
                </c:pt>
                <c:pt idx="8700">
                  <c:v>1059.9000000000001</c:v>
                </c:pt>
                <c:pt idx="8701">
                  <c:v>1062.9000000000001</c:v>
                </c:pt>
                <c:pt idx="8702">
                  <c:v>1069.9000000000001</c:v>
                </c:pt>
                <c:pt idx="8703">
                  <c:v>1077.0999999999999</c:v>
                </c:pt>
                <c:pt idx="8704">
                  <c:v>1141.0999999999999</c:v>
                </c:pt>
                <c:pt idx="8705">
                  <c:v>1142.7</c:v>
                </c:pt>
                <c:pt idx="8706">
                  <c:v>1125</c:v>
                </c:pt>
                <c:pt idx="8707">
                  <c:v>1110.7</c:v>
                </c:pt>
                <c:pt idx="8708">
                  <c:v>1075.0999999999999</c:v>
                </c:pt>
                <c:pt idx="8709">
                  <c:v>1034.2</c:v>
                </c:pt>
                <c:pt idx="8710">
                  <c:v>977.6</c:v>
                </c:pt>
                <c:pt idx="8711">
                  <c:v>913.9</c:v>
                </c:pt>
                <c:pt idx="8712">
                  <c:v>849.8</c:v>
                </c:pt>
                <c:pt idx="8713">
                  <c:v>805.4</c:v>
                </c:pt>
                <c:pt idx="8714">
                  <c:v>776.4</c:v>
                </c:pt>
                <c:pt idx="8715">
                  <c:v>769.4</c:v>
                </c:pt>
                <c:pt idx="8716">
                  <c:v>766.3</c:v>
                </c:pt>
                <c:pt idx="8717">
                  <c:v>789</c:v>
                </c:pt>
                <c:pt idx="8718">
                  <c:v>846.1</c:v>
                </c:pt>
                <c:pt idx="8719">
                  <c:v>938.7</c:v>
                </c:pt>
                <c:pt idx="8720">
                  <c:v>1036.9000000000001</c:v>
                </c:pt>
                <c:pt idx="8721">
                  <c:v>1088.4000000000001</c:v>
                </c:pt>
                <c:pt idx="8722">
                  <c:v>1101.7</c:v>
                </c:pt>
                <c:pt idx="8723">
                  <c:v>1125.9000000000001</c:v>
                </c:pt>
                <c:pt idx="8724">
                  <c:v>1123.2</c:v>
                </c:pt>
                <c:pt idx="8725">
                  <c:v>1130.0999999999999</c:v>
                </c:pt>
                <c:pt idx="8726">
                  <c:v>1128.9000000000001</c:v>
                </c:pt>
                <c:pt idx="8727">
                  <c:v>1151.5</c:v>
                </c:pt>
                <c:pt idx="8728">
                  <c:v>1170.7</c:v>
                </c:pt>
                <c:pt idx="8729">
                  <c:v>1148</c:v>
                </c:pt>
                <c:pt idx="8730">
                  <c:v>1126.5999999999999</c:v>
                </c:pt>
                <c:pt idx="8731">
                  <c:v>1106.3</c:v>
                </c:pt>
                <c:pt idx="8732">
                  <c:v>1072.9000000000001</c:v>
                </c:pt>
                <c:pt idx="8733">
                  <c:v>1039.7</c:v>
                </c:pt>
                <c:pt idx="8734">
                  <c:v>974.3</c:v>
                </c:pt>
                <c:pt idx="8735">
                  <c:v>901</c:v>
                </c:pt>
                <c:pt idx="8736">
                  <c:v>846.5</c:v>
                </c:pt>
                <c:pt idx="8737">
                  <c:v>808.1</c:v>
                </c:pt>
                <c:pt idx="8738">
                  <c:v>780.1</c:v>
                </c:pt>
                <c:pt idx="8739">
                  <c:v>754.7</c:v>
                </c:pt>
                <c:pt idx="8740">
                  <c:v>741.1</c:v>
                </c:pt>
                <c:pt idx="8741">
                  <c:v>746.8</c:v>
                </c:pt>
                <c:pt idx="8742">
                  <c:v>802.6</c:v>
                </c:pt>
                <c:pt idx="8743">
                  <c:v>865.6</c:v>
                </c:pt>
                <c:pt idx="8744">
                  <c:v>947.2</c:v>
                </c:pt>
                <c:pt idx="8745">
                  <c:v>976.9</c:v>
                </c:pt>
                <c:pt idx="8746">
                  <c:v>1016.1</c:v>
                </c:pt>
                <c:pt idx="8747">
                  <c:v>1031.2</c:v>
                </c:pt>
                <c:pt idx="8748">
                  <c:v>1026</c:v>
                </c:pt>
                <c:pt idx="8749">
                  <c:v>1023.1</c:v>
                </c:pt>
                <c:pt idx="8750">
                  <c:v>1033.5999999999999</c:v>
                </c:pt>
                <c:pt idx="8751">
                  <c:v>1054.7</c:v>
                </c:pt>
                <c:pt idx="8752">
                  <c:v>1135.7</c:v>
                </c:pt>
                <c:pt idx="8753">
                  <c:v>1139</c:v>
                </c:pt>
                <c:pt idx="8754">
                  <c:v>1096.7</c:v>
                </c:pt>
                <c:pt idx="8755">
                  <c:v>1041</c:v>
                </c:pt>
                <c:pt idx="8756">
                  <c:v>973.9</c:v>
                </c:pt>
                <c:pt idx="8757">
                  <c:v>929</c:v>
                </c:pt>
                <c:pt idx="8758">
                  <c:v>895.6</c:v>
                </c:pt>
                <c:pt idx="8759">
                  <c:v>864.9</c:v>
                </c:pt>
              </c:numCache>
            </c:numRef>
          </c:val>
          <c:smooth val="0"/>
          <c:extLst>
            <c:ext xmlns:c15="http://schemas.microsoft.com/office/drawing/2012/chart" uri="{02D57815-91ED-43cb-92C2-25804820EDAC}">
              <c15:filteredSeriesTitle>
                <c15:tx>
                  <c:strRef>
                    <c:extLst>
                      <c:ext uri="{02D57815-91ED-43cb-92C2-25804820EDAC}">
                        <c15:formulaRef>
                          <c15:sqref>Summary!$D$1</c15:sqref>
                        </c15:formulaRef>
                      </c:ext>
                    </c:extLst>
                    <c:strCache>
                      <c:ptCount val="1"/>
                      <c:pt idx="0">
                        <c:v>2019 elektri tarbimine, MWh Elering</c:v>
                      </c:pt>
                    </c:strCache>
                  </c:strRef>
                </c15:tx>
              </c15:filteredSeriesTitle>
            </c:ext>
            <c:ext xmlns:c16="http://schemas.microsoft.com/office/drawing/2014/chart" uri="{C3380CC4-5D6E-409C-BE32-E72D297353CC}">
              <c16:uniqueId val="{00000000-E690-4CE2-966F-EF70DDADC817}"/>
            </c:ext>
          </c:extLst>
        </c:ser>
        <c:dLbls>
          <c:showLegendKey val="0"/>
          <c:showVal val="0"/>
          <c:showCatName val="0"/>
          <c:showSerName val="0"/>
          <c:showPercent val="0"/>
          <c:showBubbleSize val="0"/>
        </c:dLbls>
        <c:smooth val="0"/>
        <c:axId val="943941776"/>
        <c:axId val="943939280"/>
        <c:extLst/>
      </c:lineChart>
      <c:catAx>
        <c:axId val="943941776"/>
        <c:scaling>
          <c:orientation val="minMax"/>
        </c:scaling>
        <c:delete val="0"/>
        <c:axPos val="b"/>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943939280"/>
        <c:crossesAt val="400"/>
        <c:auto val="1"/>
        <c:lblAlgn val="ctr"/>
        <c:lblOffset val="100"/>
        <c:noMultiLvlLbl val="0"/>
      </c:catAx>
      <c:valAx>
        <c:axId val="943939280"/>
        <c:scaling>
          <c:orientation val="minMax"/>
          <c:max val="1600"/>
          <c:min val="0"/>
        </c:scaling>
        <c:delete val="0"/>
        <c:axPos val="l"/>
        <c:majorGridlines>
          <c:spPr>
            <a:ln w="15875" cap="flat" cmpd="sng" algn="ctr">
              <a:solidFill>
                <a:srgbClr val="E7E6E6">
                  <a:lumMod val="90000"/>
                </a:srgb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sz="1000">
                    <a:solidFill>
                      <a:schemeClr val="tx1"/>
                    </a:solidFill>
                  </a:rPr>
                  <a:t>MW</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943941776"/>
        <c:crosses val="autoZero"/>
        <c:crossBetween val="between"/>
        <c:majorUnit val="2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652588591850514"/>
          <c:y val="3.2520913877361966E-2"/>
          <c:w val="0.84811563955885161"/>
          <c:h val="0.75980245509661415"/>
        </c:manualLayout>
      </c:layout>
      <c:lineChart>
        <c:grouping val="standard"/>
        <c:varyColors val="0"/>
        <c:ser>
          <c:idx val="1"/>
          <c:order val="0"/>
          <c:spPr>
            <a:ln w="28575" cap="rnd">
              <a:solidFill>
                <a:srgbClr val="A2C02F"/>
              </a:solidFill>
              <a:round/>
            </a:ln>
            <a:effectLst/>
          </c:spPr>
          <c:marker>
            <c:symbol val="none"/>
          </c:marker>
          <c:val>
            <c:numRef>
              <c:f>'[eesti elektriportfell mudel CfDga.xlsx]offshore vs onshore toodang'!$R$19:$R$30</c:f>
              <c:numCache>
                <c:formatCode>#,##0</c:formatCode>
                <c:ptCount val="12"/>
                <c:pt idx="0">
                  <c:v>350.3794666666667</c:v>
                </c:pt>
                <c:pt idx="1">
                  <c:v>529.77020000000016</c:v>
                </c:pt>
                <c:pt idx="2">
                  <c:v>513.54893333333416</c:v>
                </c:pt>
                <c:pt idx="3">
                  <c:v>252.26160000000101</c:v>
                </c:pt>
                <c:pt idx="4">
                  <c:v>280.81160000000034</c:v>
                </c:pt>
                <c:pt idx="5">
                  <c:v>281.50073333333455</c:v>
                </c:pt>
                <c:pt idx="6">
                  <c:v>213.91633333333382</c:v>
                </c:pt>
                <c:pt idx="7">
                  <c:v>206.39786666666686</c:v>
                </c:pt>
                <c:pt idx="8">
                  <c:v>348.0534666666673</c:v>
                </c:pt>
                <c:pt idx="9">
                  <c:v>321.6669333333345</c:v>
                </c:pt>
                <c:pt idx="10">
                  <c:v>413.81099999999975</c:v>
                </c:pt>
                <c:pt idx="11">
                  <c:v>503.83653333333444</c:v>
                </c:pt>
              </c:numCache>
            </c:numRef>
          </c:val>
          <c:smooth val="1"/>
          <c:extLst>
            <c:ext xmlns:c15="http://schemas.microsoft.com/office/drawing/2012/chart" uri="{02D57815-91ED-43cb-92C2-25804820EDAC}">
              <c15:filteredSeriesTitle>
                <c15:tx>
                  <c:strRef>
                    <c:extLst>
                      <c:ext uri="{02D57815-91ED-43cb-92C2-25804820EDAC}">
                        <c15:formulaRef>
                          <c15:sqref>'[eesti elektriportfell mudel CfDga.xlsx]offshore vs onshore toodang'!$R$1</c15:sqref>
                        </c15:formulaRef>
                      </c:ext>
                    </c:extLst>
                    <c:strCache>
                      <c:ptCount val="1"/>
                      <c:pt idx="0">
                        <c:v>Meri 1000 MW</c:v>
                      </c:pt>
                    </c:strCache>
                  </c:strRef>
                </c15:tx>
              </c15:filteredSeriesTitle>
            </c:ext>
            <c:ext xmlns:c15="http://schemas.microsoft.com/office/drawing/2012/chart" uri="{02D57815-91ED-43cb-92C2-25804820EDAC}">
              <c15:filteredCategoryTitle>
                <c15:cat>
                  <c:strRef>
                    <c:extLst>
                      <c:ext uri="{02D57815-91ED-43cb-92C2-25804820EDAC}">
                        <c15:formulaRef>
                          <c15:sqref>'[eesti elektriportfell mudel CfDga.xlsx]offshore vs onshore toodang'!$P$19:$P$30</c15:sqref>
                        </c15:formulaRef>
                      </c:ext>
                    </c:extLst>
                    <c:strCache>
                      <c:ptCount val="12"/>
                      <c:pt idx="0">
                        <c:v>Jaan</c:v>
                      </c:pt>
                      <c:pt idx="1">
                        <c:v>Veebr</c:v>
                      </c:pt>
                      <c:pt idx="2">
                        <c:v>Märts</c:v>
                      </c:pt>
                      <c:pt idx="3">
                        <c:v>Apr</c:v>
                      </c:pt>
                      <c:pt idx="4">
                        <c:v>Mai</c:v>
                      </c:pt>
                      <c:pt idx="5">
                        <c:v>Juuni</c:v>
                      </c:pt>
                      <c:pt idx="6">
                        <c:v>Juuli</c:v>
                      </c:pt>
                      <c:pt idx="7">
                        <c:v>Aug</c:v>
                      </c:pt>
                      <c:pt idx="8">
                        <c:v>Sept</c:v>
                      </c:pt>
                      <c:pt idx="9">
                        <c:v>Okt</c:v>
                      </c:pt>
                      <c:pt idx="10">
                        <c:v>Nov</c:v>
                      </c:pt>
                      <c:pt idx="11">
                        <c:v>Dets</c:v>
                      </c:pt>
                    </c:strCache>
                  </c:strRef>
                </c15:cat>
              </c15:filteredCategoryTitle>
            </c:ext>
            <c:ext xmlns:c16="http://schemas.microsoft.com/office/drawing/2014/chart" uri="{C3380CC4-5D6E-409C-BE32-E72D297353CC}">
              <c16:uniqueId val="{00000000-AA7E-4B84-81A1-51FF16500B64}"/>
            </c:ext>
          </c:extLst>
        </c:ser>
        <c:ser>
          <c:idx val="0"/>
          <c:order val="1"/>
          <c:spPr>
            <a:ln w="28575" cap="rnd">
              <a:solidFill>
                <a:schemeClr val="accent1">
                  <a:lumMod val="75000"/>
                </a:schemeClr>
              </a:solidFill>
              <a:round/>
            </a:ln>
            <a:effectLst/>
          </c:spPr>
          <c:marker>
            <c:symbol val="none"/>
          </c:marker>
          <c:val>
            <c:numRef>
              <c:f>'[eesti elektriportfell mudel CfDga.xlsx]offshore vs onshore toodang'!$Q$19:$Q$30</c:f>
              <c:numCache>
                <c:formatCode>#,##0</c:formatCode>
                <c:ptCount val="12"/>
                <c:pt idx="0">
                  <c:v>297.27761904761803</c:v>
                </c:pt>
                <c:pt idx="1">
                  <c:v>365.30785714285753</c:v>
                </c:pt>
                <c:pt idx="2">
                  <c:v>370.42809523809581</c:v>
                </c:pt>
                <c:pt idx="3">
                  <c:v>201.00523809523676</c:v>
                </c:pt>
                <c:pt idx="4">
                  <c:v>229.68833333333234</c:v>
                </c:pt>
                <c:pt idx="5">
                  <c:v>186.19571428571334</c:v>
                </c:pt>
                <c:pt idx="6">
                  <c:v>173.89214285714147</c:v>
                </c:pt>
                <c:pt idx="7">
                  <c:v>175.55690476190409</c:v>
                </c:pt>
                <c:pt idx="8">
                  <c:v>257.16357142857004</c:v>
                </c:pt>
                <c:pt idx="9">
                  <c:v>266.40547619047533</c:v>
                </c:pt>
                <c:pt idx="10">
                  <c:v>275.5326190476182</c:v>
                </c:pt>
                <c:pt idx="11">
                  <c:v>379.31047619047592</c:v>
                </c:pt>
              </c:numCache>
            </c:numRef>
          </c:val>
          <c:smooth val="1"/>
          <c:extLst>
            <c:ext xmlns:c15="http://schemas.microsoft.com/office/drawing/2012/chart" uri="{02D57815-91ED-43cb-92C2-25804820EDAC}">
              <c15:filteredSeriesTitle>
                <c15:tx>
                  <c:strRef>
                    <c:extLst>
                      <c:ext uri="{02D57815-91ED-43cb-92C2-25804820EDAC}">
                        <c15:formulaRef>
                          <c15:sqref>'[eesti elektriportfell mudel CfDga.xlsx]offshore vs onshore toodang'!$Q$1</c15:sqref>
                        </c15:formulaRef>
                      </c:ext>
                    </c:extLst>
                    <c:strCache>
                      <c:ptCount val="1"/>
                      <c:pt idx="0">
                        <c:v>Maismaa 1000 MW</c:v>
                      </c:pt>
                    </c:strCache>
                  </c:strRef>
                </c15:tx>
              </c15:filteredSeriesTitle>
            </c:ext>
            <c:ext xmlns:c15="http://schemas.microsoft.com/office/drawing/2012/chart" uri="{02D57815-91ED-43cb-92C2-25804820EDAC}">
              <c15:filteredCategoryTitle>
                <c15:cat>
                  <c:strRef>
                    <c:extLst>
                      <c:ext uri="{02D57815-91ED-43cb-92C2-25804820EDAC}">
                        <c15:formulaRef>
                          <c15:sqref>'[eesti elektriportfell mudel CfDga.xlsx]offshore vs onshore toodang'!$P$19:$P$30</c15:sqref>
                        </c15:formulaRef>
                      </c:ext>
                    </c:extLst>
                    <c:strCache>
                      <c:ptCount val="12"/>
                      <c:pt idx="0">
                        <c:v>Jaan</c:v>
                      </c:pt>
                      <c:pt idx="1">
                        <c:v>Veebr</c:v>
                      </c:pt>
                      <c:pt idx="2">
                        <c:v>Märts</c:v>
                      </c:pt>
                      <c:pt idx="3">
                        <c:v>Apr</c:v>
                      </c:pt>
                      <c:pt idx="4">
                        <c:v>Mai</c:v>
                      </c:pt>
                      <c:pt idx="5">
                        <c:v>Juuni</c:v>
                      </c:pt>
                      <c:pt idx="6">
                        <c:v>Juuli</c:v>
                      </c:pt>
                      <c:pt idx="7">
                        <c:v>Aug</c:v>
                      </c:pt>
                      <c:pt idx="8">
                        <c:v>Sept</c:v>
                      </c:pt>
                      <c:pt idx="9">
                        <c:v>Okt</c:v>
                      </c:pt>
                      <c:pt idx="10">
                        <c:v>Nov</c:v>
                      </c:pt>
                      <c:pt idx="11">
                        <c:v>Dets</c:v>
                      </c:pt>
                    </c:strCache>
                  </c:strRef>
                </c15:cat>
              </c15:filteredCategoryTitle>
            </c:ext>
            <c:ext xmlns:c16="http://schemas.microsoft.com/office/drawing/2014/chart" uri="{C3380CC4-5D6E-409C-BE32-E72D297353CC}">
              <c16:uniqueId val="{00000001-AA7E-4B84-81A1-51FF16500B64}"/>
            </c:ext>
          </c:extLst>
        </c:ser>
        <c:ser>
          <c:idx val="2"/>
          <c:order val="2"/>
          <c:spPr>
            <a:ln w="28575" cap="rnd">
              <a:solidFill>
                <a:schemeClr val="accent6">
                  <a:lumMod val="75000"/>
                </a:schemeClr>
              </a:solidFill>
              <a:round/>
            </a:ln>
            <a:effectLst/>
          </c:spPr>
          <c:marker>
            <c:symbol val="none"/>
          </c:marker>
          <c:val>
            <c:numRef>
              <c:f>'[eesti elektriportfell mudel CfDga.xlsx]offshore vs onshore toodang'!$V$19:$V$30</c:f>
              <c:numCache>
                <c:formatCode>#,##0</c:formatCode>
                <c:ptCount val="12"/>
                <c:pt idx="0">
                  <c:v>23.391128626059409</c:v>
                </c:pt>
                <c:pt idx="1">
                  <c:v>47.221111329027273</c:v>
                </c:pt>
                <c:pt idx="2">
                  <c:v>87.340877942060061</c:v>
                </c:pt>
                <c:pt idx="3">
                  <c:v>155.04401314370395</c:v>
                </c:pt>
                <c:pt idx="4">
                  <c:v>127.50487522327364</c:v>
                </c:pt>
                <c:pt idx="5">
                  <c:v>157.56510938909872</c:v>
                </c:pt>
                <c:pt idx="6">
                  <c:v>138.02462020412972</c:v>
                </c:pt>
                <c:pt idx="7">
                  <c:v>121.98818284282227</c:v>
                </c:pt>
                <c:pt idx="8">
                  <c:v>86.440961140506786</c:v>
                </c:pt>
                <c:pt idx="9">
                  <c:v>32.563289773002744</c:v>
                </c:pt>
                <c:pt idx="10">
                  <c:v>13.759605136464158</c:v>
                </c:pt>
                <c:pt idx="11">
                  <c:v>9.1562252498514347</c:v>
                </c:pt>
              </c:numCache>
            </c:numRef>
          </c:val>
          <c:smooth val="1"/>
          <c:extLst>
            <c:ext xmlns:c15="http://schemas.microsoft.com/office/drawing/2012/chart" uri="{02D57815-91ED-43cb-92C2-25804820EDAC}">
              <c15:filteredSeriesTitle>
                <c15:tx>
                  <c:strRef>
                    <c:extLst>
                      <c:ext uri="{02D57815-91ED-43cb-92C2-25804820EDAC}">
                        <c15:formulaRef>
                          <c15:sqref>'[eesti elektriportfell mudel CfDga.xlsx]offshore vs onshore toodang'!$V$18</c15:sqref>
                        </c15:formulaRef>
                      </c:ext>
                    </c:extLst>
                    <c:strCache>
                      <c:ptCount val="1"/>
                      <c:pt idx="0">
                        <c:v>Päike 1000 MW</c:v>
                      </c:pt>
                    </c:strCache>
                  </c:strRef>
                </c15:tx>
              </c15:filteredSeriesTitle>
            </c:ext>
            <c:ext xmlns:c16="http://schemas.microsoft.com/office/drawing/2014/chart" uri="{C3380CC4-5D6E-409C-BE32-E72D297353CC}">
              <c16:uniqueId val="{00000002-AA7E-4B84-81A1-51FF16500B64}"/>
            </c:ext>
          </c:extLst>
        </c:ser>
        <c:dLbls>
          <c:showLegendKey val="0"/>
          <c:showVal val="0"/>
          <c:showCatName val="0"/>
          <c:showSerName val="0"/>
          <c:showPercent val="0"/>
          <c:showBubbleSize val="0"/>
        </c:dLbls>
        <c:smooth val="0"/>
        <c:axId val="223876160"/>
        <c:axId val="223876992"/>
      </c:lineChart>
      <c:catAx>
        <c:axId val="223876160"/>
        <c:scaling>
          <c:orientation val="minMax"/>
        </c:scaling>
        <c:delete val="0"/>
        <c:axPos val="b"/>
        <c:numFmt formatCode="General" sourceLinked="1"/>
        <c:majorTickMark val="none"/>
        <c:minorTickMark val="none"/>
        <c:tickLblPos val="nextTo"/>
        <c:spPr>
          <a:solidFill>
            <a:srgbClr val="F5F5F5"/>
          </a:solid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crossAx val="223876992"/>
        <c:crosses val="autoZero"/>
        <c:auto val="1"/>
        <c:lblAlgn val="ctr"/>
        <c:lblOffset val="100"/>
        <c:noMultiLvlLbl val="0"/>
      </c:catAx>
      <c:valAx>
        <c:axId val="223876992"/>
        <c:scaling>
          <c:orientation val="minMax"/>
        </c:scaling>
        <c:delete val="0"/>
        <c:axPos val="l"/>
        <c:majorGridlines>
          <c:spPr>
            <a:ln w="6350"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r>
                  <a:rPr lang="en-US" sz="1400">
                    <a:solidFill>
                      <a:sysClr val="windowText" lastClr="000000"/>
                    </a:solidFill>
                  </a:rPr>
                  <a:t>GWh</a:t>
                </a:r>
              </a:p>
            </c:rich>
          </c:tx>
          <c:overlay val="0"/>
          <c:spPr>
            <a:noFill/>
            <a:ln>
              <a:noFill/>
            </a:ln>
            <a:effectLst/>
          </c:spPr>
          <c:txPr>
            <a:bodyPr rot="-54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title>
        <c:numFmt formatCode="#,###"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crossAx val="223876160"/>
        <c:crosses val="autoZero"/>
        <c:crossBetween val="between"/>
      </c:valAx>
      <c:spPr>
        <a:noFill/>
        <a:ln>
          <a:noFill/>
        </a:ln>
        <a:effectLst/>
      </c:spPr>
    </c:plotArea>
    <c:legend>
      <c:legendPos val="b"/>
      <c:layout>
        <c:manualLayout>
          <c:xMode val="edge"/>
          <c:yMode val="edge"/>
          <c:x val="0.14169439293141206"/>
          <c:y val="0.94938735837571431"/>
          <c:w val="0.81738681615435071"/>
          <c:h val="4.8118876038250831E-2"/>
        </c:manualLayout>
      </c:layout>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dPt>
            <c:idx val="0"/>
            <c:bubble3D val="0"/>
            <c:spPr>
              <a:solidFill>
                <a:srgbClr val="92B5E2"/>
              </a:solidFill>
              <a:ln w="19050">
                <a:solidFill>
                  <a:schemeClr val="lt1"/>
                </a:solidFill>
              </a:ln>
              <a:effectLst/>
            </c:spPr>
            <c:extLst>
              <c:ext xmlns:c16="http://schemas.microsoft.com/office/drawing/2014/chart" uri="{C3380CC4-5D6E-409C-BE32-E72D297353CC}">
                <c16:uniqueId val="{00000001-DB2E-41B5-A1A7-A77C9D862844}"/>
              </c:ext>
            </c:extLst>
          </c:dPt>
          <c:dPt>
            <c:idx val="1"/>
            <c:bubble3D val="0"/>
            <c:spPr>
              <a:solidFill>
                <a:srgbClr val="A2C02F"/>
              </a:solidFill>
              <a:ln w="19050">
                <a:solidFill>
                  <a:schemeClr val="lt1"/>
                </a:solidFill>
              </a:ln>
              <a:effectLst/>
            </c:spPr>
            <c:extLst>
              <c:ext xmlns:c16="http://schemas.microsoft.com/office/drawing/2014/chart" uri="{C3380CC4-5D6E-409C-BE32-E72D297353CC}">
                <c16:uniqueId val="{00000003-DB2E-41B5-A1A7-A77C9D862844}"/>
              </c:ext>
            </c:extLst>
          </c:dPt>
          <c:dPt>
            <c:idx val="2"/>
            <c:bubble3D val="0"/>
            <c:spPr>
              <a:solidFill>
                <a:srgbClr val="FFA300"/>
              </a:solidFill>
              <a:ln w="19050">
                <a:solidFill>
                  <a:schemeClr val="lt1"/>
                </a:solidFill>
              </a:ln>
              <a:effectLst/>
            </c:spPr>
            <c:extLst>
              <c:ext xmlns:c16="http://schemas.microsoft.com/office/drawing/2014/chart" uri="{C3380CC4-5D6E-409C-BE32-E72D297353CC}">
                <c16:uniqueId val="{00000005-DB2E-41B5-A1A7-A77C9D862844}"/>
              </c:ext>
            </c:extLst>
          </c:dPt>
          <c:dPt>
            <c:idx val="3"/>
            <c:bubble3D val="0"/>
            <c:spPr>
              <a:solidFill>
                <a:srgbClr val="E9692D"/>
              </a:solidFill>
              <a:ln w="19050">
                <a:solidFill>
                  <a:schemeClr val="lt1"/>
                </a:solidFill>
              </a:ln>
              <a:effectLst/>
            </c:spPr>
            <c:extLst>
              <c:ext xmlns:c16="http://schemas.microsoft.com/office/drawing/2014/chart" uri="{C3380CC4-5D6E-409C-BE32-E72D297353CC}">
                <c16:uniqueId val="{00000007-DB2E-41B5-A1A7-A77C9D862844}"/>
              </c:ext>
            </c:extLst>
          </c:dPt>
          <c:dPt>
            <c:idx val="4"/>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9-DB2E-41B5-A1A7-A77C9D862844}"/>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DB2E-41B5-A1A7-A77C9D862844}"/>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DB2E-41B5-A1A7-A77C9D862844}"/>
              </c:ext>
            </c:extLst>
          </c:dPt>
          <c:val>
            <c:numRef>
              <c:f>'Soome ja Rootsi vs Baltikum'!$R$27:$R$30</c:f>
              <c:numCache>
                <c:formatCode>#\ ##0.0</c:formatCode>
                <c:ptCount val="4"/>
                <c:pt idx="0">
                  <c:v>38.103999999999999</c:v>
                </c:pt>
                <c:pt idx="1">
                  <c:v>24.260999999999999</c:v>
                </c:pt>
                <c:pt idx="2">
                  <c:v>17.126000000000001</c:v>
                </c:pt>
                <c:pt idx="3">
                  <c:v>2.577</c:v>
                </c:pt>
              </c:numCache>
            </c:numRef>
          </c:val>
          <c:extLst>
            <c:ext xmlns:c15="http://schemas.microsoft.com/office/drawing/2012/chart" uri="{02D57815-91ED-43cb-92C2-25804820EDAC}">
              <c15:filteredCategoryTitle>
                <c15:cat>
                  <c:strRef>
                    <c:extLst>
                      <c:ext uri="{02D57815-91ED-43cb-92C2-25804820EDAC}">
                        <c15:formulaRef>
                          <c15:sqref>'Soome ja Rootsi vs Baltikum'!$A$27:$A$33</c15:sqref>
                        </c15:formulaRef>
                      </c:ext>
                    </c:extLst>
                    <c:strCache>
                      <c:ptCount val="7"/>
                      <c:pt idx="0">
                        <c:v>Industry</c:v>
                      </c:pt>
                      <c:pt idx="1">
                        <c:v>Residential</c:v>
                      </c:pt>
                      <c:pt idx="2">
                        <c:v>Commercial and Public Services</c:v>
                      </c:pt>
                      <c:pt idx="3">
                        <c:v>Agriculture/Forestry</c:v>
                      </c:pt>
                      <c:pt idx="4">
                        <c:v>Transport</c:v>
                      </c:pt>
                      <c:pt idx="5">
                        <c:v>Fishing</c:v>
                      </c:pt>
                      <c:pt idx="6">
                        <c:v>Non-specified</c:v>
                      </c:pt>
                    </c:strCache>
                  </c:strRef>
                </c15:cat>
              </c15:filteredCategoryTitle>
            </c:ext>
            <c:ext xmlns:c16="http://schemas.microsoft.com/office/drawing/2014/chart" uri="{C3380CC4-5D6E-409C-BE32-E72D297353CC}">
              <c16:uniqueId val="{0000000E-DB2E-41B5-A1A7-A77C9D862844}"/>
            </c:ext>
          </c:extLst>
        </c:ser>
        <c:dLbls>
          <c:showLegendKey val="0"/>
          <c:showVal val="0"/>
          <c:showCatName val="0"/>
          <c:showSerName val="0"/>
          <c:showPercent val="0"/>
          <c:showBubbleSize val="0"/>
          <c:showLeaderLines val="0"/>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2">
    <c:autoUpdate val="0"/>
  </c:externalData>
  <c:userShapes r:id="rId3"/>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4946141621048915"/>
          <c:y val="6.9444444444444448E-2"/>
          <c:w val="0.23485784919653893"/>
          <c:h val="0.67171717171717171"/>
        </c:manualLayout>
      </c:layout>
      <c:doughnutChart>
        <c:varyColors val="1"/>
        <c:ser>
          <c:idx val="0"/>
          <c:order val="0"/>
          <c:dPt>
            <c:idx val="0"/>
            <c:bubble3D val="0"/>
            <c:spPr>
              <a:solidFill>
                <a:srgbClr val="92B5E2"/>
              </a:solidFill>
              <a:ln w="19050">
                <a:solidFill>
                  <a:schemeClr val="lt1"/>
                </a:solidFill>
              </a:ln>
              <a:effectLst/>
            </c:spPr>
            <c:extLst>
              <c:ext xmlns:c16="http://schemas.microsoft.com/office/drawing/2014/chart" uri="{C3380CC4-5D6E-409C-BE32-E72D297353CC}">
                <c16:uniqueId val="{00000001-056F-4B27-9190-0856C985015E}"/>
              </c:ext>
            </c:extLst>
          </c:dPt>
          <c:dPt>
            <c:idx val="1"/>
            <c:bubble3D val="0"/>
            <c:spPr>
              <a:solidFill>
                <a:srgbClr val="A2C02F"/>
              </a:solidFill>
              <a:ln w="19050">
                <a:solidFill>
                  <a:schemeClr val="lt1"/>
                </a:solidFill>
              </a:ln>
              <a:effectLst/>
            </c:spPr>
            <c:extLst>
              <c:ext xmlns:c16="http://schemas.microsoft.com/office/drawing/2014/chart" uri="{C3380CC4-5D6E-409C-BE32-E72D297353CC}">
                <c16:uniqueId val="{00000003-056F-4B27-9190-0856C985015E}"/>
              </c:ext>
            </c:extLst>
          </c:dPt>
          <c:dPt>
            <c:idx val="2"/>
            <c:bubble3D val="0"/>
            <c:spPr>
              <a:solidFill>
                <a:srgbClr val="FFA300"/>
              </a:solidFill>
              <a:ln w="19050">
                <a:solidFill>
                  <a:schemeClr val="lt1"/>
                </a:solidFill>
              </a:ln>
              <a:effectLst/>
            </c:spPr>
            <c:extLst>
              <c:ext xmlns:c16="http://schemas.microsoft.com/office/drawing/2014/chart" uri="{C3380CC4-5D6E-409C-BE32-E72D297353CC}">
                <c16:uniqueId val="{00000005-056F-4B27-9190-0856C985015E}"/>
              </c:ext>
            </c:extLst>
          </c:dPt>
          <c:dPt>
            <c:idx val="3"/>
            <c:bubble3D val="0"/>
            <c:spPr>
              <a:solidFill>
                <a:srgbClr val="E9692D"/>
              </a:solidFill>
              <a:ln w="19050">
                <a:solidFill>
                  <a:schemeClr val="lt1"/>
                </a:solidFill>
              </a:ln>
              <a:effectLst/>
            </c:spPr>
            <c:extLst>
              <c:ext xmlns:c16="http://schemas.microsoft.com/office/drawing/2014/chart" uri="{C3380CC4-5D6E-409C-BE32-E72D297353CC}">
                <c16:uniqueId val="{00000007-056F-4B27-9190-0856C985015E}"/>
              </c:ext>
            </c:extLst>
          </c:dPt>
          <c:dPt>
            <c:idx val="4"/>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9-056F-4B27-9190-0856C985015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056F-4B27-9190-0856C985015E}"/>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056F-4B27-9190-0856C985015E}"/>
              </c:ext>
            </c:extLst>
          </c:dPt>
          <c:val>
            <c:numRef>
              <c:f>'Soome ja Rootsi vs Baltikum'!$Q$27:$Q$30</c:f>
              <c:numCache>
                <c:formatCode>#\ ##0.0</c:formatCode>
                <c:ptCount val="4"/>
                <c:pt idx="0">
                  <c:v>8.0835499999999989</c:v>
                </c:pt>
                <c:pt idx="1">
                  <c:v>7.4350910000000008</c:v>
                </c:pt>
                <c:pt idx="2">
                  <c:v>9.4893669999999979</c:v>
                </c:pt>
                <c:pt idx="3">
                  <c:v>0.76875700000000002</c:v>
                </c:pt>
              </c:numCache>
            </c:numRef>
          </c:val>
          <c:extLst>
            <c:ext xmlns:c15="http://schemas.microsoft.com/office/drawing/2012/chart" uri="{02D57815-91ED-43cb-92C2-25804820EDAC}">
              <c15:filteredCategoryTitle>
                <c15:cat>
                  <c:strRef>
                    <c:extLst>
                      <c:ext uri="{02D57815-91ED-43cb-92C2-25804820EDAC}">
                        <c15:formulaRef>
                          <c15:sqref>'Soome ja Rootsi vs Baltikum'!$A$27:$A$33</c15:sqref>
                        </c15:formulaRef>
                      </c:ext>
                    </c:extLst>
                    <c:strCache>
                      <c:ptCount val="7"/>
                      <c:pt idx="0">
                        <c:v>Industry</c:v>
                      </c:pt>
                      <c:pt idx="1">
                        <c:v>Residential</c:v>
                      </c:pt>
                      <c:pt idx="2">
                        <c:v>Commercial and Public Services</c:v>
                      </c:pt>
                      <c:pt idx="3">
                        <c:v>Agriculture/Forestry</c:v>
                      </c:pt>
                      <c:pt idx="4">
                        <c:v>Transport</c:v>
                      </c:pt>
                      <c:pt idx="5">
                        <c:v>Fishing</c:v>
                      </c:pt>
                      <c:pt idx="6">
                        <c:v>Non-specified</c:v>
                      </c:pt>
                    </c:strCache>
                  </c:strRef>
                </c15:cat>
              </c15:filteredCategoryTitle>
            </c:ext>
            <c:ext xmlns:c16="http://schemas.microsoft.com/office/drawing/2014/chart" uri="{C3380CC4-5D6E-409C-BE32-E72D297353CC}">
              <c16:uniqueId val="{0000000E-056F-4B27-9190-0856C985015E}"/>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withinLinearReversed" id="24">
  <a:schemeClr val="accent4"/>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27829</cdr:x>
      <cdr:y>0.14232</cdr:y>
    </cdr:from>
    <cdr:to>
      <cdr:x>0.38088</cdr:x>
      <cdr:y>0.30681</cdr:y>
    </cdr:to>
    <cdr:sp macro="" textlink="">
      <cdr:nvSpPr>
        <cdr:cNvPr id="4" name="Oval 3">
          <a:extLst xmlns:a="http://schemas.openxmlformats.org/drawingml/2006/main">
            <a:ext uri="{FF2B5EF4-FFF2-40B4-BE49-F238E27FC236}">
              <a16:creationId xmlns:a16="http://schemas.microsoft.com/office/drawing/2014/main" id="{7E4D4033-9321-C336-B21F-9E95BA78001D}"/>
            </a:ext>
          </a:extLst>
        </cdr:cNvPr>
        <cdr:cNvSpPr/>
      </cdr:nvSpPr>
      <cdr:spPr>
        <a:xfrm xmlns:a="http://schemas.openxmlformats.org/drawingml/2006/main">
          <a:off x="1185103" y="369211"/>
          <a:ext cx="436880" cy="426720"/>
        </a:xfrm>
        <a:prstGeom xmlns:a="http://schemas.openxmlformats.org/drawingml/2006/main" prst="ellipse">
          <a:avLst/>
        </a:prstGeom>
        <a:solidFill xmlns:a="http://schemas.openxmlformats.org/drawingml/2006/main">
          <a:srgbClr val="FFA300"/>
        </a:solidFill>
        <a:ln xmlns:a="http://schemas.openxmlformats.org/drawingml/2006/main">
          <a:solidFill>
            <a:srgbClr val="FFA3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endParaRPr lang="et-EE" sz="1200" b="1" dirty="0">
            <a:solidFill>
              <a:schemeClr val="bg1"/>
            </a:solidFill>
          </a:endParaRPr>
        </a:p>
      </cdr:txBody>
    </cdr:sp>
  </cdr:relSizeAnchor>
  <cdr:relSizeAnchor xmlns:cdr="http://schemas.openxmlformats.org/drawingml/2006/chartDrawing">
    <cdr:from>
      <cdr:x>0.43437</cdr:x>
      <cdr:y>0.0359</cdr:y>
    </cdr:from>
    <cdr:to>
      <cdr:x>0.53596</cdr:x>
      <cdr:y>0.20302</cdr:y>
    </cdr:to>
    <cdr:sp macro="" textlink="">
      <cdr:nvSpPr>
        <cdr:cNvPr id="6" name="Oval 5">
          <a:extLst xmlns:a="http://schemas.openxmlformats.org/drawingml/2006/main">
            <a:ext uri="{FF2B5EF4-FFF2-40B4-BE49-F238E27FC236}">
              <a16:creationId xmlns:a16="http://schemas.microsoft.com/office/drawing/2014/main" id="{0FA5B7FA-0F3F-4D77-06AC-94E0DDD75A7C}"/>
            </a:ext>
          </a:extLst>
        </cdr:cNvPr>
        <cdr:cNvSpPr/>
      </cdr:nvSpPr>
      <cdr:spPr>
        <a:xfrm xmlns:a="http://schemas.openxmlformats.org/drawingml/2006/main">
          <a:off x="1849766" y="93134"/>
          <a:ext cx="432617" cy="433556"/>
        </a:xfrm>
        <a:prstGeom xmlns:a="http://schemas.openxmlformats.org/drawingml/2006/main" prst="ellipse">
          <a:avLst/>
        </a:prstGeom>
        <a:solidFill xmlns:a="http://schemas.openxmlformats.org/drawingml/2006/main">
          <a:srgbClr val="E9692D"/>
        </a:solidFill>
        <a:ln xmlns:a="http://schemas.openxmlformats.org/drawingml/2006/main">
          <a:solidFill>
            <a:srgbClr val="E9692D"/>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endParaRPr lang="et-EE" sz="1200" b="1" dirty="0">
            <a:solidFill>
              <a:schemeClr val="bg1"/>
            </a:solidFill>
          </a:endParaRPr>
        </a:p>
      </cdr:txBody>
    </cdr:sp>
  </cdr:relSizeAnchor>
  <cdr:relSizeAnchor xmlns:cdr="http://schemas.openxmlformats.org/drawingml/2006/chartDrawing">
    <cdr:from>
      <cdr:x>0.67937</cdr:x>
      <cdr:y>0.39448</cdr:y>
    </cdr:from>
    <cdr:to>
      <cdr:x>0.81391</cdr:x>
      <cdr:y>0.59857</cdr:y>
    </cdr:to>
    <cdr:grpSp>
      <cdr:nvGrpSpPr>
        <cdr:cNvPr id="7" name="Group 6">
          <a:extLst xmlns:a="http://schemas.openxmlformats.org/drawingml/2006/main">
            <a:ext uri="{FF2B5EF4-FFF2-40B4-BE49-F238E27FC236}">
              <a16:creationId xmlns:a16="http://schemas.microsoft.com/office/drawing/2014/main" id="{62918288-F2B8-9C9B-876E-AFE0702B37A3}"/>
            </a:ext>
          </a:extLst>
        </cdr:cNvPr>
        <cdr:cNvGrpSpPr/>
      </cdr:nvGrpSpPr>
      <cdr:grpSpPr>
        <a:xfrm xmlns:a="http://schemas.openxmlformats.org/drawingml/2006/main">
          <a:off x="2624498" y="928367"/>
          <a:ext cx="519746" cy="480305"/>
          <a:chOff x="3951985" y="1323468"/>
          <a:chExt cx="666626" cy="589788"/>
        </a:xfrm>
      </cdr:grpSpPr>
      <cdr:sp macro="" textlink="">
        <cdr:nvSpPr>
          <cdr:cNvPr id="2" name="Oval 1">
            <a:extLst xmlns:a="http://schemas.openxmlformats.org/drawingml/2006/main">
              <a:ext uri="{FF2B5EF4-FFF2-40B4-BE49-F238E27FC236}">
                <a16:creationId xmlns:a16="http://schemas.microsoft.com/office/drawing/2014/main" id="{964B1D85-B1CD-304A-E3B5-833F8C897E22}"/>
              </a:ext>
            </a:extLst>
          </cdr:cNvPr>
          <cdr:cNvSpPr/>
        </cdr:nvSpPr>
        <cdr:spPr>
          <a:xfrm xmlns:a="http://schemas.openxmlformats.org/drawingml/2006/main">
            <a:off x="3951985" y="1323468"/>
            <a:ext cx="562356" cy="589788"/>
          </a:xfrm>
          <a:prstGeom xmlns:a="http://schemas.openxmlformats.org/drawingml/2006/main" prst="ellipse">
            <a:avLst/>
          </a:prstGeom>
          <a:solidFill xmlns:a="http://schemas.openxmlformats.org/drawingml/2006/main">
            <a:srgbClr val="92B5E2"/>
          </a:solidFill>
          <a:ln xmlns:a="http://schemas.openxmlformats.org/drawingml/2006/main">
            <a:solidFill>
              <a:srgbClr val="92B5E2"/>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endParaRPr lang="et-EE" sz="1200" b="1" dirty="0">
              <a:solidFill>
                <a:schemeClr val="bg1"/>
              </a:solidFill>
            </a:endParaRPr>
          </a:p>
        </cdr:txBody>
      </cdr:sp>
      <cdr:sp macro="" textlink="">
        <cdr:nvSpPr>
          <cdr:cNvPr id="5" name="TextBox 4">
            <a:extLst xmlns:a="http://schemas.openxmlformats.org/drawingml/2006/main">
              <a:ext uri="{FF2B5EF4-FFF2-40B4-BE49-F238E27FC236}">
                <a16:creationId xmlns:a16="http://schemas.microsoft.com/office/drawing/2014/main" id="{6BCD3EF6-5308-3BB3-8AE7-A7E351E7045E}"/>
              </a:ext>
            </a:extLst>
          </cdr:cNvPr>
          <cdr:cNvSpPr txBox="1"/>
        </cdr:nvSpPr>
        <cdr:spPr>
          <a:xfrm xmlns:a="http://schemas.openxmlformats.org/drawingml/2006/main">
            <a:off x="3962512" y="1464651"/>
            <a:ext cx="656099" cy="256467"/>
          </a:xfrm>
          <a:prstGeom xmlns:a="http://schemas.openxmlformats.org/drawingml/2006/main" prst="rect">
            <a:avLst/>
          </a:prstGeom>
        </cdr:spPr>
        <cdr:txBody>
          <a:bodyPr xmlns:a="http://schemas.openxmlformats.org/drawingml/2006/main" vertOverflow="clip" vert="horz" wrap="square" lIns="91440" tIns="45720" rIns="91440" bIns="45720" rtlCol="0" anchor="t">
            <a:normAutofit/>
          </a:bodyPr>
          <a:lstStyle xmlns:a="http://schemas.openxmlformats.org/drawingml/2006/main"/>
          <a:p xmlns:a="http://schemas.openxmlformats.org/drawingml/2006/main">
            <a:pPr algn="l"/>
            <a:r>
              <a:rPr lang="en-US" sz="1200" b="1" dirty="0">
                <a:solidFill>
                  <a:schemeClr val="bg1"/>
                </a:solidFill>
              </a:rPr>
              <a:t>38,1</a:t>
            </a:r>
            <a:endParaRPr lang="et-EE" sz="1200" b="1" dirty="0">
              <a:solidFill>
                <a:schemeClr val="bg1"/>
              </a:solidFill>
            </a:endParaRPr>
          </a:p>
        </cdr:txBody>
      </cdr:sp>
    </cdr:grpSp>
  </cdr:relSizeAnchor>
  <cdr:relSizeAnchor xmlns:cdr="http://schemas.openxmlformats.org/drawingml/2006/chartDrawing">
    <cdr:from>
      <cdr:x>0.27471</cdr:x>
      <cdr:y>0.66515</cdr:y>
    </cdr:from>
    <cdr:to>
      <cdr:x>0.39281</cdr:x>
      <cdr:y>0.86489</cdr:y>
    </cdr:to>
    <cdr:grpSp>
      <cdr:nvGrpSpPr>
        <cdr:cNvPr id="11" name="Group 10">
          <a:extLst xmlns:a="http://schemas.openxmlformats.org/drawingml/2006/main">
            <a:ext uri="{FF2B5EF4-FFF2-40B4-BE49-F238E27FC236}">
              <a16:creationId xmlns:a16="http://schemas.microsoft.com/office/drawing/2014/main" id="{3B0BD39B-F8D2-A01B-837C-E1D2667CCAB5}"/>
            </a:ext>
          </a:extLst>
        </cdr:cNvPr>
        <cdr:cNvGrpSpPr/>
      </cdr:nvGrpSpPr>
      <cdr:grpSpPr>
        <a:xfrm xmlns:a="http://schemas.openxmlformats.org/drawingml/2006/main">
          <a:off x="1061242" y="1565361"/>
          <a:ext cx="456236" cy="470067"/>
          <a:chOff x="1684667" y="2306448"/>
          <a:chExt cx="562900" cy="580644"/>
        </a:xfrm>
      </cdr:grpSpPr>
      <cdr:sp macro="" textlink="">
        <cdr:nvSpPr>
          <cdr:cNvPr id="3" name="Oval 2">
            <a:extLst xmlns:a="http://schemas.openxmlformats.org/drawingml/2006/main">
              <a:ext uri="{FF2B5EF4-FFF2-40B4-BE49-F238E27FC236}">
                <a16:creationId xmlns:a16="http://schemas.microsoft.com/office/drawing/2014/main" id="{964B1D85-B1CD-304A-E3B5-833F8C897E22}"/>
              </a:ext>
            </a:extLst>
          </cdr:cNvPr>
          <cdr:cNvSpPr/>
        </cdr:nvSpPr>
        <cdr:spPr>
          <a:xfrm xmlns:a="http://schemas.openxmlformats.org/drawingml/2006/main">
            <a:off x="1688846" y="2306448"/>
            <a:ext cx="548640" cy="580644"/>
          </a:xfrm>
          <a:prstGeom xmlns:a="http://schemas.openxmlformats.org/drawingml/2006/main" prst="ellipse">
            <a:avLst/>
          </a:prstGeom>
          <a:solidFill xmlns:a="http://schemas.openxmlformats.org/drawingml/2006/main">
            <a:srgbClr val="A2C02F"/>
          </a:solidFill>
          <a:ln xmlns:a="http://schemas.openxmlformats.org/drawingml/2006/main">
            <a:solidFill>
              <a:srgbClr val="A2C02F"/>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endParaRPr lang="et-EE" sz="1200" b="1" dirty="0">
              <a:solidFill>
                <a:schemeClr val="bg1"/>
              </a:solidFill>
            </a:endParaRPr>
          </a:p>
        </cdr:txBody>
      </cdr:sp>
      <cdr:sp macro="" textlink="">
        <cdr:nvSpPr>
          <cdr:cNvPr id="8" name="TextBox 7">
            <a:extLst xmlns:a="http://schemas.openxmlformats.org/drawingml/2006/main">
              <a:ext uri="{FF2B5EF4-FFF2-40B4-BE49-F238E27FC236}">
                <a16:creationId xmlns:a16="http://schemas.microsoft.com/office/drawing/2014/main" id="{CCBA4182-CFC2-E48A-A23D-003DA6A8657D}"/>
              </a:ext>
            </a:extLst>
          </cdr:cNvPr>
          <cdr:cNvSpPr txBox="1"/>
        </cdr:nvSpPr>
        <cdr:spPr>
          <a:xfrm xmlns:a="http://schemas.openxmlformats.org/drawingml/2006/main">
            <a:off x="1684667" y="2432208"/>
            <a:ext cx="562900" cy="277619"/>
          </a:xfrm>
          <a:prstGeom xmlns:a="http://schemas.openxmlformats.org/drawingml/2006/main" prst="rect">
            <a:avLst/>
          </a:prstGeom>
        </cdr:spPr>
        <cdr:txBody>
          <a:bodyPr xmlns:a="http://schemas.openxmlformats.org/drawingml/2006/main" vertOverflow="clip" vert="horz" wrap="square" lIns="91440" tIns="45720" rIns="91440" bIns="45720" rtlCol="0" anchor="t">
            <a:normAutofit/>
          </a:bodyPr>
          <a:lstStyle xmlns:a="http://schemas.openxmlformats.org/drawingml/2006/main"/>
          <a:p xmlns:a="http://schemas.openxmlformats.org/drawingml/2006/main">
            <a:pPr algn="l"/>
            <a:r>
              <a:rPr lang="en-US" sz="1200" b="1" dirty="0">
                <a:solidFill>
                  <a:schemeClr val="bg1"/>
                </a:solidFill>
              </a:rPr>
              <a:t>24,3</a:t>
            </a:r>
            <a:endParaRPr lang="et-EE" sz="1200" b="1" dirty="0">
              <a:solidFill>
                <a:schemeClr val="bg1"/>
              </a:solidFill>
            </a:endParaRPr>
          </a:p>
        </cdr:txBody>
      </cdr:sp>
    </cdr:grpSp>
  </cdr:relSizeAnchor>
  <cdr:relSizeAnchor xmlns:cdr="http://schemas.openxmlformats.org/drawingml/2006/chartDrawing">
    <cdr:from>
      <cdr:x>0.27233</cdr:x>
      <cdr:y>0.17193</cdr:y>
    </cdr:from>
    <cdr:to>
      <cdr:x>0.38506</cdr:x>
      <cdr:y>0.25339</cdr:y>
    </cdr:to>
    <cdr:sp macro="" textlink="">
      <cdr:nvSpPr>
        <cdr:cNvPr id="9" name="TextBox 8">
          <a:extLst xmlns:a="http://schemas.openxmlformats.org/drawingml/2006/main">
            <a:ext uri="{FF2B5EF4-FFF2-40B4-BE49-F238E27FC236}">
              <a16:creationId xmlns:a16="http://schemas.microsoft.com/office/drawing/2014/main" id="{B2330AE9-D64A-BAC3-2FBB-2548E9842DF7}"/>
            </a:ext>
          </a:extLst>
        </cdr:cNvPr>
        <cdr:cNvSpPr txBox="1"/>
      </cdr:nvSpPr>
      <cdr:spPr>
        <a:xfrm xmlns:a="http://schemas.openxmlformats.org/drawingml/2006/main">
          <a:off x="1159703" y="446029"/>
          <a:ext cx="480076" cy="211328"/>
        </a:xfrm>
        <a:prstGeom xmlns:a="http://schemas.openxmlformats.org/drawingml/2006/main" prst="rect">
          <a:avLst/>
        </a:prstGeom>
      </cdr:spPr>
      <cdr:txBody>
        <a:bodyPr xmlns:a="http://schemas.openxmlformats.org/drawingml/2006/main" vertOverflow="clip" vert="horz" wrap="square" lIns="91440" tIns="45720" rIns="91440" bIns="45720" rtlCol="0" anchor="t">
          <a:normAutofit/>
        </a:bodyPr>
        <a:lstStyle xmlns:a="http://schemas.openxmlformats.org/drawingml/2006/main"/>
        <a:p xmlns:a="http://schemas.openxmlformats.org/drawingml/2006/main">
          <a:pPr algn="l"/>
          <a:r>
            <a:rPr lang="en-US" sz="1200" b="1" dirty="0">
              <a:solidFill>
                <a:schemeClr val="bg1"/>
              </a:solidFill>
            </a:rPr>
            <a:t>17,1</a:t>
          </a:r>
          <a:endParaRPr lang="et-EE" sz="1200" b="1" dirty="0">
            <a:solidFill>
              <a:schemeClr val="bg1"/>
            </a:solidFill>
          </a:endParaRPr>
        </a:p>
      </cdr:txBody>
    </cdr:sp>
  </cdr:relSizeAnchor>
  <cdr:relSizeAnchor xmlns:cdr="http://schemas.openxmlformats.org/drawingml/2006/chartDrawing">
    <cdr:from>
      <cdr:x>0.43891</cdr:x>
      <cdr:y>0.06698</cdr:y>
    </cdr:from>
    <cdr:to>
      <cdr:x>0.53596</cdr:x>
      <cdr:y>0.14623</cdr:y>
    </cdr:to>
    <cdr:sp macro="" textlink="">
      <cdr:nvSpPr>
        <cdr:cNvPr id="10" name="TextBox 9">
          <a:extLst xmlns:a="http://schemas.openxmlformats.org/drawingml/2006/main">
            <a:ext uri="{FF2B5EF4-FFF2-40B4-BE49-F238E27FC236}">
              <a16:creationId xmlns:a16="http://schemas.microsoft.com/office/drawing/2014/main" id="{9623D993-A235-7D53-5AC4-0FC4DE693622}"/>
            </a:ext>
          </a:extLst>
        </cdr:cNvPr>
        <cdr:cNvSpPr txBox="1"/>
      </cdr:nvSpPr>
      <cdr:spPr>
        <a:xfrm xmlns:a="http://schemas.openxmlformats.org/drawingml/2006/main">
          <a:off x="1869093" y="173772"/>
          <a:ext cx="413290" cy="205598"/>
        </a:xfrm>
        <a:prstGeom xmlns:a="http://schemas.openxmlformats.org/drawingml/2006/main" prst="rect">
          <a:avLst/>
        </a:prstGeom>
      </cdr:spPr>
      <cdr:txBody>
        <a:bodyPr xmlns:a="http://schemas.openxmlformats.org/drawingml/2006/main" vertOverflow="clip" vert="horz" wrap="square" lIns="91440" tIns="45720" rIns="91440" bIns="45720" rtlCol="0" anchor="t">
          <a:normAutofit/>
        </a:bodyPr>
        <a:lstStyle xmlns:a="http://schemas.openxmlformats.org/drawingml/2006/main"/>
        <a:p xmlns:a="http://schemas.openxmlformats.org/drawingml/2006/main">
          <a:pPr algn="l"/>
          <a:r>
            <a:rPr lang="en-US" sz="1200" b="1" dirty="0">
              <a:solidFill>
                <a:schemeClr val="bg1"/>
              </a:solidFill>
            </a:rPr>
            <a:t>2,6</a:t>
          </a:r>
          <a:endParaRPr lang="et-EE" sz="1200" b="1" dirty="0">
            <a:solidFill>
              <a:schemeClr val="bg1"/>
            </a:solidFil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52135</cdr:x>
      <cdr:y>0.15334</cdr:y>
    </cdr:from>
    <cdr:to>
      <cdr:x>0.59374</cdr:x>
      <cdr:y>0.3344</cdr:y>
    </cdr:to>
    <cdr:grpSp>
      <cdr:nvGrpSpPr>
        <cdr:cNvPr id="3" name="Group 2">
          <a:extLst xmlns:a="http://schemas.openxmlformats.org/drawingml/2006/main">
            <a:ext uri="{FF2B5EF4-FFF2-40B4-BE49-F238E27FC236}">
              <a16:creationId xmlns:a16="http://schemas.microsoft.com/office/drawing/2014/main" id="{FDC6C185-4AA3-20D2-B538-089EBF2C3DE7}"/>
            </a:ext>
          </a:extLst>
        </cdr:cNvPr>
        <cdr:cNvGrpSpPr/>
      </cdr:nvGrpSpPr>
      <cdr:grpSpPr>
        <a:xfrm xmlns:a="http://schemas.openxmlformats.org/drawingml/2006/main">
          <a:off x="2721151" y="279832"/>
          <a:ext cx="377835" cy="330419"/>
          <a:chOff x="3996895" y="1389389"/>
          <a:chExt cx="563870" cy="517874"/>
        </a:xfrm>
      </cdr:grpSpPr>
      <cdr:sp macro="" textlink="">
        <cdr:nvSpPr>
          <cdr:cNvPr id="7" name="Oval 6">
            <a:extLst xmlns:a="http://schemas.openxmlformats.org/drawingml/2006/main">
              <a:ext uri="{FF2B5EF4-FFF2-40B4-BE49-F238E27FC236}">
                <a16:creationId xmlns:a16="http://schemas.microsoft.com/office/drawing/2014/main" id="{DEA05487-A38F-BCB6-6320-440BAE406F7D}"/>
              </a:ext>
            </a:extLst>
          </cdr:cNvPr>
          <cdr:cNvSpPr/>
        </cdr:nvSpPr>
        <cdr:spPr>
          <a:xfrm xmlns:a="http://schemas.openxmlformats.org/drawingml/2006/main">
            <a:off x="3996895" y="1389389"/>
            <a:ext cx="493698" cy="517874"/>
          </a:xfrm>
          <a:prstGeom xmlns:a="http://schemas.openxmlformats.org/drawingml/2006/main" prst="ellipse">
            <a:avLst/>
          </a:prstGeom>
          <a:solidFill xmlns:a="http://schemas.openxmlformats.org/drawingml/2006/main">
            <a:srgbClr val="92B5E2"/>
          </a:solidFill>
          <a:ln xmlns:a="http://schemas.openxmlformats.org/drawingml/2006/main">
            <a:solidFill>
              <a:srgbClr val="92B5E2"/>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endParaRPr lang="et-EE" sz="1200" b="1" dirty="0">
              <a:solidFill>
                <a:schemeClr val="bg1"/>
              </a:solidFill>
            </a:endParaRPr>
          </a:p>
        </cdr:txBody>
      </cdr:sp>
      <cdr:sp macro="" textlink="">
        <cdr:nvSpPr>
          <cdr:cNvPr id="8" name="TextBox 3">
            <a:extLst xmlns:a="http://schemas.openxmlformats.org/drawingml/2006/main">
              <a:ext uri="{FF2B5EF4-FFF2-40B4-BE49-F238E27FC236}">
                <a16:creationId xmlns:a16="http://schemas.microsoft.com/office/drawing/2014/main" id="{5A73AB5E-FB16-F9E1-0D93-40EFE6B339F5}"/>
              </a:ext>
            </a:extLst>
          </cdr:cNvPr>
          <cdr:cNvSpPr txBox="1"/>
        </cdr:nvSpPr>
        <cdr:spPr>
          <a:xfrm xmlns:a="http://schemas.openxmlformats.org/drawingml/2006/main">
            <a:off x="4008222" y="1462669"/>
            <a:ext cx="552543" cy="220685"/>
          </a:xfrm>
          <a:prstGeom xmlns:a="http://schemas.openxmlformats.org/drawingml/2006/main" prst="rect">
            <a:avLst/>
          </a:prstGeom>
        </cdr:spPr>
        <cdr:txBody>
          <a:bodyPr xmlns:a="http://schemas.openxmlformats.org/drawingml/2006/main" vert="horz" wrap="square" lIns="91440" tIns="45720" rIns="91440" bIns="45720" rtlCol="0" anchor="t">
            <a:norm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en-US" sz="1200" b="1" dirty="0">
                <a:solidFill>
                  <a:schemeClr val="bg1"/>
                </a:solidFill>
              </a:rPr>
              <a:t>8,1</a:t>
            </a:r>
            <a:endParaRPr lang="et-EE" sz="1200" b="1" dirty="0">
              <a:solidFill>
                <a:schemeClr val="bg1"/>
              </a:solidFill>
            </a:endParaRPr>
          </a:p>
        </cdr:txBody>
      </cdr:sp>
    </cdr:grpSp>
  </cdr:relSizeAnchor>
  <cdr:relSizeAnchor xmlns:cdr="http://schemas.openxmlformats.org/drawingml/2006/chartDrawing">
    <cdr:from>
      <cdr:x>0.46159</cdr:x>
      <cdr:y>0.59703</cdr:y>
    </cdr:from>
    <cdr:to>
      <cdr:x>0.53106</cdr:x>
      <cdr:y>0.77885</cdr:y>
    </cdr:to>
    <cdr:grpSp>
      <cdr:nvGrpSpPr>
        <cdr:cNvPr id="9" name="Group 8">
          <a:extLst xmlns:a="http://schemas.openxmlformats.org/drawingml/2006/main">
            <a:ext uri="{FF2B5EF4-FFF2-40B4-BE49-F238E27FC236}">
              <a16:creationId xmlns:a16="http://schemas.microsoft.com/office/drawing/2014/main" id="{A6D67D53-8137-EF9E-A162-CD1E42C094A0}"/>
            </a:ext>
          </a:extLst>
        </cdr:cNvPr>
        <cdr:cNvGrpSpPr/>
      </cdr:nvGrpSpPr>
      <cdr:grpSpPr>
        <a:xfrm xmlns:a="http://schemas.openxmlformats.org/drawingml/2006/main">
          <a:off x="2409238" y="1089527"/>
          <a:ext cx="362594" cy="331806"/>
          <a:chOff x="1688846" y="2306448"/>
          <a:chExt cx="548642" cy="580644"/>
        </a:xfrm>
      </cdr:grpSpPr>
      <cdr:sp macro="" textlink="">
        <cdr:nvSpPr>
          <cdr:cNvPr id="10" name="Oval 9">
            <a:extLst xmlns:a="http://schemas.openxmlformats.org/drawingml/2006/main">
              <a:ext uri="{FF2B5EF4-FFF2-40B4-BE49-F238E27FC236}">
                <a16:creationId xmlns:a16="http://schemas.microsoft.com/office/drawing/2014/main" id="{887518DE-131D-7616-9D3E-4396D9BEE037}"/>
              </a:ext>
            </a:extLst>
          </cdr:cNvPr>
          <cdr:cNvSpPr/>
        </cdr:nvSpPr>
        <cdr:spPr>
          <a:xfrm xmlns:a="http://schemas.openxmlformats.org/drawingml/2006/main">
            <a:off x="1688846" y="2306448"/>
            <a:ext cx="548640" cy="580644"/>
          </a:xfrm>
          <a:prstGeom xmlns:a="http://schemas.openxmlformats.org/drawingml/2006/main" prst="ellipse">
            <a:avLst/>
          </a:prstGeom>
          <a:solidFill xmlns:a="http://schemas.openxmlformats.org/drawingml/2006/main">
            <a:srgbClr val="A2C02F"/>
          </a:solidFill>
          <a:ln xmlns:a="http://schemas.openxmlformats.org/drawingml/2006/main">
            <a:solidFill>
              <a:srgbClr val="A2C02F"/>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endParaRPr lang="et-EE" sz="1200" b="1" dirty="0">
              <a:solidFill>
                <a:schemeClr val="bg1"/>
              </a:solidFill>
            </a:endParaRPr>
          </a:p>
        </cdr:txBody>
      </cdr:sp>
      <cdr:sp macro="" textlink="">
        <cdr:nvSpPr>
          <cdr:cNvPr id="11" name="TextBox 3">
            <a:extLst xmlns:a="http://schemas.openxmlformats.org/drawingml/2006/main">
              <a:ext uri="{FF2B5EF4-FFF2-40B4-BE49-F238E27FC236}">
                <a16:creationId xmlns:a16="http://schemas.microsoft.com/office/drawing/2014/main" id="{5104DDDB-C43D-9FE7-DB7A-C5157E54569C}"/>
              </a:ext>
            </a:extLst>
          </cdr:cNvPr>
          <cdr:cNvSpPr txBox="1"/>
        </cdr:nvSpPr>
        <cdr:spPr>
          <a:xfrm xmlns:a="http://schemas.openxmlformats.org/drawingml/2006/main">
            <a:off x="1693707" y="2393368"/>
            <a:ext cx="543781" cy="205600"/>
          </a:xfrm>
          <a:prstGeom xmlns:a="http://schemas.openxmlformats.org/drawingml/2006/main" prst="rect">
            <a:avLst/>
          </a:prstGeom>
        </cdr:spPr>
        <cdr:txBody>
          <a:bodyPr xmlns:a="http://schemas.openxmlformats.org/drawingml/2006/main" vert="horz" wrap="square" lIns="91440" tIns="45720" rIns="91440" bIns="45720" rtlCol="0" anchor="t">
            <a:norm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en-US" sz="1200" b="1" dirty="0">
                <a:solidFill>
                  <a:schemeClr val="bg1"/>
                </a:solidFill>
              </a:rPr>
              <a:t>7,4</a:t>
            </a:r>
            <a:endParaRPr lang="et-EE" sz="1200" b="1" dirty="0">
              <a:solidFill>
                <a:schemeClr val="bg1"/>
              </a:solidFill>
            </a:endParaRPr>
          </a:p>
        </cdr:txBody>
      </cdr:sp>
    </cdr:grpSp>
  </cdr:relSizeAnchor>
</c:userShapes>
</file>

<file path=ppt/drawings/drawing3.xml><?xml version="1.0" encoding="utf-8"?>
<c:userShapes xmlns:c="http://schemas.openxmlformats.org/drawingml/2006/chart">
  <cdr:relSizeAnchor xmlns:cdr="http://schemas.openxmlformats.org/drawingml/2006/chartDrawing">
    <cdr:from>
      <cdr:x>0.44007</cdr:x>
      <cdr:y>0.51229</cdr:y>
    </cdr:from>
    <cdr:to>
      <cdr:x>0.56081</cdr:x>
      <cdr:y>0.61623</cdr:y>
    </cdr:to>
    <cdr:sp macro="" textlink="">
      <cdr:nvSpPr>
        <cdr:cNvPr id="3" name="TextBox 35">
          <a:extLst xmlns:a="http://schemas.openxmlformats.org/drawingml/2006/main">
            <a:ext uri="{FF2B5EF4-FFF2-40B4-BE49-F238E27FC236}">
              <a16:creationId xmlns:a16="http://schemas.microsoft.com/office/drawing/2014/main" id="{867686D0-A965-CF64-1872-C44212C56241}"/>
            </a:ext>
          </a:extLst>
        </cdr:cNvPr>
        <cdr:cNvSpPr txBox="1"/>
      </cdr:nvSpPr>
      <cdr:spPr>
        <a:xfrm xmlns:a="http://schemas.openxmlformats.org/drawingml/2006/main">
          <a:off x="2534928" y="1627457"/>
          <a:ext cx="695493" cy="330202"/>
        </a:xfrm>
        <a:prstGeom xmlns:a="http://schemas.openxmlformats.org/drawingml/2006/main" prst="rect">
          <a:avLst/>
        </a:prstGeom>
        <a:noFill xmlns:a="http://schemas.openxmlformats.org/drawingml/2006/main"/>
      </cdr:spPr>
      <cdr:txBody>
        <a:bodyPr xmlns:a="http://schemas.openxmlformats.org/drawingml/2006/main" vert="horz" wrap="square" lIns="91440" tIns="45720" rIns="91440" bIns="45720" rtlCol="0" anchor="t">
          <a:no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pPr algn="l"/>
          <a:r>
            <a:rPr lang="en-US" sz="1600" b="1" dirty="0">
              <a:solidFill>
                <a:schemeClr val="bg1"/>
              </a:solidFill>
            </a:rPr>
            <a:t>128,3</a:t>
          </a:r>
          <a:endParaRPr lang="et-EE" sz="1600" b="1" dirty="0">
            <a:solidFill>
              <a:schemeClr val="bg1"/>
            </a:solidFill>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54835</cdr:x>
      <cdr:y>0.17059</cdr:y>
    </cdr:from>
    <cdr:to>
      <cdr:x>0.72156</cdr:x>
      <cdr:y>0.45564</cdr:y>
    </cdr:to>
    <cdr:grpSp>
      <cdr:nvGrpSpPr>
        <cdr:cNvPr id="5" name="Group 4">
          <a:extLst xmlns:a="http://schemas.openxmlformats.org/drawingml/2006/main">
            <a:ext uri="{FF2B5EF4-FFF2-40B4-BE49-F238E27FC236}">
              <a16:creationId xmlns:a16="http://schemas.microsoft.com/office/drawing/2014/main" id="{F8C6178E-5B8D-CBD7-E554-C67895D7B08E}"/>
            </a:ext>
          </a:extLst>
        </cdr:cNvPr>
        <cdr:cNvGrpSpPr/>
      </cdr:nvGrpSpPr>
      <cdr:grpSpPr>
        <a:xfrm xmlns:a="http://schemas.openxmlformats.org/drawingml/2006/main">
          <a:off x="1207051" y="151637"/>
          <a:ext cx="381277" cy="253380"/>
          <a:chOff x="2485995" y="885887"/>
          <a:chExt cx="745633" cy="517874"/>
        </a:xfrm>
      </cdr:grpSpPr>
      <cdr:sp macro="" textlink="">
        <cdr:nvSpPr>
          <cdr:cNvPr id="3" name="Oval 2">
            <a:extLst xmlns:a="http://schemas.openxmlformats.org/drawingml/2006/main">
              <a:ext uri="{FF2B5EF4-FFF2-40B4-BE49-F238E27FC236}">
                <a16:creationId xmlns:a16="http://schemas.microsoft.com/office/drawing/2014/main" id="{26563EAC-E378-E257-090A-0E1897467A88}"/>
              </a:ext>
            </a:extLst>
          </cdr:cNvPr>
          <cdr:cNvSpPr/>
        </cdr:nvSpPr>
        <cdr:spPr>
          <a:xfrm xmlns:a="http://schemas.openxmlformats.org/drawingml/2006/main">
            <a:off x="2557622" y="885887"/>
            <a:ext cx="493697" cy="517874"/>
          </a:xfrm>
          <a:prstGeom xmlns:a="http://schemas.openxmlformats.org/drawingml/2006/main" prst="ellipse">
            <a:avLst/>
          </a:prstGeom>
          <a:solidFill xmlns:a="http://schemas.openxmlformats.org/drawingml/2006/main">
            <a:srgbClr val="92B5E2"/>
          </a:solidFill>
          <a:ln xmlns:a="http://schemas.openxmlformats.org/drawingml/2006/main">
            <a:solidFill>
              <a:srgbClr val="92B5E2"/>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endParaRPr lang="et-EE" sz="1200" b="1" dirty="0">
              <a:solidFill>
                <a:schemeClr val="bg1"/>
              </a:solidFill>
            </a:endParaRPr>
          </a:p>
        </cdr:txBody>
      </cdr:sp>
      <cdr:sp macro="" textlink="">
        <cdr:nvSpPr>
          <cdr:cNvPr id="4" name="TextBox 3">
            <a:extLst xmlns:a="http://schemas.openxmlformats.org/drawingml/2006/main">
              <a:ext uri="{FF2B5EF4-FFF2-40B4-BE49-F238E27FC236}">
                <a16:creationId xmlns:a16="http://schemas.microsoft.com/office/drawing/2014/main" id="{3480757E-6529-553E-B72B-8BB0B0E03C3F}"/>
              </a:ext>
            </a:extLst>
          </cdr:cNvPr>
          <cdr:cNvSpPr txBox="1"/>
        </cdr:nvSpPr>
        <cdr:spPr>
          <a:xfrm xmlns:a="http://schemas.openxmlformats.org/drawingml/2006/main">
            <a:off x="2485995" y="922782"/>
            <a:ext cx="745633" cy="212692"/>
          </a:xfrm>
          <a:prstGeom xmlns:a="http://schemas.openxmlformats.org/drawingml/2006/main" prst="rect">
            <a:avLst/>
          </a:prstGeom>
        </cdr:spPr>
        <cdr:txBody>
          <a:bodyPr xmlns:a="http://schemas.openxmlformats.org/drawingml/2006/main" vert="horz" wrap="square" lIns="91440" tIns="45720" rIns="91440" bIns="45720" rtlCol="0" anchor="t">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en-US" sz="1000" b="1" dirty="0">
                <a:solidFill>
                  <a:schemeClr val="bg1"/>
                </a:solidFill>
              </a:rPr>
              <a:t>2,2</a:t>
            </a:r>
            <a:endParaRPr lang="et-EE" sz="1000" b="1" dirty="0">
              <a:solidFill>
                <a:schemeClr val="bg1"/>
              </a:solidFill>
            </a:endParaRPr>
          </a:p>
        </cdr:txBody>
      </cdr:sp>
    </cdr:grpSp>
  </cdr:relSizeAnchor>
  <cdr:relSizeAnchor xmlns:cdr="http://schemas.openxmlformats.org/drawingml/2006/chartDrawing">
    <cdr:from>
      <cdr:x>0.30914</cdr:x>
      <cdr:y>0.34566</cdr:y>
    </cdr:from>
    <cdr:to>
      <cdr:x>0.45778</cdr:x>
      <cdr:y>0.63709</cdr:y>
    </cdr:to>
    <cdr:grpSp>
      <cdr:nvGrpSpPr>
        <cdr:cNvPr id="9" name="Group 8">
          <a:extLst xmlns:a="http://schemas.openxmlformats.org/drawingml/2006/main">
            <a:ext uri="{FF2B5EF4-FFF2-40B4-BE49-F238E27FC236}">
              <a16:creationId xmlns:a16="http://schemas.microsoft.com/office/drawing/2014/main" id="{08870F99-AC58-C8BE-BAFB-2D04FF5B14B2}"/>
            </a:ext>
          </a:extLst>
        </cdr:cNvPr>
        <cdr:cNvGrpSpPr/>
      </cdr:nvGrpSpPr>
      <cdr:grpSpPr>
        <a:xfrm xmlns:a="http://schemas.openxmlformats.org/drawingml/2006/main">
          <a:off x="680492" y="307256"/>
          <a:ext cx="327193" cy="259051"/>
          <a:chOff x="2524830" y="941832"/>
          <a:chExt cx="533942" cy="446977"/>
        </a:xfrm>
      </cdr:grpSpPr>
      <cdr:sp macro="" textlink="">
        <cdr:nvSpPr>
          <cdr:cNvPr id="7" name="Oval 6">
            <a:extLst xmlns:a="http://schemas.openxmlformats.org/drawingml/2006/main">
              <a:ext uri="{FF2B5EF4-FFF2-40B4-BE49-F238E27FC236}">
                <a16:creationId xmlns:a16="http://schemas.microsoft.com/office/drawing/2014/main" id="{E6E85C9E-2DF4-134E-4095-DB70B0B1AD6B}"/>
              </a:ext>
            </a:extLst>
          </cdr:cNvPr>
          <cdr:cNvSpPr/>
        </cdr:nvSpPr>
        <cdr:spPr>
          <a:xfrm xmlns:a="http://schemas.openxmlformats.org/drawingml/2006/main">
            <a:off x="2573800" y="941832"/>
            <a:ext cx="456227" cy="446977"/>
          </a:xfrm>
          <a:prstGeom xmlns:a="http://schemas.openxmlformats.org/drawingml/2006/main" prst="ellipse">
            <a:avLst/>
          </a:prstGeom>
          <a:solidFill xmlns:a="http://schemas.openxmlformats.org/drawingml/2006/main">
            <a:srgbClr val="FFA300"/>
          </a:solidFill>
          <a:ln xmlns:a="http://schemas.openxmlformats.org/drawingml/2006/main">
            <a:solidFill>
              <a:srgbClr val="FFA3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xmlns:a="http://schemas.openxmlformats.org/drawingml/2006/main">
            <a:pPr algn="ctr"/>
            <a:endParaRPr lang="et-EE" sz="1200" b="1" dirty="0">
              <a:solidFill>
                <a:schemeClr val="bg1"/>
              </a:solidFill>
            </a:endParaRPr>
          </a:p>
        </cdr:txBody>
      </cdr:sp>
      <cdr:sp macro="" textlink="">
        <cdr:nvSpPr>
          <cdr:cNvPr id="8" name="TextBox 20">
            <a:extLst xmlns:a="http://schemas.openxmlformats.org/drawingml/2006/main">
              <a:ext uri="{FF2B5EF4-FFF2-40B4-BE49-F238E27FC236}">
                <a16:creationId xmlns:a16="http://schemas.microsoft.com/office/drawing/2014/main" id="{B35BF0ED-5BB8-EFE0-87A4-FC2EF5EB3B63}"/>
              </a:ext>
            </a:extLst>
          </cdr:cNvPr>
          <cdr:cNvSpPr txBox="1"/>
        </cdr:nvSpPr>
        <cdr:spPr>
          <a:xfrm xmlns:a="http://schemas.openxmlformats.org/drawingml/2006/main">
            <a:off x="2524830" y="985969"/>
            <a:ext cx="533942" cy="238781"/>
          </a:xfrm>
          <a:prstGeom xmlns:a="http://schemas.openxmlformats.org/drawingml/2006/main" prst="rect">
            <a:avLst/>
          </a:prstGeom>
        </cdr:spPr>
        <cdr:txBody>
          <a:bodyPr xmlns:a="http://schemas.openxmlformats.org/drawingml/2006/main" vert="horz" wrap="square" lIns="91440" tIns="45720" rIns="91440" bIns="45720" rtlCol="0" anchor="t">
            <a:no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pPr algn="l"/>
            <a:r>
              <a:rPr lang="en-US" sz="1000" b="1" dirty="0">
                <a:solidFill>
                  <a:schemeClr val="bg1"/>
                </a:solidFill>
              </a:rPr>
              <a:t>3,6</a:t>
            </a:r>
            <a:endParaRPr lang="et-EE" sz="1000" b="1" dirty="0">
              <a:solidFill>
                <a:schemeClr val="bg1"/>
              </a:solidFill>
            </a:endParaRPr>
          </a:p>
        </cdr:txBody>
      </cdr:sp>
    </cdr:grp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t-E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0FEC614-E8B4-0947-8517-0229CFED2549}" type="datetimeFigureOut">
              <a:rPr lang="et-EE" smtClean="0"/>
              <a:t>21.10.24</a:t>
            </a:fld>
            <a:endParaRPr lang="et-E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t-E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t-E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E82269-F25A-6540-898B-2536567E5B33}" type="slidenum">
              <a:rPr lang="et-EE" smtClean="0"/>
              <a:t>‹#›</a:t>
            </a:fld>
            <a:endParaRPr lang="et-EE"/>
          </a:p>
        </p:txBody>
      </p:sp>
    </p:spTree>
    <p:extLst>
      <p:ext uri="{BB962C8B-B14F-4D97-AF65-F5344CB8AC3E}">
        <p14:creationId xmlns:p14="http://schemas.microsoft.com/office/powerpoint/2010/main" val="39224076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t-EE"/>
          </a:p>
        </p:txBody>
      </p:sp>
      <p:sp>
        <p:nvSpPr>
          <p:cNvPr id="4" name="Slide Number Placeholder 3"/>
          <p:cNvSpPr>
            <a:spLocks noGrp="1"/>
          </p:cNvSpPr>
          <p:nvPr>
            <p:ph type="sldNum" sz="quarter" idx="5"/>
          </p:nvPr>
        </p:nvSpPr>
        <p:spPr/>
        <p:txBody>
          <a:bodyPr/>
          <a:lstStyle/>
          <a:p>
            <a:fld id="{C7E82269-F25A-6540-898B-2536567E5B33}" type="slidenum">
              <a:rPr lang="et-EE" smtClean="0"/>
              <a:t>2</a:t>
            </a:fld>
            <a:endParaRPr lang="et-EE"/>
          </a:p>
        </p:txBody>
      </p:sp>
    </p:spTree>
    <p:extLst>
      <p:ext uri="{BB962C8B-B14F-4D97-AF65-F5344CB8AC3E}">
        <p14:creationId xmlns:p14="http://schemas.microsoft.com/office/powerpoint/2010/main" val="38746425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t-EE"/>
          </a:p>
        </p:txBody>
      </p:sp>
      <p:sp>
        <p:nvSpPr>
          <p:cNvPr id="4" name="Slide Number Placeholder 3"/>
          <p:cNvSpPr>
            <a:spLocks noGrp="1"/>
          </p:cNvSpPr>
          <p:nvPr>
            <p:ph type="sldNum" sz="quarter" idx="5"/>
          </p:nvPr>
        </p:nvSpPr>
        <p:spPr/>
        <p:txBody>
          <a:bodyPr/>
          <a:lstStyle/>
          <a:p>
            <a:fld id="{C7E82269-F25A-6540-898B-2536567E5B33}" type="slidenum">
              <a:rPr lang="et-EE" smtClean="0"/>
              <a:t>4</a:t>
            </a:fld>
            <a:endParaRPr lang="et-EE"/>
          </a:p>
        </p:txBody>
      </p:sp>
    </p:spTree>
    <p:extLst>
      <p:ext uri="{BB962C8B-B14F-4D97-AF65-F5344CB8AC3E}">
        <p14:creationId xmlns:p14="http://schemas.microsoft.com/office/powerpoint/2010/main" val="12252775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t-EE"/>
          </a:p>
        </p:txBody>
      </p:sp>
      <p:sp>
        <p:nvSpPr>
          <p:cNvPr id="4" name="Slide Number Placeholder 3"/>
          <p:cNvSpPr>
            <a:spLocks noGrp="1"/>
          </p:cNvSpPr>
          <p:nvPr>
            <p:ph type="sldNum" sz="quarter" idx="5"/>
          </p:nvPr>
        </p:nvSpPr>
        <p:spPr/>
        <p:txBody>
          <a:bodyPr/>
          <a:lstStyle/>
          <a:p>
            <a:fld id="{C7E82269-F25A-6540-898B-2536567E5B33}" type="slidenum">
              <a:rPr lang="et-EE" smtClean="0"/>
              <a:t>5</a:t>
            </a:fld>
            <a:endParaRPr lang="et-EE"/>
          </a:p>
        </p:txBody>
      </p:sp>
    </p:spTree>
    <p:extLst>
      <p:ext uri="{BB962C8B-B14F-4D97-AF65-F5344CB8AC3E}">
        <p14:creationId xmlns:p14="http://schemas.microsoft.com/office/powerpoint/2010/main" val="20169113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t-EE"/>
          </a:p>
        </p:txBody>
      </p:sp>
      <p:sp>
        <p:nvSpPr>
          <p:cNvPr id="4" name="Slide Number Placeholder 3"/>
          <p:cNvSpPr>
            <a:spLocks noGrp="1"/>
          </p:cNvSpPr>
          <p:nvPr>
            <p:ph type="sldNum" sz="quarter" idx="5"/>
          </p:nvPr>
        </p:nvSpPr>
        <p:spPr/>
        <p:txBody>
          <a:bodyPr/>
          <a:lstStyle/>
          <a:p>
            <a:fld id="{C7E82269-F25A-6540-898B-2536567E5B33}" type="slidenum">
              <a:rPr lang="et-EE" smtClean="0"/>
              <a:t>6</a:t>
            </a:fld>
            <a:endParaRPr lang="et-EE"/>
          </a:p>
        </p:txBody>
      </p:sp>
    </p:spTree>
    <p:extLst>
      <p:ext uri="{BB962C8B-B14F-4D97-AF65-F5344CB8AC3E}">
        <p14:creationId xmlns:p14="http://schemas.microsoft.com/office/powerpoint/2010/main" val="40792366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3A47FEE9-9157-4ACB-98D9-E25638EB222E}"/>
              </a:ext>
            </a:extLst>
          </p:cNvPr>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p>
        </p:txBody>
      </p:sp>
      <p:sp>
        <p:nvSpPr>
          <p:cNvPr id="3" name="Подзаголовок 2">
            <a:extLst>
              <a:ext uri="{FF2B5EF4-FFF2-40B4-BE49-F238E27FC236}">
                <a16:creationId xmlns:a16="http://schemas.microsoft.com/office/drawing/2014/main" id="{4EEAF397-7EFA-4765-90DE-228C037137D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
        <p:nvSpPr>
          <p:cNvPr id="4" name="Дата 3">
            <a:extLst>
              <a:ext uri="{FF2B5EF4-FFF2-40B4-BE49-F238E27FC236}">
                <a16:creationId xmlns:a16="http://schemas.microsoft.com/office/drawing/2014/main" id="{92F3912B-C938-4B8B-B8F2-2D7FA4156FD5}"/>
              </a:ext>
            </a:extLst>
          </p:cNvPr>
          <p:cNvSpPr>
            <a:spLocks noGrp="1"/>
          </p:cNvSpPr>
          <p:nvPr>
            <p:ph type="dt" sz="half" idx="10"/>
          </p:nvPr>
        </p:nvSpPr>
        <p:spPr/>
        <p:txBody>
          <a:bodyPr/>
          <a:lstStyle/>
          <a:p>
            <a:fld id="{FB529229-9D32-41E8-B5E9-750E38562FEE}" type="datetimeFigureOut">
              <a:rPr lang="ru-RU" smtClean="0"/>
              <a:t>21.10.2024</a:t>
            </a:fld>
            <a:endParaRPr lang="ru-RU"/>
          </a:p>
        </p:txBody>
      </p:sp>
      <p:sp>
        <p:nvSpPr>
          <p:cNvPr id="5" name="Нижний колонтитул 4">
            <a:extLst>
              <a:ext uri="{FF2B5EF4-FFF2-40B4-BE49-F238E27FC236}">
                <a16:creationId xmlns:a16="http://schemas.microsoft.com/office/drawing/2014/main" id="{EBD6F28A-459C-479F-9A64-958B764D2037}"/>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4A68ABF8-D358-4A01-9073-32DA110986B6}"/>
              </a:ext>
            </a:extLst>
          </p:cNvPr>
          <p:cNvSpPr>
            <a:spLocks noGrp="1"/>
          </p:cNvSpPr>
          <p:nvPr>
            <p:ph type="sldNum" sz="quarter" idx="12"/>
          </p:nvPr>
        </p:nvSpPr>
        <p:spPr/>
        <p:txBody>
          <a:bodyPr/>
          <a:lstStyle/>
          <a:p>
            <a:fld id="{E0616732-6C76-4382-A985-43BBD7A3E208}" type="slidenum">
              <a:rPr lang="ru-RU" smtClean="0"/>
              <a:t>‹#›</a:t>
            </a:fld>
            <a:endParaRPr lang="ru-RU"/>
          </a:p>
        </p:txBody>
      </p:sp>
    </p:spTree>
    <p:extLst>
      <p:ext uri="{BB962C8B-B14F-4D97-AF65-F5344CB8AC3E}">
        <p14:creationId xmlns:p14="http://schemas.microsoft.com/office/powerpoint/2010/main" val="28856396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2E065DC5-33CF-4809-817C-732603CAC874}"/>
              </a:ext>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16:creationId xmlns:a16="http://schemas.microsoft.com/office/drawing/2014/main" id="{4F7D4277-B54E-4FE1-8232-45E931563BAC}"/>
              </a:ext>
            </a:extLst>
          </p:cNvPr>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88706FAF-2563-4251-A83F-985A2ADE9C89}"/>
              </a:ext>
            </a:extLst>
          </p:cNvPr>
          <p:cNvSpPr>
            <a:spLocks noGrp="1"/>
          </p:cNvSpPr>
          <p:nvPr>
            <p:ph type="dt" sz="half" idx="10"/>
          </p:nvPr>
        </p:nvSpPr>
        <p:spPr/>
        <p:txBody>
          <a:bodyPr/>
          <a:lstStyle/>
          <a:p>
            <a:fld id="{FB529229-9D32-41E8-B5E9-750E38562FEE}" type="datetimeFigureOut">
              <a:rPr lang="ru-RU" smtClean="0"/>
              <a:t>21.10.2024</a:t>
            </a:fld>
            <a:endParaRPr lang="ru-RU"/>
          </a:p>
        </p:txBody>
      </p:sp>
      <p:sp>
        <p:nvSpPr>
          <p:cNvPr id="5" name="Нижний колонтитул 4">
            <a:extLst>
              <a:ext uri="{FF2B5EF4-FFF2-40B4-BE49-F238E27FC236}">
                <a16:creationId xmlns:a16="http://schemas.microsoft.com/office/drawing/2014/main" id="{9DC33B3B-EABE-4D49-8D53-687BF70E5F89}"/>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B598CB4D-F605-4677-84C5-F9621D3C2AE0}"/>
              </a:ext>
            </a:extLst>
          </p:cNvPr>
          <p:cNvSpPr>
            <a:spLocks noGrp="1"/>
          </p:cNvSpPr>
          <p:nvPr>
            <p:ph type="sldNum" sz="quarter" idx="12"/>
          </p:nvPr>
        </p:nvSpPr>
        <p:spPr/>
        <p:txBody>
          <a:bodyPr/>
          <a:lstStyle/>
          <a:p>
            <a:fld id="{E0616732-6C76-4382-A985-43BBD7A3E208}" type="slidenum">
              <a:rPr lang="ru-RU" smtClean="0"/>
              <a:t>‹#›</a:t>
            </a:fld>
            <a:endParaRPr lang="ru-RU"/>
          </a:p>
        </p:txBody>
      </p:sp>
    </p:spTree>
    <p:extLst>
      <p:ext uri="{BB962C8B-B14F-4D97-AF65-F5344CB8AC3E}">
        <p14:creationId xmlns:p14="http://schemas.microsoft.com/office/powerpoint/2010/main" val="29890602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16:creationId xmlns:a16="http://schemas.microsoft.com/office/drawing/2014/main" id="{1A81C978-58FD-4933-B880-3D71E565E983}"/>
              </a:ext>
            </a:extLst>
          </p:cNvPr>
          <p:cNvSpPr>
            <a:spLocks noGrp="1"/>
          </p:cNvSpPr>
          <p:nvPr>
            <p:ph type="title" orient="vert"/>
          </p:nvPr>
        </p:nvSpPr>
        <p:spPr>
          <a:xfrm>
            <a:off x="8724900" y="365125"/>
            <a:ext cx="2628900" cy="5811838"/>
          </a:xfrm>
        </p:spPr>
        <p:txBody>
          <a:bodyPr vert="eaVert"/>
          <a:lstStyle/>
          <a:p>
            <a:r>
              <a:rPr lang="ru-RU"/>
              <a:t>Образец заголовка</a:t>
            </a:r>
          </a:p>
        </p:txBody>
      </p:sp>
      <p:sp>
        <p:nvSpPr>
          <p:cNvPr id="3" name="Вертикальный текст 2">
            <a:extLst>
              <a:ext uri="{FF2B5EF4-FFF2-40B4-BE49-F238E27FC236}">
                <a16:creationId xmlns:a16="http://schemas.microsoft.com/office/drawing/2014/main" id="{F365BD42-0635-458D-A964-6D8DEEF325B1}"/>
              </a:ext>
            </a:extLst>
          </p:cNvPr>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3FE9D31F-4A63-4630-B955-3A0F98DE4F30}"/>
              </a:ext>
            </a:extLst>
          </p:cNvPr>
          <p:cNvSpPr>
            <a:spLocks noGrp="1"/>
          </p:cNvSpPr>
          <p:nvPr>
            <p:ph type="dt" sz="half" idx="10"/>
          </p:nvPr>
        </p:nvSpPr>
        <p:spPr/>
        <p:txBody>
          <a:bodyPr/>
          <a:lstStyle/>
          <a:p>
            <a:fld id="{FB529229-9D32-41E8-B5E9-750E38562FEE}" type="datetimeFigureOut">
              <a:rPr lang="ru-RU" smtClean="0"/>
              <a:t>21.10.2024</a:t>
            </a:fld>
            <a:endParaRPr lang="ru-RU"/>
          </a:p>
        </p:txBody>
      </p:sp>
      <p:sp>
        <p:nvSpPr>
          <p:cNvPr id="5" name="Нижний колонтитул 4">
            <a:extLst>
              <a:ext uri="{FF2B5EF4-FFF2-40B4-BE49-F238E27FC236}">
                <a16:creationId xmlns:a16="http://schemas.microsoft.com/office/drawing/2014/main" id="{2B8861C3-6779-4733-8063-BAF0F07680D9}"/>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D53659FA-347A-4D35-9317-1E62BFDCBAF3}"/>
              </a:ext>
            </a:extLst>
          </p:cNvPr>
          <p:cNvSpPr>
            <a:spLocks noGrp="1"/>
          </p:cNvSpPr>
          <p:nvPr>
            <p:ph type="sldNum" sz="quarter" idx="12"/>
          </p:nvPr>
        </p:nvSpPr>
        <p:spPr/>
        <p:txBody>
          <a:bodyPr/>
          <a:lstStyle/>
          <a:p>
            <a:fld id="{E0616732-6C76-4382-A985-43BBD7A3E208}" type="slidenum">
              <a:rPr lang="ru-RU" smtClean="0"/>
              <a:t>‹#›</a:t>
            </a:fld>
            <a:endParaRPr lang="ru-RU"/>
          </a:p>
        </p:txBody>
      </p:sp>
    </p:spTree>
    <p:extLst>
      <p:ext uri="{BB962C8B-B14F-4D97-AF65-F5344CB8AC3E}">
        <p14:creationId xmlns:p14="http://schemas.microsoft.com/office/powerpoint/2010/main" val="16341520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itelslaid">
    <p:spTree>
      <p:nvGrpSpPr>
        <p:cNvPr id="1" name=""/>
        <p:cNvGrpSpPr/>
        <p:nvPr/>
      </p:nvGrpSpPr>
      <p:grpSpPr>
        <a:xfrm>
          <a:off x="0" y="0"/>
          <a:ext cx="0" cy="0"/>
          <a:chOff x="0" y="0"/>
          <a:chExt cx="0" cy="0"/>
        </a:xfrm>
      </p:grpSpPr>
      <p:sp>
        <p:nvSpPr>
          <p:cNvPr id="2" name="Pealkiri 1">
            <a:extLst>
              <a:ext uri="{FF2B5EF4-FFF2-40B4-BE49-F238E27FC236}">
                <a16:creationId xmlns:a16="http://schemas.microsoft.com/office/drawing/2014/main" id="{85A509EB-FB25-5DEE-0C55-B07AA437F162}"/>
              </a:ext>
            </a:extLst>
          </p:cNvPr>
          <p:cNvSpPr>
            <a:spLocks noGrp="1"/>
          </p:cNvSpPr>
          <p:nvPr>
            <p:ph type="ctrTitle"/>
          </p:nvPr>
        </p:nvSpPr>
        <p:spPr>
          <a:xfrm>
            <a:off x="1524000" y="1122363"/>
            <a:ext cx="9144000" cy="2387600"/>
          </a:xfrm>
        </p:spPr>
        <p:txBody>
          <a:bodyPr anchor="b"/>
          <a:lstStyle>
            <a:lvl1pPr algn="ctr">
              <a:defRPr sz="6000"/>
            </a:lvl1pPr>
          </a:lstStyle>
          <a:p>
            <a:r>
              <a:rPr lang="et-EE"/>
              <a:t>Klõpsake juhteksemplari pealkirja laadi redigeerimiseks</a:t>
            </a:r>
          </a:p>
        </p:txBody>
      </p:sp>
      <p:sp>
        <p:nvSpPr>
          <p:cNvPr id="3" name="Alapealkiri 2">
            <a:extLst>
              <a:ext uri="{FF2B5EF4-FFF2-40B4-BE49-F238E27FC236}">
                <a16:creationId xmlns:a16="http://schemas.microsoft.com/office/drawing/2014/main" id="{DA92DFA8-6088-8103-3DF0-6D8E37DBAAA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t-EE"/>
              <a:t>Klõpsake juhteksemplari alapealkirja laadi redigeerimiseks</a:t>
            </a:r>
          </a:p>
        </p:txBody>
      </p:sp>
      <p:sp>
        <p:nvSpPr>
          <p:cNvPr id="4" name="Kuupäeva kohatäide 3">
            <a:extLst>
              <a:ext uri="{FF2B5EF4-FFF2-40B4-BE49-F238E27FC236}">
                <a16:creationId xmlns:a16="http://schemas.microsoft.com/office/drawing/2014/main" id="{1CA798EA-133E-FF56-D0C8-6261EEB92C37}"/>
              </a:ext>
            </a:extLst>
          </p:cNvPr>
          <p:cNvSpPr>
            <a:spLocks noGrp="1"/>
          </p:cNvSpPr>
          <p:nvPr>
            <p:ph type="dt" sz="half" idx="10"/>
          </p:nvPr>
        </p:nvSpPr>
        <p:spPr/>
        <p:txBody>
          <a:bodyPr/>
          <a:lstStyle/>
          <a:p>
            <a:fld id="{D2450041-76BD-43C1-A3B8-CC73E81AEC1B}" type="datetimeFigureOut">
              <a:rPr lang="et-EE" smtClean="0"/>
              <a:t>21.10.24</a:t>
            </a:fld>
            <a:endParaRPr lang="et-EE"/>
          </a:p>
        </p:txBody>
      </p:sp>
      <p:sp>
        <p:nvSpPr>
          <p:cNvPr id="5" name="Jaluse kohatäide 4">
            <a:extLst>
              <a:ext uri="{FF2B5EF4-FFF2-40B4-BE49-F238E27FC236}">
                <a16:creationId xmlns:a16="http://schemas.microsoft.com/office/drawing/2014/main" id="{0C8D41B5-B439-7EC6-E8B3-8831A9766C41}"/>
              </a:ext>
            </a:extLst>
          </p:cNvPr>
          <p:cNvSpPr>
            <a:spLocks noGrp="1"/>
          </p:cNvSpPr>
          <p:nvPr>
            <p:ph type="ftr" sz="quarter" idx="11"/>
          </p:nvPr>
        </p:nvSpPr>
        <p:spPr/>
        <p:txBody>
          <a:bodyPr/>
          <a:lstStyle/>
          <a:p>
            <a:endParaRPr lang="et-EE"/>
          </a:p>
        </p:txBody>
      </p:sp>
      <p:sp>
        <p:nvSpPr>
          <p:cNvPr id="6" name="Slaidinumbri kohatäide 5">
            <a:extLst>
              <a:ext uri="{FF2B5EF4-FFF2-40B4-BE49-F238E27FC236}">
                <a16:creationId xmlns:a16="http://schemas.microsoft.com/office/drawing/2014/main" id="{89CF557B-3345-9BE2-988D-297869A0F782}"/>
              </a:ext>
            </a:extLst>
          </p:cNvPr>
          <p:cNvSpPr>
            <a:spLocks noGrp="1"/>
          </p:cNvSpPr>
          <p:nvPr>
            <p:ph type="sldNum" sz="quarter" idx="12"/>
          </p:nvPr>
        </p:nvSpPr>
        <p:spPr/>
        <p:txBody>
          <a:bodyPr/>
          <a:lstStyle/>
          <a:p>
            <a:fld id="{7AE61F13-3C0B-4EBA-8525-4288964F0FAB}" type="slidenum">
              <a:rPr lang="et-EE" smtClean="0"/>
              <a:t>‹#›</a:t>
            </a:fld>
            <a:endParaRPr lang="et-EE"/>
          </a:p>
        </p:txBody>
      </p:sp>
    </p:spTree>
    <p:extLst>
      <p:ext uri="{BB962C8B-B14F-4D97-AF65-F5344CB8AC3E}">
        <p14:creationId xmlns:p14="http://schemas.microsoft.com/office/powerpoint/2010/main" val="15228891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Pealkiri ja sisu">
    <p:spTree>
      <p:nvGrpSpPr>
        <p:cNvPr id="1" name=""/>
        <p:cNvGrpSpPr/>
        <p:nvPr/>
      </p:nvGrpSpPr>
      <p:grpSpPr>
        <a:xfrm>
          <a:off x="0" y="0"/>
          <a:ext cx="0" cy="0"/>
          <a:chOff x="0" y="0"/>
          <a:chExt cx="0" cy="0"/>
        </a:xfrm>
      </p:grpSpPr>
      <p:sp>
        <p:nvSpPr>
          <p:cNvPr id="2" name="Pealkiri 1">
            <a:extLst>
              <a:ext uri="{FF2B5EF4-FFF2-40B4-BE49-F238E27FC236}">
                <a16:creationId xmlns:a16="http://schemas.microsoft.com/office/drawing/2014/main" id="{D3CF1358-C594-553B-9EAE-C59785F72413}"/>
              </a:ext>
            </a:extLst>
          </p:cNvPr>
          <p:cNvSpPr>
            <a:spLocks noGrp="1"/>
          </p:cNvSpPr>
          <p:nvPr>
            <p:ph type="title"/>
          </p:nvPr>
        </p:nvSpPr>
        <p:spPr/>
        <p:txBody>
          <a:bodyPr/>
          <a:lstStyle/>
          <a:p>
            <a:r>
              <a:rPr lang="et-EE"/>
              <a:t>Klõpsake juhteksemplari pealkirja laadi redigeerimiseks</a:t>
            </a:r>
          </a:p>
        </p:txBody>
      </p:sp>
      <p:sp>
        <p:nvSpPr>
          <p:cNvPr id="3" name="Sisu kohatäide 2">
            <a:extLst>
              <a:ext uri="{FF2B5EF4-FFF2-40B4-BE49-F238E27FC236}">
                <a16:creationId xmlns:a16="http://schemas.microsoft.com/office/drawing/2014/main" id="{8DF5A7F6-13B1-B47B-B3F4-F37B418D6FE6}"/>
              </a:ext>
            </a:extLst>
          </p:cNvPr>
          <p:cNvSpPr>
            <a:spLocks noGrp="1"/>
          </p:cNvSpPr>
          <p:nvPr>
            <p:ph idx="1"/>
          </p:nvPr>
        </p:nvSpPr>
        <p:spPr/>
        <p:txBody>
          <a:bodyPr/>
          <a:lstStyle/>
          <a:p>
            <a:pPr lvl="0"/>
            <a:r>
              <a:rPr lang="et-EE"/>
              <a:t>Klõpsake juhteksemplari tekstilaadide redigeerimiseks</a:t>
            </a:r>
          </a:p>
          <a:p>
            <a:pPr lvl="1"/>
            <a:r>
              <a:rPr lang="et-EE"/>
              <a:t>Teine tase</a:t>
            </a:r>
          </a:p>
          <a:p>
            <a:pPr lvl="2"/>
            <a:r>
              <a:rPr lang="et-EE"/>
              <a:t>Kolmas tase</a:t>
            </a:r>
          </a:p>
          <a:p>
            <a:pPr lvl="3"/>
            <a:r>
              <a:rPr lang="et-EE"/>
              <a:t>Neljas tase</a:t>
            </a:r>
          </a:p>
          <a:p>
            <a:pPr lvl="4"/>
            <a:r>
              <a:rPr lang="et-EE"/>
              <a:t>Viies tase</a:t>
            </a:r>
          </a:p>
        </p:txBody>
      </p:sp>
      <p:sp>
        <p:nvSpPr>
          <p:cNvPr id="4" name="Kuupäeva kohatäide 3">
            <a:extLst>
              <a:ext uri="{FF2B5EF4-FFF2-40B4-BE49-F238E27FC236}">
                <a16:creationId xmlns:a16="http://schemas.microsoft.com/office/drawing/2014/main" id="{91035D75-1940-282E-FBBF-708A9F345FD4}"/>
              </a:ext>
            </a:extLst>
          </p:cNvPr>
          <p:cNvSpPr>
            <a:spLocks noGrp="1"/>
          </p:cNvSpPr>
          <p:nvPr>
            <p:ph type="dt" sz="half" idx="10"/>
          </p:nvPr>
        </p:nvSpPr>
        <p:spPr/>
        <p:txBody>
          <a:bodyPr/>
          <a:lstStyle/>
          <a:p>
            <a:fld id="{D2450041-76BD-43C1-A3B8-CC73E81AEC1B}" type="datetimeFigureOut">
              <a:rPr lang="et-EE" smtClean="0"/>
              <a:t>21.10.24</a:t>
            </a:fld>
            <a:endParaRPr lang="et-EE"/>
          </a:p>
        </p:txBody>
      </p:sp>
      <p:sp>
        <p:nvSpPr>
          <p:cNvPr id="5" name="Jaluse kohatäide 4">
            <a:extLst>
              <a:ext uri="{FF2B5EF4-FFF2-40B4-BE49-F238E27FC236}">
                <a16:creationId xmlns:a16="http://schemas.microsoft.com/office/drawing/2014/main" id="{907F04DE-493A-7830-3409-F146E8DAFA8B}"/>
              </a:ext>
            </a:extLst>
          </p:cNvPr>
          <p:cNvSpPr>
            <a:spLocks noGrp="1"/>
          </p:cNvSpPr>
          <p:nvPr>
            <p:ph type="ftr" sz="quarter" idx="11"/>
          </p:nvPr>
        </p:nvSpPr>
        <p:spPr/>
        <p:txBody>
          <a:bodyPr/>
          <a:lstStyle/>
          <a:p>
            <a:endParaRPr lang="et-EE"/>
          </a:p>
        </p:txBody>
      </p:sp>
      <p:sp>
        <p:nvSpPr>
          <p:cNvPr id="6" name="Slaidinumbri kohatäide 5">
            <a:extLst>
              <a:ext uri="{FF2B5EF4-FFF2-40B4-BE49-F238E27FC236}">
                <a16:creationId xmlns:a16="http://schemas.microsoft.com/office/drawing/2014/main" id="{145621F2-D491-B2CC-8DF0-58FFBC2A203A}"/>
              </a:ext>
            </a:extLst>
          </p:cNvPr>
          <p:cNvSpPr>
            <a:spLocks noGrp="1"/>
          </p:cNvSpPr>
          <p:nvPr>
            <p:ph type="sldNum" sz="quarter" idx="12"/>
          </p:nvPr>
        </p:nvSpPr>
        <p:spPr/>
        <p:txBody>
          <a:bodyPr/>
          <a:lstStyle/>
          <a:p>
            <a:fld id="{7AE61F13-3C0B-4EBA-8525-4288964F0FAB}" type="slidenum">
              <a:rPr lang="et-EE" smtClean="0"/>
              <a:t>‹#›</a:t>
            </a:fld>
            <a:endParaRPr lang="et-EE"/>
          </a:p>
        </p:txBody>
      </p:sp>
    </p:spTree>
    <p:extLst>
      <p:ext uri="{BB962C8B-B14F-4D97-AF65-F5344CB8AC3E}">
        <p14:creationId xmlns:p14="http://schemas.microsoft.com/office/powerpoint/2010/main" val="8627693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Jaotise päis">
    <p:spTree>
      <p:nvGrpSpPr>
        <p:cNvPr id="1" name=""/>
        <p:cNvGrpSpPr/>
        <p:nvPr/>
      </p:nvGrpSpPr>
      <p:grpSpPr>
        <a:xfrm>
          <a:off x="0" y="0"/>
          <a:ext cx="0" cy="0"/>
          <a:chOff x="0" y="0"/>
          <a:chExt cx="0" cy="0"/>
        </a:xfrm>
      </p:grpSpPr>
      <p:sp>
        <p:nvSpPr>
          <p:cNvPr id="2" name="Pealkiri 1">
            <a:extLst>
              <a:ext uri="{FF2B5EF4-FFF2-40B4-BE49-F238E27FC236}">
                <a16:creationId xmlns:a16="http://schemas.microsoft.com/office/drawing/2014/main" id="{8853432D-9AC1-3745-1902-EEE55D9603FB}"/>
              </a:ext>
            </a:extLst>
          </p:cNvPr>
          <p:cNvSpPr>
            <a:spLocks noGrp="1"/>
          </p:cNvSpPr>
          <p:nvPr>
            <p:ph type="title"/>
          </p:nvPr>
        </p:nvSpPr>
        <p:spPr>
          <a:xfrm>
            <a:off x="831850" y="1709738"/>
            <a:ext cx="10515600" cy="2852737"/>
          </a:xfrm>
        </p:spPr>
        <p:txBody>
          <a:bodyPr anchor="b"/>
          <a:lstStyle>
            <a:lvl1pPr>
              <a:defRPr sz="6000"/>
            </a:lvl1pPr>
          </a:lstStyle>
          <a:p>
            <a:r>
              <a:rPr lang="et-EE"/>
              <a:t>Klõpsake juhteksemplari pealkirja laadi redigeerimiseks</a:t>
            </a:r>
          </a:p>
        </p:txBody>
      </p:sp>
      <p:sp>
        <p:nvSpPr>
          <p:cNvPr id="3" name="Teksti kohatäide 2">
            <a:extLst>
              <a:ext uri="{FF2B5EF4-FFF2-40B4-BE49-F238E27FC236}">
                <a16:creationId xmlns:a16="http://schemas.microsoft.com/office/drawing/2014/main" id="{5A594FB0-E3FC-C2F5-E108-19AC7203D7C8}"/>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t-EE"/>
              <a:t>Klõpsake juhteksemplari tekstilaadide redigeerimiseks</a:t>
            </a:r>
          </a:p>
        </p:txBody>
      </p:sp>
      <p:sp>
        <p:nvSpPr>
          <p:cNvPr id="4" name="Kuupäeva kohatäide 3">
            <a:extLst>
              <a:ext uri="{FF2B5EF4-FFF2-40B4-BE49-F238E27FC236}">
                <a16:creationId xmlns:a16="http://schemas.microsoft.com/office/drawing/2014/main" id="{CADC7AC7-615C-B2F3-0FEE-269346893806}"/>
              </a:ext>
            </a:extLst>
          </p:cNvPr>
          <p:cNvSpPr>
            <a:spLocks noGrp="1"/>
          </p:cNvSpPr>
          <p:nvPr>
            <p:ph type="dt" sz="half" idx="10"/>
          </p:nvPr>
        </p:nvSpPr>
        <p:spPr/>
        <p:txBody>
          <a:bodyPr/>
          <a:lstStyle/>
          <a:p>
            <a:fld id="{D2450041-76BD-43C1-A3B8-CC73E81AEC1B}" type="datetimeFigureOut">
              <a:rPr lang="et-EE" smtClean="0"/>
              <a:t>21.10.24</a:t>
            </a:fld>
            <a:endParaRPr lang="et-EE"/>
          </a:p>
        </p:txBody>
      </p:sp>
      <p:sp>
        <p:nvSpPr>
          <p:cNvPr id="5" name="Jaluse kohatäide 4">
            <a:extLst>
              <a:ext uri="{FF2B5EF4-FFF2-40B4-BE49-F238E27FC236}">
                <a16:creationId xmlns:a16="http://schemas.microsoft.com/office/drawing/2014/main" id="{AB8297F7-C8F2-57C1-37F8-4AC2F7068408}"/>
              </a:ext>
            </a:extLst>
          </p:cNvPr>
          <p:cNvSpPr>
            <a:spLocks noGrp="1"/>
          </p:cNvSpPr>
          <p:nvPr>
            <p:ph type="ftr" sz="quarter" idx="11"/>
          </p:nvPr>
        </p:nvSpPr>
        <p:spPr/>
        <p:txBody>
          <a:bodyPr/>
          <a:lstStyle/>
          <a:p>
            <a:endParaRPr lang="et-EE"/>
          </a:p>
        </p:txBody>
      </p:sp>
      <p:sp>
        <p:nvSpPr>
          <p:cNvPr id="6" name="Slaidinumbri kohatäide 5">
            <a:extLst>
              <a:ext uri="{FF2B5EF4-FFF2-40B4-BE49-F238E27FC236}">
                <a16:creationId xmlns:a16="http://schemas.microsoft.com/office/drawing/2014/main" id="{BD4E1E86-C64C-FE49-5783-09371680DBAE}"/>
              </a:ext>
            </a:extLst>
          </p:cNvPr>
          <p:cNvSpPr>
            <a:spLocks noGrp="1"/>
          </p:cNvSpPr>
          <p:nvPr>
            <p:ph type="sldNum" sz="quarter" idx="12"/>
          </p:nvPr>
        </p:nvSpPr>
        <p:spPr/>
        <p:txBody>
          <a:bodyPr/>
          <a:lstStyle/>
          <a:p>
            <a:fld id="{7AE61F13-3C0B-4EBA-8525-4288964F0FAB}" type="slidenum">
              <a:rPr lang="et-EE" smtClean="0"/>
              <a:t>‹#›</a:t>
            </a:fld>
            <a:endParaRPr lang="et-EE"/>
          </a:p>
        </p:txBody>
      </p:sp>
    </p:spTree>
    <p:extLst>
      <p:ext uri="{BB962C8B-B14F-4D97-AF65-F5344CB8AC3E}">
        <p14:creationId xmlns:p14="http://schemas.microsoft.com/office/powerpoint/2010/main" val="15589153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Kaks sisu">
    <p:spTree>
      <p:nvGrpSpPr>
        <p:cNvPr id="1" name=""/>
        <p:cNvGrpSpPr/>
        <p:nvPr/>
      </p:nvGrpSpPr>
      <p:grpSpPr>
        <a:xfrm>
          <a:off x="0" y="0"/>
          <a:ext cx="0" cy="0"/>
          <a:chOff x="0" y="0"/>
          <a:chExt cx="0" cy="0"/>
        </a:xfrm>
      </p:grpSpPr>
      <p:sp>
        <p:nvSpPr>
          <p:cNvPr id="2" name="Pealkiri 1">
            <a:extLst>
              <a:ext uri="{FF2B5EF4-FFF2-40B4-BE49-F238E27FC236}">
                <a16:creationId xmlns:a16="http://schemas.microsoft.com/office/drawing/2014/main" id="{6B0416A2-70E9-409F-5D0C-73FEDACE7352}"/>
              </a:ext>
            </a:extLst>
          </p:cNvPr>
          <p:cNvSpPr>
            <a:spLocks noGrp="1"/>
          </p:cNvSpPr>
          <p:nvPr>
            <p:ph type="title"/>
          </p:nvPr>
        </p:nvSpPr>
        <p:spPr/>
        <p:txBody>
          <a:bodyPr/>
          <a:lstStyle/>
          <a:p>
            <a:r>
              <a:rPr lang="et-EE"/>
              <a:t>Klõpsake juhteksemplari pealkirja laadi redigeerimiseks</a:t>
            </a:r>
          </a:p>
        </p:txBody>
      </p:sp>
      <p:sp>
        <p:nvSpPr>
          <p:cNvPr id="3" name="Sisu kohatäide 2">
            <a:extLst>
              <a:ext uri="{FF2B5EF4-FFF2-40B4-BE49-F238E27FC236}">
                <a16:creationId xmlns:a16="http://schemas.microsoft.com/office/drawing/2014/main" id="{B332278E-3989-578A-4CA2-A16C0DE099B5}"/>
              </a:ext>
            </a:extLst>
          </p:cNvPr>
          <p:cNvSpPr>
            <a:spLocks noGrp="1"/>
          </p:cNvSpPr>
          <p:nvPr>
            <p:ph sz="half" idx="1"/>
          </p:nvPr>
        </p:nvSpPr>
        <p:spPr>
          <a:xfrm>
            <a:off x="838200" y="1825625"/>
            <a:ext cx="5181600" cy="4351338"/>
          </a:xfrm>
        </p:spPr>
        <p:txBody>
          <a:bodyPr/>
          <a:lstStyle/>
          <a:p>
            <a:pPr lvl="0"/>
            <a:r>
              <a:rPr lang="et-EE"/>
              <a:t>Klõpsake juhteksemplari tekstilaadide redigeerimiseks</a:t>
            </a:r>
          </a:p>
          <a:p>
            <a:pPr lvl="1"/>
            <a:r>
              <a:rPr lang="et-EE"/>
              <a:t>Teine tase</a:t>
            </a:r>
          </a:p>
          <a:p>
            <a:pPr lvl="2"/>
            <a:r>
              <a:rPr lang="et-EE"/>
              <a:t>Kolmas tase</a:t>
            </a:r>
          </a:p>
          <a:p>
            <a:pPr lvl="3"/>
            <a:r>
              <a:rPr lang="et-EE"/>
              <a:t>Neljas tase</a:t>
            </a:r>
          </a:p>
          <a:p>
            <a:pPr lvl="4"/>
            <a:r>
              <a:rPr lang="et-EE"/>
              <a:t>Viies tase</a:t>
            </a:r>
          </a:p>
        </p:txBody>
      </p:sp>
      <p:sp>
        <p:nvSpPr>
          <p:cNvPr id="4" name="Sisu kohatäide 3">
            <a:extLst>
              <a:ext uri="{FF2B5EF4-FFF2-40B4-BE49-F238E27FC236}">
                <a16:creationId xmlns:a16="http://schemas.microsoft.com/office/drawing/2014/main" id="{26820DF3-35AB-3C3A-6034-5E0DB5EE38E8}"/>
              </a:ext>
            </a:extLst>
          </p:cNvPr>
          <p:cNvSpPr>
            <a:spLocks noGrp="1"/>
          </p:cNvSpPr>
          <p:nvPr>
            <p:ph sz="half" idx="2"/>
          </p:nvPr>
        </p:nvSpPr>
        <p:spPr>
          <a:xfrm>
            <a:off x="6172200" y="1825625"/>
            <a:ext cx="5181600" cy="4351338"/>
          </a:xfrm>
        </p:spPr>
        <p:txBody>
          <a:bodyPr/>
          <a:lstStyle/>
          <a:p>
            <a:pPr lvl="0"/>
            <a:r>
              <a:rPr lang="et-EE"/>
              <a:t>Klõpsake juhteksemplari tekstilaadide redigeerimiseks</a:t>
            </a:r>
          </a:p>
          <a:p>
            <a:pPr lvl="1"/>
            <a:r>
              <a:rPr lang="et-EE"/>
              <a:t>Teine tase</a:t>
            </a:r>
          </a:p>
          <a:p>
            <a:pPr lvl="2"/>
            <a:r>
              <a:rPr lang="et-EE"/>
              <a:t>Kolmas tase</a:t>
            </a:r>
          </a:p>
          <a:p>
            <a:pPr lvl="3"/>
            <a:r>
              <a:rPr lang="et-EE"/>
              <a:t>Neljas tase</a:t>
            </a:r>
          </a:p>
          <a:p>
            <a:pPr lvl="4"/>
            <a:r>
              <a:rPr lang="et-EE"/>
              <a:t>Viies tase</a:t>
            </a:r>
          </a:p>
        </p:txBody>
      </p:sp>
      <p:sp>
        <p:nvSpPr>
          <p:cNvPr id="5" name="Kuupäeva kohatäide 4">
            <a:extLst>
              <a:ext uri="{FF2B5EF4-FFF2-40B4-BE49-F238E27FC236}">
                <a16:creationId xmlns:a16="http://schemas.microsoft.com/office/drawing/2014/main" id="{4F4127D2-FC91-0C21-99DA-23B7AD36DB23}"/>
              </a:ext>
            </a:extLst>
          </p:cNvPr>
          <p:cNvSpPr>
            <a:spLocks noGrp="1"/>
          </p:cNvSpPr>
          <p:nvPr>
            <p:ph type="dt" sz="half" idx="10"/>
          </p:nvPr>
        </p:nvSpPr>
        <p:spPr/>
        <p:txBody>
          <a:bodyPr/>
          <a:lstStyle/>
          <a:p>
            <a:fld id="{D2450041-76BD-43C1-A3B8-CC73E81AEC1B}" type="datetimeFigureOut">
              <a:rPr lang="et-EE" smtClean="0"/>
              <a:t>21.10.24</a:t>
            </a:fld>
            <a:endParaRPr lang="et-EE"/>
          </a:p>
        </p:txBody>
      </p:sp>
      <p:sp>
        <p:nvSpPr>
          <p:cNvPr id="6" name="Jaluse kohatäide 5">
            <a:extLst>
              <a:ext uri="{FF2B5EF4-FFF2-40B4-BE49-F238E27FC236}">
                <a16:creationId xmlns:a16="http://schemas.microsoft.com/office/drawing/2014/main" id="{F341B1DE-08BD-6260-2678-0E4C456CFA1D}"/>
              </a:ext>
            </a:extLst>
          </p:cNvPr>
          <p:cNvSpPr>
            <a:spLocks noGrp="1"/>
          </p:cNvSpPr>
          <p:nvPr>
            <p:ph type="ftr" sz="quarter" idx="11"/>
          </p:nvPr>
        </p:nvSpPr>
        <p:spPr/>
        <p:txBody>
          <a:bodyPr/>
          <a:lstStyle/>
          <a:p>
            <a:endParaRPr lang="et-EE"/>
          </a:p>
        </p:txBody>
      </p:sp>
      <p:sp>
        <p:nvSpPr>
          <p:cNvPr id="7" name="Slaidinumbri kohatäide 6">
            <a:extLst>
              <a:ext uri="{FF2B5EF4-FFF2-40B4-BE49-F238E27FC236}">
                <a16:creationId xmlns:a16="http://schemas.microsoft.com/office/drawing/2014/main" id="{2FB0FB1C-E774-86D9-5221-96D7901209B6}"/>
              </a:ext>
            </a:extLst>
          </p:cNvPr>
          <p:cNvSpPr>
            <a:spLocks noGrp="1"/>
          </p:cNvSpPr>
          <p:nvPr>
            <p:ph type="sldNum" sz="quarter" idx="12"/>
          </p:nvPr>
        </p:nvSpPr>
        <p:spPr/>
        <p:txBody>
          <a:bodyPr/>
          <a:lstStyle/>
          <a:p>
            <a:fld id="{7AE61F13-3C0B-4EBA-8525-4288964F0FAB}" type="slidenum">
              <a:rPr lang="et-EE" smtClean="0"/>
              <a:t>‹#›</a:t>
            </a:fld>
            <a:endParaRPr lang="et-EE"/>
          </a:p>
        </p:txBody>
      </p:sp>
    </p:spTree>
    <p:extLst>
      <p:ext uri="{BB962C8B-B14F-4D97-AF65-F5344CB8AC3E}">
        <p14:creationId xmlns:p14="http://schemas.microsoft.com/office/powerpoint/2010/main" val="21476087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Võrdlus">
    <p:spTree>
      <p:nvGrpSpPr>
        <p:cNvPr id="1" name=""/>
        <p:cNvGrpSpPr/>
        <p:nvPr/>
      </p:nvGrpSpPr>
      <p:grpSpPr>
        <a:xfrm>
          <a:off x="0" y="0"/>
          <a:ext cx="0" cy="0"/>
          <a:chOff x="0" y="0"/>
          <a:chExt cx="0" cy="0"/>
        </a:xfrm>
      </p:grpSpPr>
      <p:sp>
        <p:nvSpPr>
          <p:cNvPr id="2" name="Pealkiri 1">
            <a:extLst>
              <a:ext uri="{FF2B5EF4-FFF2-40B4-BE49-F238E27FC236}">
                <a16:creationId xmlns:a16="http://schemas.microsoft.com/office/drawing/2014/main" id="{3789BE04-2B57-ED70-19B3-D5597734F93C}"/>
              </a:ext>
            </a:extLst>
          </p:cNvPr>
          <p:cNvSpPr>
            <a:spLocks noGrp="1"/>
          </p:cNvSpPr>
          <p:nvPr>
            <p:ph type="title"/>
          </p:nvPr>
        </p:nvSpPr>
        <p:spPr>
          <a:xfrm>
            <a:off x="839788" y="365125"/>
            <a:ext cx="10515600" cy="1325563"/>
          </a:xfrm>
        </p:spPr>
        <p:txBody>
          <a:bodyPr/>
          <a:lstStyle/>
          <a:p>
            <a:r>
              <a:rPr lang="et-EE"/>
              <a:t>Klõpsake juhteksemplari pealkirja laadi redigeerimiseks</a:t>
            </a:r>
          </a:p>
        </p:txBody>
      </p:sp>
      <p:sp>
        <p:nvSpPr>
          <p:cNvPr id="3" name="Teksti kohatäide 2">
            <a:extLst>
              <a:ext uri="{FF2B5EF4-FFF2-40B4-BE49-F238E27FC236}">
                <a16:creationId xmlns:a16="http://schemas.microsoft.com/office/drawing/2014/main" id="{EEBF10A2-C644-7FA3-9A5A-9BE38481462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t-EE"/>
              <a:t>Klõpsake juhteksemplari tekstilaadide redigeerimiseks</a:t>
            </a:r>
          </a:p>
        </p:txBody>
      </p:sp>
      <p:sp>
        <p:nvSpPr>
          <p:cNvPr id="4" name="Sisu kohatäide 3">
            <a:extLst>
              <a:ext uri="{FF2B5EF4-FFF2-40B4-BE49-F238E27FC236}">
                <a16:creationId xmlns:a16="http://schemas.microsoft.com/office/drawing/2014/main" id="{27D2CA42-3778-C3F1-DAE9-40D728220060}"/>
              </a:ext>
            </a:extLst>
          </p:cNvPr>
          <p:cNvSpPr>
            <a:spLocks noGrp="1"/>
          </p:cNvSpPr>
          <p:nvPr>
            <p:ph sz="half" idx="2"/>
          </p:nvPr>
        </p:nvSpPr>
        <p:spPr>
          <a:xfrm>
            <a:off x="839788" y="2505075"/>
            <a:ext cx="5157787" cy="3684588"/>
          </a:xfrm>
        </p:spPr>
        <p:txBody>
          <a:bodyPr/>
          <a:lstStyle/>
          <a:p>
            <a:pPr lvl="0"/>
            <a:r>
              <a:rPr lang="et-EE"/>
              <a:t>Klõpsake juhteksemplari tekstilaadide redigeerimiseks</a:t>
            </a:r>
          </a:p>
          <a:p>
            <a:pPr lvl="1"/>
            <a:r>
              <a:rPr lang="et-EE"/>
              <a:t>Teine tase</a:t>
            </a:r>
          </a:p>
          <a:p>
            <a:pPr lvl="2"/>
            <a:r>
              <a:rPr lang="et-EE"/>
              <a:t>Kolmas tase</a:t>
            </a:r>
          </a:p>
          <a:p>
            <a:pPr lvl="3"/>
            <a:r>
              <a:rPr lang="et-EE"/>
              <a:t>Neljas tase</a:t>
            </a:r>
          </a:p>
          <a:p>
            <a:pPr lvl="4"/>
            <a:r>
              <a:rPr lang="et-EE"/>
              <a:t>Viies tase</a:t>
            </a:r>
          </a:p>
        </p:txBody>
      </p:sp>
      <p:sp>
        <p:nvSpPr>
          <p:cNvPr id="5" name="Teksti kohatäide 4">
            <a:extLst>
              <a:ext uri="{FF2B5EF4-FFF2-40B4-BE49-F238E27FC236}">
                <a16:creationId xmlns:a16="http://schemas.microsoft.com/office/drawing/2014/main" id="{C835BFA4-FE83-0ED0-42B4-4A29683427D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t-EE"/>
              <a:t>Klõpsake juhteksemplari tekstilaadide redigeerimiseks</a:t>
            </a:r>
          </a:p>
        </p:txBody>
      </p:sp>
      <p:sp>
        <p:nvSpPr>
          <p:cNvPr id="6" name="Sisu kohatäide 5">
            <a:extLst>
              <a:ext uri="{FF2B5EF4-FFF2-40B4-BE49-F238E27FC236}">
                <a16:creationId xmlns:a16="http://schemas.microsoft.com/office/drawing/2014/main" id="{96511B14-8AD7-9062-0956-0299A4E49E44}"/>
              </a:ext>
            </a:extLst>
          </p:cNvPr>
          <p:cNvSpPr>
            <a:spLocks noGrp="1"/>
          </p:cNvSpPr>
          <p:nvPr>
            <p:ph sz="quarter" idx="4"/>
          </p:nvPr>
        </p:nvSpPr>
        <p:spPr>
          <a:xfrm>
            <a:off x="6172200" y="2505075"/>
            <a:ext cx="5183188" cy="3684588"/>
          </a:xfrm>
        </p:spPr>
        <p:txBody>
          <a:bodyPr/>
          <a:lstStyle/>
          <a:p>
            <a:pPr lvl="0"/>
            <a:r>
              <a:rPr lang="et-EE"/>
              <a:t>Klõpsake juhteksemplari tekstilaadide redigeerimiseks</a:t>
            </a:r>
          </a:p>
          <a:p>
            <a:pPr lvl="1"/>
            <a:r>
              <a:rPr lang="et-EE"/>
              <a:t>Teine tase</a:t>
            </a:r>
          </a:p>
          <a:p>
            <a:pPr lvl="2"/>
            <a:r>
              <a:rPr lang="et-EE"/>
              <a:t>Kolmas tase</a:t>
            </a:r>
          </a:p>
          <a:p>
            <a:pPr lvl="3"/>
            <a:r>
              <a:rPr lang="et-EE"/>
              <a:t>Neljas tase</a:t>
            </a:r>
          </a:p>
          <a:p>
            <a:pPr lvl="4"/>
            <a:r>
              <a:rPr lang="et-EE"/>
              <a:t>Viies tase</a:t>
            </a:r>
          </a:p>
        </p:txBody>
      </p:sp>
      <p:sp>
        <p:nvSpPr>
          <p:cNvPr id="7" name="Kuupäeva kohatäide 6">
            <a:extLst>
              <a:ext uri="{FF2B5EF4-FFF2-40B4-BE49-F238E27FC236}">
                <a16:creationId xmlns:a16="http://schemas.microsoft.com/office/drawing/2014/main" id="{0962D8E7-ECFE-C805-A16D-BC00C39E2DE6}"/>
              </a:ext>
            </a:extLst>
          </p:cNvPr>
          <p:cNvSpPr>
            <a:spLocks noGrp="1"/>
          </p:cNvSpPr>
          <p:nvPr>
            <p:ph type="dt" sz="half" idx="10"/>
          </p:nvPr>
        </p:nvSpPr>
        <p:spPr/>
        <p:txBody>
          <a:bodyPr/>
          <a:lstStyle/>
          <a:p>
            <a:fld id="{D2450041-76BD-43C1-A3B8-CC73E81AEC1B}" type="datetimeFigureOut">
              <a:rPr lang="et-EE" smtClean="0"/>
              <a:t>21.10.24</a:t>
            </a:fld>
            <a:endParaRPr lang="et-EE"/>
          </a:p>
        </p:txBody>
      </p:sp>
      <p:sp>
        <p:nvSpPr>
          <p:cNvPr id="8" name="Jaluse kohatäide 7">
            <a:extLst>
              <a:ext uri="{FF2B5EF4-FFF2-40B4-BE49-F238E27FC236}">
                <a16:creationId xmlns:a16="http://schemas.microsoft.com/office/drawing/2014/main" id="{70CDD727-50BC-B885-88A5-43A096040882}"/>
              </a:ext>
            </a:extLst>
          </p:cNvPr>
          <p:cNvSpPr>
            <a:spLocks noGrp="1"/>
          </p:cNvSpPr>
          <p:nvPr>
            <p:ph type="ftr" sz="quarter" idx="11"/>
          </p:nvPr>
        </p:nvSpPr>
        <p:spPr/>
        <p:txBody>
          <a:bodyPr/>
          <a:lstStyle/>
          <a:p>
            <a:endParaRPr lang="et-EE"/>
          </a:p>
        </p:txBody>
      </p:sp>
      <p:sp>
        <p:nvSpPr>
          <p:cNvPr id="9" name="Slaidinumbri kohatäide 8">
            <a:extLst>
              <a:ext uri="{FF2B5EF4-FFF2-40B4-BE49-F238E27FC236}">
                <a16:creationId xmlns:a16="http://schemas.microsoft.com/office/drawing/2014/main" id="{ACC2FBFD-9D0C-802D-E0F1-FD66B350EDCA}"/>
              </a:ext>
            </a:extLst>
          </p:cNvPr>
          <p:cNvSpPr>
            <a:spLocks noGrp="1"/>
          </p:cNvSpPr>
          <p:nvPr>
            <p:ph type="sldNum" sz="quarter" idx="12"/>
          </p:nvPr>
        </p:nvSpPr>
        <p:spPr/>
        <p:txBody>
          <a:bodyPr/>
          <a:lstStyle/>
          <a:p>
            <a:fld id="{7AE61F13-3C0B-4EBA-8525-4288964F0FAB}" type="slidenum">
              <a:rPr lang="et-EE" smtClean="0"/>
              <a:t>‹#›</a:t>
            </a:fld>
            <a:endParaRPr lang="et-EE"/>
          </a:p>
        </p:txBody>
      </p:sp>
    </p:spTree>
    <p:extLst>
      <p:ext uri="{BB962C8B-B14F-4D97-AF65-F5344CB8AC3E}">
        <p14:creationId xmlns:p14="http://schemas.microsoft.com/office/powerpoint/2010/main" val="151308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Ainult pealkiri">
    <p:spTree>
      <p:nvGrpSpPr>
        <p:cNvPr id="1" name=""/>
        <p:cNvGrpSpPr/>
        <p:nvPr/>
      </p:nvGrpSpPr>
      <p:grpSpPr>
        <a:xfrm>
          <a:off x="0" y="0"/>
          <a:ext cx="0" cy="0"/>
          <a:chOff x="0" y="0"/>
          <a:chExt cx="0" cy="0"/>
        </a:xfrm>
      </p:grpSpPr>
      <p:sp>
        <p:nvSpPr>
          <p:cNvPr id="2" name="Pealkiri 1">
            <a:extLst>
              <a:ext uri="{FF2B5EF4-FFF2-40B4-BE49-F238E27FC236}">
                <a16:creationId xmlns:a16="http://schemas.microsoft.com/office/drawing/2014/main" id="{E27E49DA-6966-3149-F82E-94E522870AA7}"/>
              </a:ext>
            </a:extLst>
          </p:cNvPr>
          <p:cNvSpPr>
            <a:spLocks noGrp="1"/>
          </p:cNvSpPr>
          <p:nvPr>
            <p:ph type="title"/>
          </p:nvPr>
        </p:nvSpPr>
        <p:spPr/>
        <p:txBody>
          <a:bodyPr/>
          <a:lstStyle/>
          <a:p>
            <a:r>
              <a:rPr lang="et-EE"/>
              <a:t>Klõpsake juhteksemplari pealkirja laadi redigeerimiseks</a:t>
            </a:r>
          </a:p>
        </p:txBody>
      </p:sp>
      <p:sp>
        <p:nvSpPr>
          <p:cNvPr id="3" name="Kuupäeva kohatäide 2">
            <a:extLst>
              <a:ext uri="{FF2B5EF4-FFF2-40B4-BE49-F238E27FC236}">
                <a16:creationId xmlns:a16="http://schemas.microsoft.com/office/drawing/2014/main" id="{99621841-1D1D-7247-B8BB-2D6464817923}"/>
              </a:ext>
            </a:extLst>
          </p:cNvPr>
          <p:cNvSpPr>
            <a:spLocks noGrp="1"/>
          </p:cNvSpPr>
          <p:nvPr>
            <p:ph type="dt" sz="half" idx="10"/>
          </p:nvPr>
        </p:nvSpPr>
        <p:spPr/>
        <p:txBody>
          <a:bodyPr/>
          <a:lstStyle/>
          <a:p>
            <a:fld id="{D2450041-76BD-43C1-A3B8-CC73E81AEC1B}" type="datetimeFigureOut">
              <a:rPr lang="et-EE" smtClean="0"/>
              <a:t>21.10.24</a:t>
            </a:fld>
            <a:endParaRPr lang="et-EE"/>
          </a:p>
        </p:txBody>
      </p:sp>
      <p:sp>
        <p:nvSpPr>
          <p:cNvPr id="4" name="Jaluse kohatäide 3">
            <a:extLst>
              <a:ext uri="{FF2B5EF4-FFF2-40B4-BE49-F238E27FC236}">
                <a16:creationId xmlns:a16="http://schemas.microsoft.com/office/drawing/2014/main" id="{301914FD-7C83-870F-87C0-D7B5A7AFE545}"/>
              </a:ext>
            </a:extLst>
          </p:cNvPr>
          <p:cNvSpPr>
            <a:spLocks noGrp="1"/>
          </p:cNvSpPr>
          <p:nvPr>
            <p:ph type="ftr" sz="quarter" idx="11"/>
          </p:nvPr>
        </p:nvSpPr>
        <p:spPr/>
        <p:txBody>
          <a:bodyPr/>
          <a:lstStyle/>
          <a:p>
            <a:endParaRPr lang="et-EE"/>
          </a:p>
        </p:txBody>
      </p:sp>
      <p:sp>
        <p:nvSpPr>
          <p:cNvPr id="5" name="Slaidinumbri kohatäide 4">
            <a:extLst>
              <a:ext uri="{FF2B5EF4-FFF2-40B4-BE49-F238E27FC236}">
                <a16:creationId xmlns:a16="http://schemas.microsoft.com/office/drawing/2014/main" id="{AA7BBA06-8548-910F-0B8C-04EAAF6F997F}"/>
              </a:ext>
            </a:extLst>
          </p:cNvPr>
          <p:cNvSpPr>
            <a:spLocks noGrp="1"/>
          </p:cNvSpPr>
          <p:nvPr>
            <p:ph type="sldNum" sz="quarter" idx="12"/>
          </p:nvPr>
        </p:nvSpPr>
        <p:spPr/>
        <p:txBody>
          <a:bodyPr/>
          <a:lstStyle/>
          <a:p>
            <a:fld id="{7AE61F13-3C0B-4EBA-8525-4288964F0FAB}" type="slidenum">
              <a:rPr lang="et-EE" smtClean="0"/>
              <a:t>‹#›</a:t>
            </a:fld>
            <a:endParaRPr lang="et-EE"/>
          </a:p>
        </p:txBody>
      </p:sp>
    </p:spTree>
    <p:extLst>
      <p:ext uri="{BB962C8B-B14F-4D97-AF65-F5344CB8AC3E}">
        <p14:creationId xmlns:p14="http://schemas.microsoft.com/office/powerpoint/2010/main" val="16629845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Tühi">
    <p:spTree>
      <p:nvGrpSpPr>
        <p:cNvPr id="1" name=""/>
        <p:cNvGrpSpPr/>
        <p:nvPr/>
      </p:nvGrpSpPr>
      <p:grpSpPr>
        <a:xfrm>
          <a:off x="0" y="0"/>
          <a:ext cx="0" cy="0"/>
          <a:chOff x="0" y="0"/>
          <a:chExt cx="0" cy="0"/>
        </a:xfrm>
      </p:grpSpPr>
      <p:sp>
        <p:nvSpPr>
          <p:cNvPr id="2" name="Kuupäeva kohatäide 1">
            <a:extLst>
              <a:ext uri="{FF2B5EF4-FFF2-40B4-BE49-F238E27FC236}">
                <a16:creationId xmlns:a16="http://schemas.microsoft.com/office/drawing/2014/main" id="{51256E19-5C9A-34FC-D570-8E0E2F727736}"/>
              </a:ext>
            </a:extLst>
          </p:cNvPr>
          <p:cNvSpPr>
            <a:spLocks noGrp="1"/>
          </p:cNvSpPr>
          <p:nvPr>
            <p:ph type="dt" sz="half" idx="10"/>
          </p:nvPr>
        </p:nvSpPr>
        <p:spPr/>
        <p:txBody>
          <a:bodyPr/>
          <a:lstStyle/>
          <a:p>
            <a:fld id="{D2450041-76BD-43C1-A3B8-CC73E81AEC1B}" type="datetimeFigureOut">
              <a:rPr lang="et-EE" smtClean="0"/>
              <a:t>21.10.24</a:t>
            </a:fld>
            <a:endParaRPr lang="et-EE"/>
          </a:p>
        </p:txBody>
      </p:sp>
      <p:sp>
        <p:nvSpPr>
          <p:cNvPr id="3" name="Jaluse kohatäide 2">
            <a:extLst>
              <a:ext uri="{FF2B5EF4-FFF2-40B4-BE49-F238E27FC236}">
                <a16:creationId xmlns:a16="http://schemas.microsoft.com/office/drawing/2014/main" id="{93D6E03A-A7D9-F0F3-3342-4A3224907561}"/>
              </a:ext>
            </a:extLst>
          </p:cNvPr>
          <p:cNvSpPr>
            <a:spLocks noGrp="1"/>
          </p:cNvSpPr>
          <p:nvPr>
            <p:ph type="ftr" sz="quarter" idx="11"/>
          </p:nvPr>
        </p:nvSpPr>
        <p:spPr/>
        <p:txBody>
          <a:bodyPr/>
          <a:lstStyle/>
          <a:p>
            <a:endParaRPr lang="et-EE"/>
          </a:p>
        </p:txBody>
      </p:sp>
      <p:sp>
        <p:nvSpPr>
          <p:cNvPr id="4" name="Slaidinumbri kohatäide 3">
            <a:extLst>
              <a:ext uri="{FF2B5EF4-FFF2-40B4-BE49-F238E27FC236}">
                <a16:creationId xmlns:a16="http://schemas.microsoft.com/office/drawing/2014/main" id="{55B527A5-4B38-84B4-6D30-78871C7C8793}"/>
              </a:ext>
            </a:extLst>
          </p:cNvPr>
          <p:cNvSpPr>
            <a:spLocks noGrp="1"/>
          </p:cNvSpPr>
          <p:nvPr>
            <p:ph type="sldNum" sz="quarter" idx="12"/>
          </p:nvPr>
        </p:nvSpPr>
        <p:spPr/>
        <p:txBody>
          <a:bodyPr/>
          <a:lstStyle/>
          <a:p>
            <a:fld id="{7AE61F13-3C0B-4EBA-8525-4288964F0FAB}" type="slidenum">
              <a:rPr lang="et-EE" smtClean="0"/>
              <a:t>‹#›</a:t>
            </a:fld>
            <a:endParaRPr lang="et-EE"/>
          </a:p>
        </p:txBody>
      </p:sp>
    </p:spTree>
    <p:extLst>
      <p:ext uri="{BB962C8B-B14F-4D97-AF65-F5344CB8AC3E}">
        <p14:creationId xmlns:p14="http://schemas.microsoft.com/office/powerpoint/2010/main" val="42740652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Pealdisega sisu">
    <p:spTree>
      <p:nvGrpSpPr>
        <p:cNvPr id="1" name=""/>
        <p:cNvGrpSpPr/>
        <p:nvPr/>
      </p:nvGrpSpPr>
      <p:grpSpPr>
        <a:xfrm>
          <a:off x="0" y="0"/>
          <a:ext cx="0" cy="0"/>
          <a:chOff x="0" y="0"/>
          <a:chExt cx="0" cy="0"/>
        </a:xfrm>
      </p:grpSpPr>
      <p:sp>
        <p:nvSpPr>
          <p:cNvPr id="2" name="Pealkiri 1">
            <a:extLst>
              <a:ext uri="{FF2B5EF4-FFF2-40B4-BE49-F238E27FC236}">
                <a16:creationId xmlns:a16="http://schemas.microsoft.com/office/drawing/2014/main" id="{65560DE5-ECDE-64D7-C30A-4DCD4337D82F}"/>
              </a:ext>
            </a:extLst>
          </p:cNvPr>
          <p:cNvSpPr>
            <a:spLocks noGrp="1"/>
          </p:cNvSpPr>
          <p:nvPr>
            <p:ph type="title"/>
          </p:nvPr>
        </p:nvSpPr>
        <p:spPr>
          <a:xfrm>
            <a:off x="839788" y="457200"/>
            <a:ext cx="3932237" cy="1600200"/>
          </a:xfrm>
        </p:spPr>
        <p:txBody>
          <a:bodyPr anchor="b"/>
          <a:lstStyle>
            <a:lvl1pPr>
              <a:defRPr sz="3200"/>
            </a:lvl1pPr>
          </a:lstStyle>
          <a:p>
            <a:r>
              <a:rPr lang="et-EE"/>
              <a:t>Klõpsake juhteksemplari pealkirja laadi redigeerimiseks</a:t>
            </a:r>
          </a:p>
        </p:txBody>
      </p:sp>
      <p:sp>
        <p:nvSpPr>
          <p:cNvPr id="3" name="Sisu kohatäide 2">
            <a:extLst>
              <a:ext uri="{FF2B5EF4-FFF2-40B4-BE49-F238E27FC236}">
                <a16:creationId xmlns:a16="http://schemas.microsoft.com/office/drawing/2014/main" id="{04C65583-78B2-680A-B34A-D296A05B491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t-EE"/>
              <a:t>Klõpsake juhteksemplari tekstilaadide redigeerimiseks</a:t>
            </a:r>
          </a:p>
          <a:p>
            <a:pPr lvl="1"/>
            <a:r>
              <a:rPr lang="et-EE"/>
              <a:t>Teine tase</a:t>
            </a:r>
          </a:p>
          <a:p>
            <a:pPr lvl="2"/>
            <a:r>
              <a:rPr lang="et-EE"/>
              <a:t>Kolmas tase</a:t>
            </a:r>
          </a:p>
          <a:p>
            <a:pPr lvl="3"/>
            <a:r>
              <a:rPr lang="et-EE"/>
              <a:t>Neljas tase</a:t>
            </a:r>
          </a:p>
          <a:p>
            <a:pPr lvl="4"/>
            <a:r>
              <a:rPr lang="et-EE"/>
              <a:t>Viies tase</a:t>
            </a:r>
          </a:p>
        </p:txBody>
      </p:sp>
      <p:sp>
        <p:nvSpPr>
          <p:cNvPr id="4" name="Teksti kohatäide 3">
            <a:extLst>
              <a:ext uri="{FF2B5EF4-FFF2-40B4-BE49-F238E27FC236}">
                <a16:creationId xmlns:a16="http://schemas.microsoft.com/office/drawing/2014/main" id="{AA32B22B-7169-0B30-FE89-65AF5E4B4F8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t-EE"/>
              <a:t>Klõpsake juhteksemplari tekstilaadide redigeerimiseks</a:t>
            </a:r>
          </a:p>
        </p:txBody>
      </p:sp>
      <p:sp>
        <p:nvSpPr>
          <p:cNvPr id="5" name="Kuupäeva kohatäide 4">
            <a:extLst>
              <a:ext uri="{FF2B5EF4-FFF2-40B4-BE49-F238E27FC236}">
                <a16:creationId xmlns:a16="http://schemas.microsoft.com/office/drawing/2014/main" id="{511DA02E-9E82-992D-B11D-98C0F49569E6}"/>
              </a:ext>
            </a:extLst>
          </p:cNvPr>
          <p:cNvSpPr>
            <a:spLocks noGrp="1"/>
          </p:cNvSpPr>
          <p:nvPr>
            <p:ph type="dt" sz="half" idx="10"/>
          </p:nvPr>
        </p:nvSpPr>
        <p:spPr/>
        <p:txBody>
          <a:bodyPr/>
          <a:lstStyle/>
          <a:p>
            <a:fld id="{D2450041-76BD-43C1-A3B8-CC73E81AEC1B}" type="datetimeFigureOut">
              <a:rPr lang="et-EE" smtClean="0"/>
              <a:t>21.10.24</a:t>
            </a:fld>
            <a:endParaRPr lang="et-EE"/>
          </a:p>
        </p:txBody>
      </p:sp>
      <p:sp>
        <p:nvSpPr>
          <p:cNvPr id="6" name="Jaluse kohatäide 5">
            <a:extLst>
              <a:ext uri="{FF2B5EF4-FFF2-40B4-BE49-F238E27FC236}">
                <a16:creationId xmlns:a16="http://schemas.microsoft.com/office/drawing/2014/main" id="{48CE03A6-FF72-15DC-1E68-AB32A7932F97}"/>
              </a:ext>
            </a:extLst>
          </p:cNvPr>
          <p:cNvSpPr>
            <a:spLocks noGrp="1"/>
          </p:cNvSpPr>
          <p:nvPr>
            <p:ph type="ftr" sz="quarter" idx="11"/>
          </p:nvPr>
        </p:nvSpPr>
        <p:spPr/>
        <p:txBody>
          <a:bodyPr/>
          <a:lstStyle/>
          <a:p>
            <a:endParaRPr lang="et-EE"/>
          </a:p>
        </p:txBody>
      </p:sp>
      <p:sp>
        <p:nvSpPr>
          <p:cNvPr id="7" name="Slaidinumbri kohatäide 6">
            <a:extLst>
              <a:ext uri="{FF2B5EF4-FFF2-40B4-BE49-F238E27FC236}">
                <a16:creationId xmlns:a16="http://schemas.microsoft.com/office/drawing/2014/main" id="{023560F9-1A24-A4AF-8649-DA05A45FEFC8}"/>
              </a:ext>
            </a:extLst>
          </p:cNvPr>
          <p:cNvSpPr>
            <a:spLocks noGrp="1"/>
          </p:cNvSpPr>
          <p:nvPr>
            <p:ph type="sldNum" sz="quarter" idx="12"/>
          </p:nvPr>
        </p:nvSpPr>
        <p:spPr/>
        <p:txBody>
          <a:bodyPr/>
          <a:lstStyle/>
          <a:p>
            <a:fld id="{7AE61F13-3C0B-4EBA-8525-4288964F0FAB}" type="slidenum">
              <a:rPr lang="et-EE" smtClean="0"/>
              <a:t>‹#›</a:t>
            </a:fld>
            <a:endParaRPr lang="et-EE"/>
          </a:p>
        </p:txBody>
      </p:sp>
    </p:spTree>
    <p:extLst>
      <p:ext uri="{BB962C8B-B14F-4D97-AF65-F5344CB8AC3E}">
        <p14:creationId xmlns:p14="http://schemas.microsoft.com/office/powerpoint/2010/main" val="2986322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7E60DA65-61CE-4CE3-93B0-54B3EC8A0EB7}"/>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id="{D3210846-5FC4-450E-8FF6-E9ED24BD3EAA}"/>
              </a:ext>
            </a:extLst>
          </p:cNvPr>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93B9DA7C-ED0D-477C-B6C1-5452BB859261}"/>
              </a:ext>
            </a:extLst>
          </p:cNvPr>
          <p:cNvSpPr>
            <a:spLocks noGrp="1"/>
          </p:cNvSpPr>
          <p:nvPr>
            <p:ph type="dt" sz="half" idx="10"/>
          </p:nvPr>
        </p:nvSpPr>
        <p:spPr/>
        <p:txBody>
          <a:bodyPr/>
          <a:lstStyle/>
          <a:p>
            <a:fld id="{FB529229-9D32-41E8-B5E9-750E38562FEE}" type="datetimeFigureOut">
              <a:rPr lang="ru-RU" smtClean="0"/>
              <a:t>21.10.2024</a:t>
            </a:fld>
            <a:endParaRPr lang="ru-RU"/>
          </a:p>
        </p:txBody>
      </p:sp>
      <p:sp>
        <p:nvSpPr>
          <p:cNvPr id="5" name="Нижний колонтитул 4">
            <a:extLst>
              <a:ext uri="{FF2B5EF4-FFF2-40B4-BE49-F238E27FC236}">
                <a16:creationId xmlns:a16="http://schemas.microsoft.com/office/drawing/2014/main" id="{0D726FF9-C89F-4D66-8DCE-75E84099E8A3}"/>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EC2DA320-8270-43EC-8BE4-A5812D93EB44}"/>
              </a:ext>
            </a:extLst>
          </p:cNvPr>
          <p:cNvSpPr>
            <a:spLocks noGrp="1"/>
          </p:cNvSpPr>
          <p:nvPr>
            <p:ph type="sldNum" sz="quarter" idx="12"/>
          </p:nvPr>
        </p:nvSpPr>
        <p:spPr/>
        <p:txBody>
          <a:bodyPr/>
          <a:lstStyle/>
          <a:p>
            <a:fld id="{E0616732-6C76-4382-A985-43BBD7A3E208}" type="slidenum">
              <a:rPr lang="ru-RU" smtClean="0"/>
              <a:t>‹#›</a:t>
            </a:fld>
            <a:endParaRPr lang="ru-RU"/>
          </a:p>
        </p:txBody>
      </p:sp>
    </p:spTree>
    <p:extLst>
      <p:ext uri="{BB962C8B-B14F-4D97-AF65-F5344CB8AC3E}">
        <p14:creationId xmlns:p14="http://schemas.microsoft.com/office/powerpoint/2010/main" val="24606500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ldiallkirjaga pilt">
    <p:spTree>
      <p:nvGrpSpPr>
        <p:cNvPr id="1" name=""/>
        <p:cNvGrpSpPr/>
        <p:nvPr/>
      </p:nvGrpSpPr>
      <p:grpSpPr>
        <a:xfrm>
          <a:off x="0" y="0"/>
          <a:ext cx="0" cy="0"/>
          <a:chOff x="0" y="0"/>
          <a:chExt cx="0" cy="0"/>
        </a:xfrm>
      </p:grpSpPr>
      <p:sp>
        <p:nvSpPr>
          <p:cNvPr id="2" name="Pealkiri 1">
            <a:extLst>
              <a:ext uri="{FF2B5EF4-FFF2-40B4-BE49-F238E27FC236}">
                <a16:creationId xmlns:a16="http://schemas.microsoft.com/office/drawing/2014/main" id="{66BA4580-3712-D12E-5A11-61D45394B266}"/>
              </a:ext>
            </a:extLst>
          </p:cNvPr>
          <p:cNvSpPr>
            <a:spLocks noGrp="1"/>
          </p:cNvSpPr>
          <p:nvPr>
            <p:ph type="title"/>
          </p:nvPr>
        </p:nvSpPr>
        <p:spPr>
          <a:xfrm>
            <a:off x="839788" y="457200"/>
            <a:ext cx="3932237" cy="1600200"/>
          </a:xfrm>
        </p:spPr>
        <p:txBody>
          <a:bodyPr anchor="b"/>
          <a:lstStyle>
            <a:lvl1pPr>
              <a:defRPr sz="3200"/>
            </a:lvl1pPr>
          </a:lstStyle>
          <a:p>
            <a:r>
              <a:rPr lang="et-EE"/>
              <a:t>Klõpsake juhteksemplari pealkirja laadi redigeerimiseks</a:t>
            </a:r>
          </a:p>
        </p:txBody>
      </p:sp>
      <p:sp>
        <p:nvSpPr>
          <p:cNvPr id="3" name="Pildi kohatäide 2">
            <a:extLst>
              <a:ext uri="{FF2B5EF4-FFF2-40B4-BE49-F238E27FC236}">
                <a16:creationId xmlns:a16="http://schemas.microsoft.com/office/drawing/2014/main" id="{4A591077-3B9C-1692-F3CF-255895F4DA2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t-EE"/>
          </a:p>
        </p:txBody>
      </p:sp>
      <p:sp>
        <p:nvSpPr>
          <p:cNvPr id="4" name="Teksti kohatäide 3">
            <a:extLst>
              <a:ext uri="{FF2B5EF4-FFF2-40B4-BE49-F238E27FC236}">
                <a16:creationId xmlns:a16="http://schemas.microsoft.com/office/drawing/2014/main" id="{C0731013-CEEC-54E3-5B2E-B6C5C4EF4A8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t-EE"/>
              <a:t>Klõpsake juhteksemplari tekstilaadide redigeerimiseks</a:t>
            </a:r>
          </a:p>
        </p:txBody>
      </p:sp>
      <p:sp>
        <p:nvSpPr>
          <p:cNvPr id="5" name="Kuupäeva kohatäide 4">
            <a:extLst>
              <a:ext uri="{FF2B5EF4-FFF2-40B4-BE49-F238E27FC236}">
                <a16:creationId xmlns:a16="http://schemas.microsoft.com/office/drawing/2014/main" id="{4D07A1C4-D191-DFB1-DECE-49FFC43F192F}"/>
              </a:ext>
            </a:extLst>
          </p:cNvPr>
          <p:cNvSpPr>
            <a:spLocks noGrp="1"/>
          </p:cNvSpPr>
          <p:nvPr>
            <p:ph type="dt" sz="half" idx="10"/>
          </p:nvPr>
        </p:nvSpPr>
        <p:spPr/>
        <p:txBody>
          <a:bodyPr/>
          <a:lstStyle/>
          <a:p>
            <a:fld id="{D2450041-76BD-43C1-A3B8-CC73E81AEC1B}" type="datetimeFigureOut">
              <a:rPr lang="et-EE" smtClean="0"/>
              <a:t>21.10.24</a:t>
            </a:fld>
            <a:endParaRPr lang="et-EE"/>
          </a:p>
        </p:txBody>
      </p:sp>
      <p:sp>
        <p:nvSpPr>
          <p:cNvPr id="6" name="Jaluse kohatäide 5">
            <a:extLst>
              <a:ext uri="{FF2B5EF4-FFF2-40B4-BE49-F238E27FC236}">
                <a16:creationId xmlns:a16="http://schemas.microsoft.com/office/drawing/2014/main" id="{5B730D76-CB36-4FF1-8A3C-E24B02FD2854}"/>
              </a:ext>
            </a:extLst>
          </p:cNvPr>
          <p:cNvSpPr>
            <a:spLocks noGrp="1"/>
          </p:cNvSpPr>
          <p:nvPr>
            <p:ph type="ftr" sz="quarter" idx="11"/>
          </p:nvPr>
        </p:nvSpPr>
        <p:spPr/>
        <p:txBody>
          <a:bodyPr/>
          <a:lstStyle/>
          <a:p>
            <a:endParaRPr lang="et-EE"/>
          </a:p>
        </p:txBody>
      </p:sp>
      <p:sp>
        <p:nvSpPr>
          <p:cNvPr id="7" name="Slaidinumbri kohatäide 6">
            <a:extLst>
              <a:ext uri="{FF2B5EF4-FFF2-40B4-BE49-F238E27FC236}">
                <a16:creationId xmlns:a16="http://schemas.microsoft.com/office/drawing/2014/main" id="{261DF56A-067C-0FF2-3299-45DDBF2FD082}"/>
              </a:ext>
            </a:extLst>
          </p:cNvPr>
          <p:cNvSpPr>
            <a:spLocks noGrp="1"/>
          </p:cNvSpPr>
          <p:nvPr>
            <p:ph type="sldNum" sz="quarter" idx="12"/>
          </p:nvPr>
        </p:nvSpPr>
        <p:spPr/>
        <p:txBody>
          <a:bodyPr/>
          <a:lstStyle/>
          <a:p>
            <a:fld id="{7AE61F13-3C0B-4EBA-8525-4288964F0FAB}" type="slidenum">
              <a:rPr lang="et-EE" smtClean="0"/>
              <a:t>‹#›</a:t>
            </a:fld>
            <a:endParaRPr lang="et-EE"/>
          </a:p>
        </p:txBody>
      </p:sp>
    </p:spTree>
    <p:extLst>
      <p:ext uri="{BB962C8B-B14F-4D97-AF65-F5344CB8AC3E}">
        <p14:creationId xmlns:p14="http://schemas.microsoft.com/office/powerpoint/2010/main" val="40816540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itel ja vertikaaltekst">
    <p:spTree>
      <p:nvGrpSpPr>
        <p:cNvPr id="1" name=""/>
        <p:cNvGrpSpPr/>
        <p:nvPr/>
      </p:nvGrpSpPr>
      <p:grpSpPr>
        <a:xfrm>
          <a:off x="0" y="0"/>
          <a:ext cx="0" cy="0"/>
          <a:chOff x="0" y="0"/>
          <a:chExt cx="0" cy="0"/>
        </a:xfrm>
      </p:grpSpPr>
      <p:sp>
        <p:nvSpPr>
          <p:cNvPr id="2" name="Pealkiri 1">
            <a:extLst>
              <a:ext uri="{FF2B5EF4-FFF2-40B4-BE49-F238E27FC236}">
                <a16:creationId xmlns:a16="http://schemas.microsoft.com/office/drawing/2014/main" id="{75EFAC08-2B94-F15A-8DE7-CB9C621454A0}"/>
              </a:ext>
            </a:extLst>
          </p:cNvPr>
          <p:cNvSpPr>
            <a:spLocks noGrp="1"/>
          </p:cNvSpPr>
          <p:nvPr>
            <p:ph type="title"/>
          </p:nvPr>
        </p:nvSpPr>
        <p:spPr/>
        <p:txBody>
          <a:bodyPr/>
          <a:lstStyle/>
          <a:p>
            <a:r>
              <a:rPr lang="et-EE"/>
              <a:t>Klõpsake juhteksemplari pealkirja laadi redigeerimiseks</a:t>
            </a:r>
          </a:p>
        </p:txBody>
      </p:sp>
      <p:sp>
        <p:nvSpPr>
          <p:cNvPr id="3" name="Vertikaalteksti kohatäide 2">
            <a:extLst>
              <a:ext uri="{FF2B5EF4-FFF2-40B4-BE49-F238E27FC236}">
                <a16:creationId xmlns:a16="http://schemas.microsoft.com/office/drawing/2014/main" id="{A01669DC-F213-0A46-94DB-BBF4835287B0}"/>
              </a:ext>
            </a:extLst>
          </p:cNvPr>
          <p:cNvSpPr>
            <a:spLocks noGrp="1"/>
          </p:cNvSpPr>
          <p:nvPr>
            <p:ph type="body" orient="vert" idx="1"/>
          </p:nvPr>
        </p:nvSpPr>
        <p:spPr/>
        <p:txBody>
          <a:bodyPr vert="eaVert"/>
          <a:lstStyle/>
          <a:p>
            <a:pPr lvl="0"/>
            <a:r>
              <a:rPr lang="et-EE"/>
              <a:t>Klõpsake juhteksemplari tekstilaadide redigeerimiseks</a:t>
            </a:r>
          </a:p>
          <a:p>
            <a:pPr lvl="1"/>
            <a:r>
              <a:rPr lang="et-EE"/>
              <a:t>Teine tase</a:t>
            </a:r>
          </a:p>
          <a:p>
            <a:pPr lvl="2"/>
            <a:r>
              <a:rPr lang="et-EE"/>
              <a:t>Kolmas tase</a:t>
            </a:r>
          </a:p>
          <a:p>
            <a:pPr lvl="3"/>
            <a:r>
              <a:rPr lang="et-EE"/>
              <a:t>Neljas tase</a:t>
            </a:r>
          </a:p>
          <a:p>
            <a:pPr lvl="4"/>
            <a:r>
              <a:rPr lang="et-EE"/>
              <a:t>Viies tase</a:t>
            </a:r>
          </a:p>
        </p:txBody>
      </p:sp>
      <p:sp>
        <p:nvSpPr>
          <p:cNvPr id="4" name="Kuupäeva kohatäide 3">
            <a:extLst>
              <a:ext uri="{FF2B5EF4-FFF2-40B4-BE49-F238E27FC236}">
                <a16:creationId xmlns:a16="http://schemas.microsoft.com/office/drawing/2014/main" id="{F8F4480F-2623-D179-19B8-ABDB01164FC9}"/>
              </a:ext>
            </a:extLst>
          </p:cNvPr>
          <p:cNvSpPr>
            <a:spLocks noGrp="1"/>
          </p:cNvSpPr>
          <p:nvPr>
            <p:ph type="dt" sz="half" idx="10"/>
          </p:nvPr>
        </p:nvSpPr>
        <p:spPr/>
        <p:txBody>
          <a:bodyPr/>
          <a:lstStyle/>
          <a:p>
            <a:fld id="{D2450041-76BD-43C1-A3B8-CC73E81AEC1B}" type="datetimeFigureOut">
              <a:rPr lang="et-EE" smtClean="0"/>
              <a:t>21.10.24</a:t>
            </a:fld>
            <a:endParaRPr lang="et-EE"/>
          </a:p>
        </p:txBody>
      </p:sp>
      <p:sp>
        <p:nvSpPr>
          <p:cNvPr id="5" name="Jaluse kohatäide 4">
            <a:extLst>
              <a:ext uri="{FF2B5EF4-FFF2-40B4-BE49-F238E27FC236}">
                <a16:creationId xmlns:a16="http://schemas.microsoft.com/office/drawing/2014/main" id="{F1C8D632-884B-E477-A801-50005B7CC978}"/>
              </a:ext>
            </a:extLst>
          </p:cNvPr>
          <p:cNvSpPr>
            <a:spLocks noGrp="1"/>
          </p:cNvSpPr>
          <p:nvPr>
            <p:ph type="ftr" sz="quarter" idx="11"/>
          </p:nvPr>
        </p:nvSpPr>
        <p:spPr/>
        <p:txBody>
          <a:bodyPr/>
          <a:lstStyle/>
          <a:p>
            <a:endParaRPr lang="et-EE"/>
          </a:p>
        </p:txBody>
      </p:sp>
      <p:sp>
        <p:nvSpPr>
          <p:cNvPr id="6" name="Slaidinumbri kohatäide 5">
            <a:extLst>
              <a:ext uri="{FF2B5EF4-FFF2-40B4-BE49-F238E27FC236}">
                <a16:creationId xmlns:a16="http://schemas.microsoft.com/office/drawing/2014/main" id="{E6790A66-4CD0-66C5-878E-2A123D6AB072}"/>
              </a:ext>
            </a:extLst>
          </p:cNvPr>
          <p:cNvSpPr>
            <a:spLocks noGrp="1"/>
          </p:cNvSpPr>
          <p:nvPr>
            <p:ph type="sldNum" sz="quarter" idx="12"/>
          </p:nvPr>
        </p:nvSpPr>
        <p:spPr/>
        <p:txBody>
          <a:bodyPr/>
          <a:lstStyle/>
          <a:p>
            <a:fld id="{7AE61F13-3C0B-4EBA-8525-4288964F0FAB}" type="slidenum">
              <a:rPr lang="et-EE" smtClean="0"/>
              <a:t>‹#›</a:t>
            </a:fld>
            <a:endParaRPr lang="et-EE"/>
          </a:p>
        </p:txBody>
      </p:sp>
    </p:spTree>
    <p:extLst>
      <p:ext uri="{BB962C8B-B14F-4D97-AF65-F5344CB8AC3E}">
        <p14:creationId xmlns:p14="http://schemas.microsoft.com/office/powerpoint/2010/main" val="16713345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kaaltiitel ja tekst">
    <p:spTree>
      <p:nvGrpSpPr>
        <p:cNvPr id="1" name=""/>
        <p:cNvGrpSpPr/>
        <p:nvPr/>
      </p:nvGrpSpPr>
      <p:grpSpPr>
        <a:xfrm>
          <a:off x="0" y="0"/>
          <a:ext cx="0" cy="0"/>
          <a:chOff x="0" y="0"/>
          <a:chExt cx="0" cy="0"/>
        </a:xfrm>
      </p:grpSpPr>
      <p:sp>
        <p:nvSpPr>
          <p:cNvPr id="2" name="Vertikaaltiitel 1">
            <a:extLst>
              <a:ext uri="{FF2B5EF4-FFF2-40B4-BE49-F238E27FC236}">
                <a16:creationId xmlns:a16="http://schemas.microsoft.com/office/drawing/2014/main" id="{E780B1C3-FFED-7AED-FBAC-01D97BBBA135}"/>
              </a:ext>
            </a:extLst>
          </p:cNvPr>
          <p:cNvSpPr>
            <a:spLocks noGrp="1"/>
          </p:cNvSpPr>
          <p:nvPr>
            <p:ph type="title" orient="vert"/>
          </p:nvPr>
        </p:nvSpPr>
        <p:spPr>
          <a:xfrm>
            <a:off x="8724900" y="365125"/>
            <a:ext cx="2628900" cy="5811838"/>
          </a:xfrm>
        </p:spPr>
        <p:txBody>
          <a:bodyPr vert="eaVert"/>
          <a:lstStyle/>
          <a:p>
            <a:r>
              <a:rPr lang="et-EE"/>
              <a:t>Klõpsake juhteksemplari pealkirja laadi redigeerimiseks</a:t>
            </a:r>
          </a:p>
        </p:txBody>
      </p:sp>
      <p:sp>
        <p:nvSpPr>
          <p:cNvPr id="3" name="Vertikaalteksti kohatäide 2">
            <a:extLst>
              <a:ext uri="{FF2B5EF4-FFF2-40B4-BE49-F238E27FC236}">
                <a16:creationId xmlns:a16="http://schemas.microsoft.com/office/drawing/2014/main" id="{B934D126-2B02-697F-E38E-EA0533EC0700}"/>
              </a:ext>
            </a:extLst>
          </p:cNvPr>
          <p:cNvSpPr>
            <a:spLocks noGrp="1"/>
          </p:cNvSpPr>
          <p:nvPr>
            <p:ph type="body" orient="vert" idx="1"/>
          </p:nvPr>
        </p:nvSpPr>
        <p:spPr>
          <a:xfrm>
            <a:off x="838200" y="365125"/>
            <a:ext cx="7734300" cy="5811838"/>
          </a:xfrm>
        </p:spPr>
        <p:txBody>
          <a:bodyPr vert="eaVert"/>
          <a:lstStyle/>
          <a:p>
            <a:pPr lvl="0"/>
            <a:r>
              <a:rPr lang="et-EE"/>
              <a:t>Klõpsake juhteksemplari tekstilaadide redigeerimiseks</a:t>
            </a:r>
          </a:p>
          <a:p>
            <a:pPr lvl="1"/>
            <a:r>
              <a:rPr lang="et-EE"/>
              <a:t>Teine tase</a:t>
            </a:r>
          </a:p>
          <a:p>
            <a:pPr lvl="2"/>
            <a:r>
              <a:rPr lang="et-EE"/>
              <a:t>Kolmas tase</a:t>
            </a:r>
          </a:p>
          <a:p>
            <a:pPr lvl="3"/>
            <a:r>
              <a:rPr lang="et-EE"/>
              <a:t>Neljas tase</a:t>
            </a:r>
          </a:p>
          <a:p>
            <a:pPr lvl="4"/>
            <a:r>
              <a:rPr lang="et-EE"/>
              <a:t>Viies tase</a:t>
            </a:r>
          </a:p>
        </p:txBody>
      </p:sp>
      <p:sp>
        <p:nvSpPr>
          <p:cNvPr id="4" name="Kuupäeva kohatäide 3">
            <a:extLst>
              <a:ext uri="{FF2B5EF4-FFF2-40B4-BE49-F238E27FC236}">
                <a16:creationId xmlns:a16="http://schemas.microsoft.com/office/drawing/2014/main" id="{441472FD-80FC-3D56-88B9-A684813F28D8}"/>
              </a:ext>
            </a:extLst>
          </p:cNvPr>
          <p:cNvSpPr>
            <a:spLocks noGrp="1"/>
          </p:cNvSpPr>
          <p:nvPr>
            <p:ph type="dt" sz="half" idx="10"/>
          </p:nvPr>
        </p:nvSpPr>
        <p:spPr/>
        <p:txBody>
          <a:bodyPr/>
          <a:lstStyle/>
          <a:p>
            <a:fld id="{D2450041-76BD-43C1-A3B8-CC73E81AEC1B}" type="datetimeFigureOut">
              <a:rPr lang="et-EE" smtClean="0"/>
              <a:t>21.10.24</a:t>
            </a:fld>
            <a:endParaRPr lang="et-EE"/>
          </a:p>
        </p:txBody>
      </p:sp>
      <p:sp>
        <p:nvSpPr>
          <p:cNvPr id="5" name="Jaluse kohatäide 4">
            <a:extLst>
              <a:ext uri="{FF2B5EF4-FFF2-40B4-BE49-F238E27FC236}">
                <a16:creationId xmlns:a16="http://schemas.microsoft.com/office/drawing/2014/main" id="{6AF5DFD5-9918-C04D-8479-DA588CFFF5ED}"/>
              </a:ext>
            </a:extLst>
          </p:cNvPr>
          <p:cNvSpPr>
            <a:spLocks noGrp="1"/>
          </p:cNvSpPr>
          <p:nvPr>
            <p:ph type="ftr" sz="quarter" idx="11"/>
          </p:nvPr>
        </p:nvSpPr>
        <p:spPr/>
        <p:txBody>
          <a:bodyPr/>
          <a:lstStyle/>
          <a:p>
            <a:endParaRPr lang="et-EE"/>
          </a:p>
        </p:txBody>
      </p:sp>
      <p:sp>
        <p:nvSpPr>
          <p:cNvPr id="6" name="Slaidinumbri kohatäide 5">
            <a:extLst>
              <a:ext uri="{FF2B5EF4-FFF2-40B4-BE49-F238E27FC236}">
                <a16:creationId xmlns:a16="http://schemas.microsoft.com/office/drawing/2014/main" id="{CAFC3A7C-CE60-C7DF-038E-14CC28D3FFFA}"/>
              </a:ext>
            </a:extLst>
          </p:cNvPr>
          <p:cNvSpPr>
            <a:spLocks noGrp="1"/>
          </p:cNvSpPr>
          <p:nvPr>
            <p:ph type="sldNum" sz="quarter" idx="12"/>
          </p:nvPr>
        </p:nvSpPr>
        <p:spPr/>
        <p:txBody>
          <a:bodyPr/>
          <a:lstStyle/>
          <a:p>
            <a:fld id="{7AE61F13-3C0B-4EBA-8525-4288964F0FAB}" type="slidenum">
              <a:rPr lang="et-EE" smtClean="0"/>
              <a:t>‹#›</a:t>
            </a:fld>
            <a:endParaRPr lang="et-EE"/>
          </a:p>
        </p:txBody>
      </p:sp>
    </p:spTree>
    <p:extLst>
      <p:ext uri="{BB962C8B-B14F-4D97-AF65-F5344CB8AC3E}">
        <p14:creationId xmlns:p14="http://schemas.microsoft.com/office/powerpoint/2010/main" val="25649821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v2-03">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3B9B4417-9E81-4888-8DA1-0E23892902E5}"/>
              </a:ext>
            </a:extLst>
          </p:cNvPr>
          <p:cNvGrpSpPr>
            <a:grpSpLocks noChangeAspect="1"/>
          </p:cNvGrpSpPr>
          <p:nvPr userDrawn="1"/>
        </p:nvGrpSpPr>
        <p:grpSpPr>
          <a:xfrm>
            <a:off x="9610103" y="269716"/>
            <a:ext cx="2106000" cy="365194"/>
            <a:chOff x="7353133" y="5416457"/>
            <a:chExt cx="2897218" cy="502397"/>
          </a:xfrm>
        </p:grpSpPr>
        <p:sp>
          <p:nvSpPr>
            <p:cNvPr id="15" name="Freeform: Shape 14">
              <a:extLst>
                <a:ext uri="{FF2B5EF4-FFF2-40B4-BE49-F238E27FC236}">
                  <a16:creationId xmlns:a16="http://schemas.microsoft.com/office/drawing/2014/main" id="{93272D31-9380-4D6F-894F-D62AA5905AE6}"/>
                </a:ext>
              </a:extLst>
            </p:cNvPr>
            <p:cNvSpPr/>
            <p:nvPr/>
          </p:nvSpPr>
          <p:spPr>
            <a:xfrm>
              <a:off x="8756230" y="5471090"/>
              <a:ext cx="71186" cy="409745"/>
            </a:xfrm>
            <a:custGeom>
              <a:avLst/>
              <a:gdLst>
                <a:gd name="connsiteX0" fmla="*/ 35444 w 71186"/>
                <a:gd name="connsiteY0" fmla="*/ -97 h 409745"/>
                <a:gd name="connsiteX1" fmla="*/ -150 w 71186"/>
                <a:gd name="connsiteY1" fmla="*/ 35497 h 409745"/>
                <a:gd name="connsiteX2" fmla="*/ -150 w 71186"/>
                <a:gd name="connsiteY2" fmla="*/ 374054 h 409745"/>
                <a:gd name="connsiteX3" fmla="*/ 35444 w 71186"/>
                <a:gd name="connsiteY3" fmla="*/ 409648 h 409745"/>
                <a:gd name="connsiteX4" fmla="*/ 71037 w 71186"/>
                <a:gd name="connsiteY4" fmla="*/ 374054 h 409745"/>
                <a:gd name="connsiteX5" fmla="*/ 71037 w 71186"/>
                <a:gd name="connsiteY5" fmla="*/ 35497 h 409745"/>
                <a:gd name="connsiteX6" fmla="*/ 35444 w 71186"/>
                <a:gd name="connsiteY6" fmla="*/ -97 h 409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86" h="409745">
                  <a:moveTo>
                    <a:pt x="35444" y="-97"/>
                  </a:moveTo>
                  <a:cubicBezTo>
                    <a:pt x="15825" y="-97"/>
                    <a:pt x="-150" y="15837"/>
                    <a:pt x="-150" y="35497"/>
                  </a:cubicBezTo>
                  <a:lnTo>
                    <a:pt x="-150" y="374054"/>
                  </a:lnTo>
                  <a:cubicBezTo>
                    <a:pt x="-150" y="393672"/>
                    <a:pt x="15825" y="409648"/>
                    <a:pt x="35444" y="409648"/>
                  </a:cubicBezTo>
                  <a:cubicBezTo>
                    <a:pt x="55062" y="409648"/>
                    <a:pt x="71037" y="393672"/>
                    <a:pt x="71037" y="374054"/>
                  </a:cubicBezTo>
                  <a:lnTo>
                    <a:pt x="71037" y="35497"/>
                  </a:lnTo>
                  <a:cubicBezTo>
                    <a:pt x="71037" y="15837"/>
                    <a:pt x="55062" y="-97"/>
                    <a:pt x="35444" y="-97"/>
                  </a:cubicBezTo>
                </a:path>
              </a:pathLst>
            </a:custGeom>
            <a:solidFill>
              <a:srgbClr val="707372"/>
            </a:solidFill>
            <a:ln w="82731" cap="flat">
              <a:noFill/>
              <a:prstDash val="solid"/>
              <a:miter/>
            </a:ln>
          </p:spPr>
          <p:txBody>
            <a:bodyPr rtlCol="0" anchor="ctr"/>
            <a:lstStyle/>
            <a:p>
              <a:endParaRPr lang="en-US" spc="0">
                <a:latin typeface="Calibri Light" panose="020F0302020204030204" pitchFamily="34" charset="0"/>
                <a:cs typeface="Calibri Light" panose="020F0302020204030204" pitchFamily="34" charset="0"/>
              </a:endParaRPr>
            </a:p>
          </p:txBody>
        </p:sp>
        <p:sp>
          <p:nvSpPr>
            <p:cNvPr id="16" name="Freeform: Shape 15">
              <a:extLst>
                <a:ext uri="{FF2B5EF4-FFF2-40B4-BE49-F238E27FC236}">
                  <a16:creationId xmlns:a16="http://schemas.microsoft.com/office/drawing/2014/main" id="{9DBA602D-954B-462F-83AF-41367CD9CB80}"/>
                </a:ext>
              </a:extLst>
            </p:cNvPr>
            <p:cNvSpPr/>
            <p:nvPr/>
          </p:nvSpPr>
          <p:spPr>
            <a:xfrm>
              <a:off x="8911023" y="5471090"/>
              <a:ext cx="253296" cy="402295"/>
            </a:xfrm>
            <a:custGeom>
              <a:avLst/>
              <a:gdLst>
                <a:gd name="connsiteX0" fmla="*/ 220864 w 253296"/>
                <a:gd name="connsiteY0" fmla="*/ 341771 h 402295"/>
                <a:gd name="connsiteX1" fmla="*/ 71038 w 253296"/>
                <a:gd name="connsiteY1" fmla="*/ 341771 h 402295"/>
                <a:gd name="connsiteX2" fmla="*/ 71038 w 253296"/>
                <a:gd name="connsiteY2" fmla="*/ 35497 h 402295"/>
                <a:gd name="connsiteX3" fmla="*/ 35444 w 253296"/>
                <a:gd name="connsiteY3" fmla="*/ -97 h 402295"/>
                <a:gd name="connsiteX4" fmla="*/ -150 w 253296"/>
                <a:gd name="connsiteY4" fmla="*/ 35497 h 402295"/>
                <a:gd name="connsiteX5" fmla="*/ -150 w 253296"/>
                <a:gd name="connsiteY5" fmla="*/ 366604 h 402295"/>
                <a:gd name="connsiteX6" fmla="*/ 35444 w 253296"/>
                <a:gd name="connsiteY6" fmla="*/ 402198 h 402295"/>
                <a:gd name="connsiteX7" fmla="*/ 220864 w 253296"/>
                <a:gd name="connsiteY7" fmla="*/ 402198 h 402295"/>
                <a:gd name="connsiteX8" fmla="*/ 253147 w 253296"/>
                <a:gd name="connsiteY8" fmla="*/ 369915 h 402295"/>
                <a:gd name="connsiteX9" fmla="*/ 220864 w 253296"/>
                <a:gd name="connsiteY9" fmla="*/ 337632 h 40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3296" h="402295">
                  <a:moveTo>
                    <a:pt x="220864" y="341771"/>
                  </a:moveTo>
                  <a:lnTo>
                    <a:pt x="71038" y="341771"/>
                  </a:lnTo>
                  <a:lnTo>
                    <a:pt x="71038" y="35497"/>
                  </a:lnTo>
                  <a:cubicBezTo>
                    <a:pt x="71038" y="15837"/>
                    <a:pt x="55062" y="-97"/>
                    <a:pt x="35444" y="-97"/>
                  </a:cubicBezTo>
                  <a:cubicBezTo>
                    <a:pt x="15825" y="-97"/>
                    <a:pt x="-150" y="15837"/>
                    <a:pt x="-150" y="35497"/>
                  </a:cubicBezTo>
                  <a:lnTo>
                    <a:pt x="-150" y="366604"/>
                  </a:lnTo>
                  <a:cubicBezTo>
                    <a:pt x="-150" y="386222"/>
                    <a:pt x="15825" y="402198"/>
                    <a:pt x="35444" y="402198"/>
                  </a:cubicBezTo>
                  <a:lnTo>
                    <a:pt x="220864" y="402198"/>
                  </a:lnTo>
                  <a:cubicBezTo>
                    <a:pt x="238661" y="402198"/>
                    <a:pt x="253147" y="387712"/>
                    <a:pt x="253147" y="369915"/>
                  </a:cubicBezTo>
                  <a:cubicBezTo>
                    <a:pt x="252733" y="352284"/>
                    <a:pt x="238495" y="338046"/>
                    <a:pt x="220864" y="337632"/>
                  </a:cubicBezTo>
                </a:path>
              </a:pathLst>
            </a:custGeom>
            <a:solidFill>
              <a:srgbClr val="707372"/>
            </a:solidFill>
            <a:ln w="82731" cap="flat">
              <a:noFill/>
              <a:prstDash val="solid"/>
              <a:miter/>
            </a:ln>
          </p:spPr>
          <p:txBody>
            <a:bodyPr rtlCol="0" anchor="ctr"/>
            <a:lstStyle/>
            <a:p>
              <a:endParaRPr lang="en-US" spc="0">
                <a:latin typeface="Calibri Light" panose="020F0302020204030204" pitchFamily="34" charset="0"/>
                <a:cs typeface="Calibri Light" panose="020F0302020204030204" pitchFamily="34" charset="0"/>
              </a:endParaRPr>
            </a:p>
          </p:txBody>
        </p:sp>
        <p:sp>
          <p:nvSpPr>
            <p:cNvPr id="17" name="Freeform: Shape 16">
              <a:extLst>
                <a:ext uri="{FF2B5EF4-FFF2-40B4-BE49-F238E27FC236}">
                  <a16:creationId xmlns:a16="http://schemas.microsoft.com/office/drawing/2014/main" id="{FB0637A9-C4BD-4EF6-BA8B-620367C84821}"/>
                </a:ext>
              </a:extLst>
            </p:cNvPr>
            <p:cNvSpPr/>
            <p:nvPr/>
          </p:nvSpPr>
          <p:spPr>
            <a:xfrm>
              <a:off x="9218536" y="5471080"/>
              <a:ext cx="71211" cy="415138"/>
            </a:xfrm>
            <a:custGeom>
              <a:avLst/>
              <a:gdLst>
                <a:gd name="connsiteX0" fmla="*/ 35860 w 71211"/>
                <a:gd name="connsiteY0" fmla="*/ -87 h 415138"/>
                <a:gd name="connsiteX1" fmla="*/ 267 w 71211"/>
                <a:gd name="connsiteY1" fmla="*/ 33835 h 415138"/>
                <a:gd name="connsiteX2" fmla="*/ 267 w 71211"/>
                <a:gd name="connsiteY2" fmla="*/ 35507 h 415138"/>
                <a:gd name="connsiteX3" fmla="*/ 267 w 71211"/>
                <a:gd name="connsiteY3" fmla="*/ 374064 h 415138"/>
                <a:gd name="connsiteX4" fmla="*/ 30067 w 71211"/>
                <a:gd name="connsiteY4" fmla="*/ 414625 h 415138"/>
                <a:gd name="connsiteX5" fmla="*/ 70626 w 71211"/>
                <a:gd name="connsiteY5" fmla="*/ 384908 h 415138"/>
                <a:gd name="connsiteX6" fmla="*/ 70626 w 71211"/>
                <a:gd name="connsiteY6" fmla="*/ 374064 h 415138"/>
                <a:gd name="connsiteX7" fmla="*/ 70626 w 71211"/>
                <a:gd name="connsiteY7" fmla="*/ 35507 h 415138"/>
                <a:gd name="connsiteX8" fmla="*/ 36689 w 71211"/>
                <a:gd name="connsiteY8" fmla="*/ -79 h 415138"/>
                <a:gd name="connsiteX9" fmla="*/ 35860 w 71211"/>
                <a:gd name="connsiteY9" fmla="*/ -87 h 415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211" h="415138">
                  <a:moveTo>
                    <a:pt x="35860" y="-87"/>
                  </a:moveTo>
                  <a:cubicBezTo>
                    <a:pt x="16657" y="-550"/>
                    <a:pt x="763" y="14639"/>
                    <a:pt x="267" y="33835"/>
                  </a:cubicBezTo>
                  <a:cubicBezTo>
                    <a:pt x="267" y="34389"/>
                    <a:pt x="267" y="34952"/>
                    <a:pt x="267" y="35507"/>
                  </a:cubicBezTo>
                  <a:lnTo>
                    <a:pt x="267" y="374064"/>
                  </a:lnTo>
                  <a:cubicBezTo>
                    <a:pt x="-2714" y="393517"/>
                    <a:pt x="10614" y="411645"/>
                    <a:pt x="30067" y="414625"/>
                  </a:cubicBezTo>
                  <a:cubicBezTo>
                    <a:pt x="49436" y="417605"/>
                    <a:pt x="67647" y="404278"/>
                    <a:pt x="70626" y="384908"/>
                  </a:cubicBezTo>
                  <a:cubicBezTo>
                    <a:pt x="71206" y="381266"/>
                    <a:pt x="71206" y="377624"/>
                    <a:pt x="70626" y="374064"/>
                  </a:cubicBezTo>
                  <a:lnTo>
                    <a:pt x="70626" y="35507"/>
                  </a:lnTo>
                  <a:cubicBezTo>
                    <a:pt x="71124" y="16311"/>
                    <a:pt x="55893" y="377"/>
                    <a:pt x="36689" y="-79"/>
                  </a:cubicBezTo>
                  <a:cubicBezTo>
                    <a:pt x="36440" y="-87"/>
                    <a:pt x="36109" y="-87"/>
                    <a:pt x="35860" y="-87"/>
                  </a:cubicBezTo>
                </a:path>
              </a:pathLst>
            </a:custGeom>
            <a:solidFill>
              <a:srgbClr val="707372"/>
            </a:solidFill>
            <a:ln w="82731" cap="flat">
              <a:noFill/>
              <a:prstDash val="solid"/>
              <a:miter/>
            </a:ln>
          </p:spPr>
          <p:txBody>
            <a:bodyPr rtlCol="0" anchor="ctr"/>
            <a:lstStyle/>
            <a:p>
              <a:endParaRPr lang="en-US" spc="0">
                <a:latin typeface="Calibri Light" panose="020F0302020204030204" pitchFamily="34" charset="0"/>
                <a:cs typeface="Calibri Light" panose="020F0302020204030204" pitchFamily="34" charset="0"/>
              </a:endParaRPr>
            </a:p>
          </p:txBody>
        </p:sp>
        <p:sp>
          <p:nvSpPr>
            <p:cNvPr id="18" name="Freeform: Shape 17">
              <a:extLst>
                <a:ext uri="{FF2B5EF4-FFF2-40B4-BE49-F238E27FC236}">
                  <a16:creationId xmlns:a16="http://schemas.microsoft.com/office/drawing/2014/main" id="{0DFBA85D-D66D-4030-B2DF-B762CD3956D0}"/>
                </a:ext>
              </a:extLst>
            </p:cNvPr>
            <p:cNvSpPr/>
            <p:nvPr/>
          </p:nvSpPr>
          <p:spPr>
            <a:xfrm>
              <a:off x="8207235" y="5471090"/>
              <a:ext cx="146722" cy="409760"/>
            </a:xfrm>
            <a:custGeom>
              <a:avLst/>
              <a:gdLst>
                <a:gd name="connsiteX0" fmla="*/ 36457 w 146722"/>
                <a:gd name="connsiteY0" fmla="*/ 409648 h 409760"/>
                <a:gd name="connsiteX1" fmla="*/ -130 w 146722"/>
                <a:gd name="connsiteY1" fmla="*/ 375130 h 409760"/>
                <a:gd name="connsiteX2" fmla="*/ 22385 w 146722"/>
                <a:gd name="connsiteY2" fmla="*/ 340943 h 409760"/>
                <a:gd name="connsiteX3" fmla="*/ 75362 w 146722"/>
                <a:gd name="connsiteY3" fmla="*/ 258166 h 409760"/>
                <a:gd name="connsiteX4" fmla="*/ 75362 w 146722"/>
                <a:gd name="connsiteY4" fmla="*/ 35497 h 409760"/>
                <a:gd name="connsiteX5" fmla="*/ 110956 w 146722"/>
                <a:gd name="connsiteY5" fmla="*/ -97 h 409760"/>
                <a:gd name="connsiteX6" fmla="*/ 146550 w 146722"/>
                <a:gd name="connsiteY6" fmla="*/ 35497 h 409760"/>
                <a:gd name="connsiteX7" fmla="*/ 146550 w 146722"/>
                <a:gd name="connsiteY7" fmla="*/ 259822 h 409760"/>
                <a:gd name="connsiteX8" fmla="*/ 49700 w 146722"/>
                <a:gd name="connsiteY8" fmla="*/ 407165 h 409760"/>
                <a:gd name="connsiteX9" fmla="*/ 36457 w 146722"/>
                <a:gd name="connsiteY9" fmla="*/ 407165 h 40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6722" h="409760">
                  <a:moveTo>
                    <a:pt x="36457" y="409648"/>
                  </a:moveTo>
                  <a:cubicBezTo>
                    <a:pt x="16839" y="410228"/>
                    <a:pt x="449" y="394748"/>
                    <a:pt x="-130" y="375130"/>
                  </a:cubicBezTo>
                  <a:cubicBezTo>
                    <a:pt x="-627" y="360147"/>
                    <a:pt x="8395" y="346406"/>
                    <a:pt x="22385" y="340943"/>
                  </a:cubicBezTo>
                  <a:cubicBezTo>
                    <a:pt x="56323" y="327947"/>
                    <a:pt x="77762" y="294423"/>
                    <a:pt x="75362" y="258166"/>
                  </a:cubicBezTo>
                  <a:lnTo>
                    <a:pt x="75362" y="35497"/>
                  </a:lnTo>
                  <a:cubicBezTo>
                    <a:pt x="75362" y="15837"/>
                    <a:pt x="91338" y="-97"/>
                    <a:pt x="110956" y="-97"/>
                  </a:cubicBezTo>
                  <a:cubicBezTo>
                    <a:pt x="130574" y="-97"/>
                    <a:pt x="146550" y="15837"/>
                    <a:pt x="146550" y="35497"/>
                  </a:cubicBezTo>
                  <a:lnTo>
                    <a:pt x="146550" y="259822"/>
                  </a:lnTo>
                  <a:cubicBezTo>
                    <a:pt x="147627" y="324222"/>
                    <a:pt x="109218" y="382663"/>
                    <a:pt x="49700" y="407165"/>
                  </a:cubicBezTo>
                  <a:cubicBezTo>
                    <a:pt x="45314" y="407993"/>
                    <a:pt x="40844" y="407993"/>
                    <a:pt x="36457" y="407165"/>
                  </a:cubicBezTo>
                </a:path>
              </a:pathLst>
            </a:custGeom>
            <a:solidFill>
              <a:srgbClr val="707372"/>
            </a:solidFill>
            <a:ln w="82731" cap="flat">
              <a:noFill/>
              <a:prstDash val="solid"/>
              <a:miter/>
            </a:ln>
          </p:spPr>
          <p:txBody>
            <a:bodyPr rtlCol="0" anchor="ctr"/>
            <a:lstStyle/>
            <a:p>
              <a:endParaRPr lang="en-US" spc="0">
                <a:latin typeface="Calibri Light" panose="020F0302020204030204" pitchFamily="34" charset="0"/>
                <a:cs typeface="Calibri Light" panose="020F0302020204030204" pitchFamily="34" charset="0"/>
              </a:endParaRPr>
            </a:p>
          </p:txBody>
        </p:sp>
        <p:sp>
          <p:nvSpPr>
            <p:cNvPr id="19" name="Freeform: Shape 18">
              <a:extLst>
                <a:ext uri="{FF2B5EF4-FFF2-40B4-BE49-F238E27FC236}">
                  <a16:creationId xmlns:a16="http://schemas.microsoft.com/office/drawing/2014/main" id="{0A9C5AB7-D149-44BD-B327-22C193CBDA8F}"/>
                </a:ext>
              </a:extLst>
            </p:cNvPr>
            <p:cNvSpPr/>
            <p:nvPr/>
          </p:nvSpPr>
          <p:spPr>
            <a:xfrm>
              <a:off x="8026071" y="5471090"/>
              <a:ext cx="144098" cy="410573"/>
            </a:xfrm>
            <a:custGeom>
              <a:avLst/>
              <a:gdLst>
                <a:gd name="connsiteX0" fmla="*/ 111666 w 144098"/>
                <a:gd name="connsiteY0" fmla="*/ 408820 h 410573"/>
                <a:gd name="connsiteX1" fmla="*/ 97593 w 144098"/>
                <a:gd name="connsiteY1" fmla="*/ 408820 h 410573"/>
                <a:gd name="connsiteX2" fmla="*/ -83 w 144098"/>
                <a:gd name="connsiteY2" fmla="*/ 259822 h 410573"/>
                <a:gd name="connsiteX3" fmla="*/ -83 w 144098"/>
                <a:gd name="connsiteY3" fmla="*/ 35497 h 410573"/>
                <a:gd name="connsiteX4" fmla="*/ 35510 w 144098"/>
                <a:gd name="connsiteY4" fmla="*/ -97 h 410573"/>
                <a:gd name="connsiteX5" fmla="*/ 71105 w 144098"/>
                <a:gd name="connsiteY5" fmla="*/ 35497 h 410573"/>
                <a:gd name="connsiteX6" fmla="*/ 71105 w 144098"/>
                <a:gd name="connsiteY6" fmla="*/ 259822 h 410573"/>
                <a:gd name="connsiteX7" fmla="*/ 122426 w 144098"/>
                <a:gd name="connsiteY7" fmla="*/ 342599 h 410573"/>
                <a:gd name="connsiteX8" fmla="*/ 141466 w 144098"/>
                <a:gd name="connsiteY8" fmla="*/ 361637 h 410573"/>
                <a:gd name="connsiteX9" fmla="*/ 141466 w 144098"/>
                <a:gd name="connsiteY9" fmla="*/ 388954 h 410573"/>
                <a:gd name="connsiteX10" fmla="*/ 108354 w 144098"/>
                <a:gd name="connsiteY10" fmla="*/ 410476 h 410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098" h="410573">
                  <a:moveTo>
                    <a:pt x="111666" y="408820"/>
                  </a:moveTo>
                  <a:cubicBezTo>
                    <a:pt x="107031" y="409979"/>
                    <a:pt x="102228" y="409979"/>
                    <a:pt x="97593" y="408820"/>
                  </a:cubicBezTo>
                  <a:cubicBezTo>
                    <a:pt x="37001" y="384566"/>
                    <a:pt x="-1987" y="325050"/>
                    <a:pt x="-83" y="259822"/>
                  </a:cubicBezTo>
                  <a:lnTo>
                    <a:pt x="-83" y="35497"/>
                  </a:lnTo>
                  <a:cubicBezTo>
                    <a:pt x="-83" y="15837"/>
                    <a:pt x="15892" y="-97"/>
                    <a:pt x="35510" y="-97"/>
                  </a:cubicBezTo>
                  <a:cubicBezTo>
                    <a:pt x="55130" y="-97"/>
                    <a:pt x="71105" y="15837"/>
                    <a:pt x="71105" y="35497"/>
                  </a:cubicBezTo>
                  <a:lnTo>
                    <a:pt x="71105" y="259822"/>
                  </a:lnTo>
                  <a:cubicBezTo>
                    <a:pt x="68456" y="295664"/>
                    <a:pt x="89150" y="329023"/>
                    <a:pt x="122426" y="342599"/>
                  </a:cubicBezTo>
                  <a:cubicBezTo>
                    <a:pt x="131366" y="345661"/>
                    <a:pt x="138403" y="352698"/>
                    <a:pt x="141466" y="361637"/>
                  </a:cubicBezTo>
                  <a:cubicBezTo>
                    <a:pt x="144776" y="370412"/>
                    <a:pt x="144776" y="380179"/>
                    <a:pt x="141466" y="388954"/>
                  </a:cubicBezTo>
                  <a:cubicBezTo>
                    <a:pt x="135589" y="402032"/>
                    <a:pt x="122675" y="410393"/>
                    <a:pt x="108354" y="410476"/>
                  </a:cubicBezTo>
                </a:path>
              </a:pathLst>
            </a:custGeom>
            <a:solidFill>
              <a:srgbClr val="707372"/>
            </a:solidFill>
            <a:ln w="82731" cap="flat">
              <a:noFill/>
              <a:prstDash val="solid"/>
              <a:miter/>
            </a:ln>
          </p:spPr>
          <p:txBody>
            <a:bodyPr rtlCol="0" anchor="ctr"/>
            <a:lstStyle/>
            <a:p>
              <a:endParaRPr lang="en-US" spc="0">
                <a:latin typeface="Calibri Light" panose="020F0302020204030204" pitchFamily="34" charset="0"/>
                <a:cs typeface="Calibri Light" panose="020F0302020204030204" pitchFamily="34" charset="0"/>
              </a:endParaRPr>
            </a:p>
          </p:txBody>
        </p:sp>
        <p:sp>
          <p:nvSpPr>
            <p:cNvPr id="20" name="Freeform: Shape 19">
              <a:extLst>
                <a:ext uri="{FF2B5EF4-FFF2-40B4-BE49-F238E27FC236}">
                  <a16:creationId xmlns:a16="http://schemas.microsoft.com/office/drawing/2014/main" id="{5BCAC2E6-BB63-491F-99CB-7F156D3062D1}"/>
                </a:ext>
              </a:extLst>
            </p:cNvPr>
            <p:cNvSpPr/>
            <p:nvPr/>
          </p:nvSpPr>
          <p:spPr>
            <a:xfrm>
              <a:off x="9954010" y="5469430"/>
              <a:ext cx="296341" cy="413061"/>
            </a:xfrm>
            <a:custGeom>
              <a:avLst/>
              <a:gdLst>
                <a:gd name="connsiteX0" fmla="*/ 167060 w 296341"/>
                <a:gd name="connsiteY0" fmla="*/ 173739 h 413061"/>
                <a:gd name="connsiteX1" fmla="*/ 71038 w 296341"/>
                <a:gd name="connsiteY1" fmla="*/ 110829 h 413061"/>
                <a:gd name="connsiteX2" fmla="*/ 71038 w 296341"/>
                <a:gd name="connsiteY2" fmla="*/ 110829 h 413061"/>
                <a:gd name="connsiteX3" fmla="*/ 136433 w 296341"/>
                <a:gd name="connsiteY3" fmla="*/ 62818 h 413061"/>
                <a:gd name="connsiteX4" fmla="*/ 229142 w 296341"/>
                <a:gd name="connsiteY4" fmla="*/ 93446 h 413061"/>
                <a:gd name="connsiteX5" fmla="*/ 248181 w 296341"/>
                <a:gd name="connsiteY5" fmla="*/ 99240 h 413061"/>
                <a:gd name="connsiteX6" fmla="*/ 281292 w 296341"/>
                <a:gd name="connsiteY6" fmla="*/ 66130 h 413061"/>
                <a:gd name="connsiteX7" fmla="*/ 265564 w 296341"/>
                <a:gd name="connsiteY7" fmla="*/ 37985 h 413061"/>
                <a:gd name="connsiteX8" fmla="*/ 137260 w 296341"/>
                <a:gd name="connsiteY8" fmla="*/ 736 h 413061"/>
                <a:gd name="connsiteX9" fmla="*/ 513 w 296341"/>
                <a:gd name="connsiteY9" fmla="*/ 109041 h 413061"/>
                <a:gd name="connsiteX10" fmla="*/ -150 w 296341"/>
                <a:gd name="connsiteY10" fmla="*/ 117451 h 413061"/>
                <a:gd name="connsiteX11" fmla="*/ -150 w 296341"/>
                <a:gd name="connsiteY11" fmla="*/ 117451 h 413061"/>
                <a:gd name="connsiteX12" fmla="*/ 133949 w 296341"/>
                <a:gd name="connsiteY12" fmla="*/ 238305 h 413061"/>
                <a:gd name="connsiteX13" fmla="*/ 225003 w 296341"/>
                <a:gd name="connsiteY13" fmla="*/ 299560 h 413061"/>
                <a:gd name="connsiteX14" fmla="*/ 225003 w 296341"/>
                <a:gd name="connsiteY14" fmla="*/ 299560 h 413061"/>
                <a:gd name="connsiteX15" fmla="*/ 153815 w 296341"/>
                <a:gd name="connsiteY15" fmla="*/ 350054 h 413061"/>
                <a:gd name="connsiteX16" fmla="*/ 87595 w 296341"/>
                <a:gd name="connsiteY16" fmla="*/ 336809 h 413061"/>
                <a:gd name="connsiteX17" fmla="*/ 79316 w 296341"/>
                <a:gd name="connsiteY17" fmla="*/ 336809 h 413061"/>
                <a:gd name="connsiteX18" fmla="*/ 48689 w 296341"/>
                <a:gd name="connsiteY18" fmla="*/ 372238 h 413061"/>
                <a:gd name="connsiteX19" fmla="*/ 61933 w 296341"/>
                <a:gd name="connsiteY19" fmla="*/ 396409 h 413061"/>
                <a:gd name="connsiteX20" fmla="*/ 152160 w 296341"/>
                <a:gd name="connsiteY20" fmla="*/ 412965 h 413061"/>
                <a:gd name="connsiteX21" fmla="*/ 296191 w 296341"/>
                <a:gd name="connsiteY21" fmla="*/ 292938 h 413061"/>
                <a:gd name="connsiteX22" fmla="*/ 296191 w 296341"/>
                <a:gd name="connsiteY22" fmla="*/ 292938 h 413061"/>
                <a:gd name="connsiteX23" fmla="*/ 167060 w 296341"/>
                <a:gd name="connsiteY23" fmla="*/ 174567 h 413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6341" h="413061">
                  <a:moveTo>
                    <a:pt x="167060" y="173739"/>
                  </a:moveTo>
                  <a:cubicBezTo>
                    <a:pt x="89249" y="155529"/>
                    <a:pt x="71038" y="141456"/>
                    <a:pt x="71038" y="110829"/>
                  </a:cubicBezTo>
                  <a:lnTo>
                    <a:pt x="71038" y="110829"/>
                  </a:lnTo>
                  <a:cubicBezTo>
                    <a:pt x="71038" y="84341"/>
                    <a:pt x="95044" y="62818"/>
                    <a:pt x="136433" y="62818"/>
                  </a:cubicBezTo>
                  <a:cubicBezTo>
                    <a:pt x="169708" y="63472"/>
                    <a:pt x="201991" y="74151"/>
                    <a:pt x="229142" y="93446"/>
                  </a:cubicBezTo>
                  <a:cubicBezTo>
                    <a:pt x="234688" y="97444"/>
                    <a:pt x="241393" y="99480"/>
                    <a:pt x="248181" y="99240"/>
                  </a:cubicBezTo>
                  <a:cubicBezTo>
                    <a:pt x="266475" y="99240"/>
                    <a:pt x="281292" y="84415"/>
                    <a:pt x="281292" y="66130"/>
                  </a:cubicBezTo>
                  <a:cubicBezTo>
                    <a:pt x="281789" y="54524"/>
                    <a:pt x="275746" y="43622"/>
                    <a:pt x="265564" y="37985"/>
                  </a:cubicBezTo>
                  <a:cubicBezTo>
                    <a:pt x="227570" y="12780"/>
                    <a:pt x="182787" y="-216"/>
                    <a:pt x="137260" y="736"/>
                  </a:cubicBezTo>
                  <a:cubicBezTo>
                    <a:pt x="69631" y="-7112"/>
                    <a:pt x="8377" y="41379"/>
                    <a:pt x="513" y="109041"/>
                  </a:cubicBezTo>
                  <a:cubicBezTo>
                    <a:pt x="182" y="111839"/>
                    <a:pt x="17" y="114645"/>
                    <a:pt x="-150" y="117451"/>
                  </a:cubicBezTo>
                  <a:lnTo>
                    <a:pt x="-150" y="117451"/>
                  </a:lnTo>
                  <a:cubicBezTo>
                    <a:pt x="-150" y="191950"/>
                    <a:pt x="48689" y="217611"/>
                    <a:pt x="133949" y="238305"/>
                  </a:cubicBezTo>
                  <a:cubicBezTo>
                    <a:pt x="219209" y="259000"/>
                    <a:pt x="225003" y="271416"/>
                    <a:pt x="225003" y="299560"/>
                  </a:cubicBezTo>
                  <a:lnTo>
                    <a:pt x="225003" y="299560"/>
                  </a:lnTo>
                  <a:cubicBezTo>
                    <a:pt x="225003" y="329360"/>
                    <a:pt x="197687" y="350054"/>
                    <a:pt x="153815" y="350054"/>
                  </a:cubicBezTo>
                  <a:cubicBezTo>
                    <a:pt x="131052" y="350054"/>
                    <a:pt x="108536" y="345584"/>
                    <a:pt x="87595" y="336809"/>
                  </a:cubicBezTo>
                  <a:lnTo>
                    <a:pt x="79316" y="336809"/>
                  </a:lnTo>
                  <a:cubicBezTo>
                    <a:pt x="61105" y="338134"/>
                    <a:pt x="47364" y="353944"/>
                    <a:pt x="48689" y="372238"/>
                  </a:cubicBezTo>
                  <a:cubicBezTo>
                    <a:pt x="49351" y="381840"/>
                    <a:pt x="54236" y="390697"/>
                    <a:pt x="61933" y="396409"/>
                  </a:cubicBezTo>
                  <a:cubicBezTo>
                    <a:pt x="90740" y="407336"/>
                    <a:pt x="121367" y="412881"/>
                    <a:pt x="152160" y="412965"/>
                  </a:cubicBezTo>
                  <a:cubicBezTo>
                    <a:pt x="234937" y="412965"/>
                    <a:pt x="296191" y="368265"/>
                    <a:pt x="296191" y="292938"/>
                  </a:cubicBezTo>
                  <a:lnTo>
                    <a:pt x="296191" y="292938"/>
                  </a:lnTo>
                  <a:cubicBezTo>
                    <a:pt x="296191" y="225889"/>
                    <a:pt x="252320" y="195261"/>
                    <a:pt x="167060" y="174567"/>
                  </a:cubicBezTo>
                </a:path>
              </a:pathLst>
            </a:custGeom>
            <a:solidFill>
              <a:srgbClr val="707372"/>
            </a:solidFill>
            <a:ln w="82731" cap="flat">
              <a:noFill/>
              <a:prstDash val="solid"/>
              <a:miter/>
            </a:ln>
          </p:spPr>
          <p:txBody>
            <a:bodyPr rtlCol="0" anchor="ctr"/>
            <a:lstStyle/>
            <a:p>
              <a:endParaRPr lang="en-US" spc="0">
                <a:latin typeface="Calibri Light" panose="020F0302020204030204" pitchFamily="34" charset="0"/>
                <a:cs typeface="Calibri Light" panose="020F0302020204030204" pitchFamily="34" charset="0"/>
              </a:endParaRPr>
            </a:p>
          </p:txBody>
        </p:sp>
        <p:sp>
          <p:nvSpPr>
            <p:cNvPr id="21" name="Freeform: Shape 20">
              <a:extLst>
                <a:ext uri="{FF2B5EF4-FFF2-40B4-BE49-F238E27FC236}">
                  <a16:creationId xmlns:a16="http://schemas.microsoft.com/office/drawing/2014/main" id="{71E0D81B-953A-4D8C-99C0-E7B6D892A1F8}"/>
                </a:ext>
              </a:extLst>
            </p:cNvPr>
            <p:cNvSpPr/>
            <p:nvPr/>
          </p:nvSpPr>
          <p:spPr>
            <a:xfrm>
              <a:off x="8387872" y="5474402"/>
              <a:ext cx="314552" cy="405605"/>
            </a:xfrm>
            <a:custGeom>
              <a:avLst/>
              <a:gdLst>
                <a:gd name="connsiteX0" fmla="*/ 284603 w 314552"/>
                <a:gd name="connsiteY0" fmla="*/ -97 h 405605"/>
                <a:gd name="connsiteX1" fmla="*/ 36272 w 314552"/>
                <a:gd name="connsiteY1" fmla="*/ -97 h 405605"/>
                <a:gd name="connsiteX2" fmla="*/ -150 w 314552"/>
                <a:gd name="connsiteY2" fmla="*/ 36324 h 405605"/>
                <a:gd name="connsiteX3" fmla="*/ 36272 w 314552"/>
                <a:gd name="connsiteY3" fmla="*/ 72746 h 405605"/>
                <a:gd name="connsiteX4" fmla="*/ 123188 w 314552"/>
                <a:gd name="connsiteY4" fmla="*/ 72746 h 405605"/>
                <a:gd name="connsiteX5" fmla="*/ 123188 w 314552"/>
                <a:gd name="connsiteY5" fmla="*/ 369088 h 405605"/>
                <a:gd name="connsiteX6" fmla="*/ 157954 w 314552"/>
                <a:gd name="connsiteY6" fmla="*/ 405509 h 405605"/>
                <a:gd name="connsiteX7" fmla="*/ 158781 w 314552"/>
                <a:gd name="connsiteY7" fmla="*/ 405509 h 405605"/>
                <a:gd name="connsiteX8" fmla="*/ 195204 w 314552"/>
                <a:gd name="connsiteY8" fmla="*/ 369088 h 405605"/>
                <a:gd name="connsiteX9" fmla="*/ 195204 w 314552"/>
                <a:gd name="connsiteY9" fmla="*/ 72746 h 405605"/>
                <a:gd name="connsiteX10" fmla="*/ 277980 w 314552"/>
                <a:gd name="connsiteY10" fmla="*/ 72746 h 405605"/>
                <a:gd name="connsiteX11" fmla="*/ 314402 w 314552"/>
                <a:gd name="connsiteY11" fmla="*/ 36324 h 405605"/>
                <a:gd name="connsiteX12" fmla="*/ 277980 w 314552"/>
                <a:gd name="connsiteY12" fmla="*/ -97 h 405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4552" h="405605">
                  <a:moveTo>
                    <a:pt x="284603" y="-97"/>
                  </a:moveTo>
                  <a:lnTo>
                    <a:pt x="36272" y="-97"/>
                  </a:lnTo>
                  <a:cubicBezTo>
                    <a:pt x="16158" y="-97"/>
                    <a:pt x="-150" y="16210"/>
                    <a:pt x="-150" y="36324"/>
                  </a:cubicBezTo>
                  <a:cubicBezTo>
                    <a:pt x="-150" y="56439"/>
                    <a:pt x="16158" y="72746"/>
                    <a:pt x="36272" y="72746"/>
                  </a:cubicBezTo>
                  <a:lnTo>
                    <a:pt x="123188" y="72746"/>
                  </a:lnTo>
                  <a:lnTo>
                    <a:pt x="123188" y="369088"/>
                  </a:lnTo>
                  <a:cubicBezTo>
                    <a:pt x="122692" y="388706"/>
                    <a:pt x="138254" y="405013"/>
                    <a:pt x="157954" y="405509"/>
                  </a:cubicBezTo>
                  <a:cubicBezTo>
                    <a:pt x="158203" y="405509"/>
                    <a:pt x="158534" y="405509"/>
                    <a:pt x="158781" y="405509"/>
                  </a:cubicBezTo>
                  <a:cubicBezTo>
                    <a:pt x="178897" y="405509"/>
                    <a:pt x="195204" y="389202"/>
                    <a:pt x="195204" y="369088"/>
                  </a:cubicBezTo>
                  <a:lnTo>
                    <a:pt x="195204" y="72746"/>
                  </a:lnTo>
                  <a:lnTo>
                    <a:pt x="277980" y="72746"/>
                  </a:lnTo>
                  <a:cubicBezTo>
                    <a:pt x="298096" y="72746"/>
                    <a:pt x="314402" y="56439"/>
                    <a:pt x="314402" y="36324"/>
                  </a:cubicBezTo>
                  <a:cubicBezTo>
                    <a:pt x="314402" y="16210"/>
                    <a:pt x="298096" y="-97"/>
                    <a:pt x="277980" y="-97"/>
                  </a:cubicBezTo>
                </a:path>
              </a:pathLst>
            </a:custGeom>
            <a:solidFill>
              <a:srgbClr val="707372"/>
            </a:solidFill>
            <a:ln w="82731" cap="flat">
              <a:noFill/>
              <a:prstDash val="solid"/>
              <a:miter/>
            </a:ln>
          </p:spPr>
          <p:txBody>
            <a:bodyPr rtlCol="0" anchor="ctr"/>
            <a:lstStyle/>
            <a:p>
              <a:endParaRPr lang="en-US" spc="0">
                <a:latin typeface="Calibri Light" panose="020F0302020204030204" pitchFamily="34" charset="0"/>
                <a:cs typeface="Calibri Light" panose="020F0302020204030204" pitchFamily="34" charset="0"/>
              </a:endParaRPr>
            </a:p>
          </p:txBody>
        </p:sp>
        <p:sp>
          <p:nvSpPr>
            <p:cNvPr id="22" name="Freeform: Shape 21">
              <a:extLst>
                <a:ext uri="{FF2B5EF4-FFF2-40B4-BE49-F238E27FC236}">
                  <a16:creationId xmlns:a16="http://schemas.microsoft.com/office/drawing/2014/main" id="{0800C6E0-A8A5-47BB-8459-AD47E46D5010}"/>
                </a:ext>
              </a:extLst>
            </p:cNvPr>
            <p:cNvSpPr/>
            <p:nvPr/>
          </p:nvSpPr>
          <p:spPr>
            <a:xfrm>
              <a:off x="9328217" y="5474402"/>
              <a:ext cx="321174" cy="411084"/>
            </a:xfrm>
            <a:custGeom>
              <a:avLst/>
              <a:gdLst>
                <a:gd name="connsiteX0" fmla="*/ 284603 w 321174"/>
                <a:gd name="connsiteY0" fmla="*/ 72746 h 411084"/>
                <a:gd name="connsiteX1" fmla="*/ 321025 w 321174"/>
                <a:gd name="connsiteY1" fmla="*/ 36324 h 411084"/>
                <a:gd name="connsiteX2" fmla="*/ 284603 w 321174"/>
                <a:gd name="connsiteY2" fmla="*/ -97 h 411084"/>
                <a:gd name="connsiteX3" fmla="*/ 36272 w 321174"/>
                <a:gd name="connsiteY3" fmla="*/ -97 h 411084"/>
                <a:gd name="connsiteX4" fmla="*/ -150 w 321174"/>
                <a:gd name="connsiteY4" fmla="*/ 36324 h 411084"/>
                <a:gd name="connsiteX5" fmla="*/ 36272 w 321174"/>
                <a:gd name="connsiteY5" fmla="*/ 72746 h 411084"/>
                <a:gd name="connsiteX6" fmla="*/ 119049 w 321174"/>
                <a:gd name="connsiteY6" fmla="*/ 72746 h 411084"/>
                <a:gd name="connsiteX7" fmla="*/ 119049 w 321174"/>
                <a:gd name="connsiteY7" fmla="*/ 369088 h 411084"/>
                <a:gd name="connsiteX8" fmla="*/ 149594 w 321174"/>
                <a:gd name="connsiteY8" fmla="*/ 410559 h 411084"/>
                <a:gd name="connsiteX9" fmla="*/ 191064 w 321174"/>
                <a:gd name="connsiteY9" fmla="*/ 380014 h 411084"/>
                <a:gd name="connsiteX10" fmla="*/ 191064 w 321174"/>
                <a:gd name="connsiteY10" fmla="*/ 369088 h 411084"/>
                <a:gd name="connsiteX11" fmla="*/ 191064 w 321174"/>
                <a:gd name="connsiteY11" fmla="*/ 72746 h 411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1174" h="411084">
                  <a:moveTo>
                    <a:pt x="284603" y="72746"/>
                  </a:moveTo>
                  <a:cubicBezTo>
                    <a:pt x="304717" y="72746"/>
                    <a:pt x="321025" y="56439"/>
                    <a:pt x="321025" y="36324"/>
                  </a:cubicBezTo>
                  <a:cubicBezTo>
                    <a:pt x="321025" y="16210"/>
                    <a:pt x="304717" y="-97"/>
                    <a:pt x="284603" y="-97"/>
                  </a:cubicBezTo>
                  <a:lnTo>
                    <a:pt x="36272" y="-97"/>
                  </a:lnTo>
                  <a:cubicBezTo>
                    <a:pt x="16158" y="-97"/>
                    <a:pt x="-150" y="16210"/>
                    <a:pt x="-150" y="36324"/>
                  </a:cubicBezTo>
                  <a:cubicBezTo>
                    <a:pt x="-150" y="56439"/>
                    <a:pt x="16158" y="72746"/>
                    <a:pt x="36272" y="72746"/>
                  </a:cubicBezTo>
                  <a:lnTo>
                    <a:pt x="119049" y="72746"/>
                  </a:lnTo>
                  <a:lnTo>
                    <a:pt x="119049" y="369088"/>
                  </a:lnTo>
                  <a:cubicBezTo>
                    <a:pt x="115986" y="388954"/>
                    <a:pt x="129727" y="407578"/>
                    <a:pt x="149594" y="410559"/>
                  </a:cubicBezTo>
                  <a:cubicBezTo>
                    <a:pt x="169461" y="413621"/>
                    <a:pt x="188003" y="399963"/>
                    <a:pt x="191064" y="380014"/>
                  </a:cubicBezTo>
                  <a:cubicBezTo>
                    <a:pt x="191644" y="376372"/>
                    <a:pt x="191644" y="372730"/>
                    <a:pt x="191064" y="369088"/>
                  </a:cubicBezTo>
                  <a:lnTo>
                    <a:pt x="191064" y="72746"/>
                  </a:lnTo>
                  <a:close/>
                </a:path>
              </a:pathLst>
            </a:custGeom>
            <a:solidFill>
              <a:srgbClr val="707372"/>
            </a:solidFill>
            <a:ln w="82731" cap="flat">
              <a:noFill/>
              <a:prstDash val="solid"/>
              <a:miter/>
            </a:ln>
          </p:spPr>
          <p:txBody>
            <a:bodyPr rtlCol="0" anchor="ctr"/>
            <a:lstStyle/>
            <a:p>
              <a:endParaRPr lang="en-US" spc="0">
                <a:latin typeface="Calibri Light" panose="020F0302020204030204" pitchFamily="34" charset="0"/>
                <a:cs typeface="Calibri Light" panose="020F0302020204030204" pitchFamily="34" charset="0"/>
              </a:endParaRPr>
            </a:p>
          </p:txBody>
        </p:sp>
        <p:sp>
          <p:nvSpPr>
            <p:cNvPr id="23" name="Freeform: Shape 22">
              <a:extLst>
                <a:ext uri="{FF2B5EF4-FFF2-40B4-BE49-F238E27FC236}">
                  <a16:creationId xmlns:a16="http://schemas.microsoft.com/office/drawing/2014/main" id="{85BA2A25-712D-4B2F-957F-941D06A52ADE}"/>
                </a:ext>
              </a:extLst>
            </p:cNvPr>
            <p:cNvSpPr/>
            <p:nvPr/>
          </p:nvSpPr>
          <p:spPr>
            <a:xfrm>
              <a:off x="9601729" y="5462563"/>
              <a:ext cx="343698" cy="416348"/>
            </a:xfrm>
            <a:custGeom>
              <a:avLst/>
              <a:gdLst>
                <a:gd name="connsiteX0" fmla="*/ 213067 w 343698"/>
                <a:gd name="connsiteY0" fmla="*/ 23330 h 416348"/>
                <a:gd name="connsiteX1" fmla="*/ 168864 w 343698"/>
                <a:gd name="connsiteY1" fmla="*/ 1816 h 416348"/>
                <a:gd name="connsiteX2" fmla="*/ 166712 w 343698"/>
                <a:gd name="connsiteY2" fmla="*/ 2636 h 416348"/>
                <a:gd name="connsiteX3" fmla="*/ 145189 w 343698"/>
                <a:gd name="connsiteY3" fmla="*/ 48991 h 416348"/>
                <a:gd name="connsiteX4" fmla="*/ 221345 w 343698"/>
                <a:gd name="connsiteY4" fmla="*/ 249311 h 416348"/>
                <a:gd name="connsiteX5" fmla="*/ 126979 w 343698"/>
                <a:gd name="connsiteY5" fmla="*/ 249311 h 416348"/>
                <a:gd name="connsiteX6" fmla="*/ 152640 w 343698"/>
                <a:gd name="connsiteY6" fmla="*/ 182262 h 416348"/>
                <a:gd name="connsiteX7" fmla="*/ 127476 w 343698"/>
                <a:gd name="connsiteY7" fmla="*/ 137339 h 416348"/>
                <a:gd name="connsiteX8" fmla="*/ 84762 w 343698"/>
                <a:gd name="connsiteY8" fmla="*/ 156601 h 416348"/>
                <a:gd name="connsiteX9" fmla="*/ 1986 w 343698"/>
                <a:gd name="connsiteY9" fmla="*/ 369338 h 416348"/>
                <a:gd name="connsiteX10" fmla="*/ 23508 w 343698"/>
                <a:gd name="connsiteY10" fmla="*/ 415692 h 416348"/>
                <a:gd name="connsiteX11" fmla="*/ 35924 w 343698"/>
                <a:gd name="connsiteY11" fmla="*/ 415692 h 416348"/>
                <a:gd name="connsiteX12" fmla="*/ 69863 w 343698"/>
                <a:gd name="connsiteY12" fmla="*/ 391687 h 416348"/>
                <a:gd name="connsiteX13" fmla="*/ 97180 w 343698"/>
                <a:gd name="connsiteY13" fmla="*/ 318844 h 416348"/>
                <a:gd name="connsiteX14" fmla="*/ 245350 w 343698"/>
                <a:gd name="connsiteY14" fmla="*/ 318844 h 416348"/>
                <a:gd name="connsiteX15" fmla="*/ 273494 w 343698"/>
                <a:gd name="connsiteY15" fmla="*/ 391687 h 416348"/>
                <a:gd name="connsiteX16" fmla="*/ 307432 w 343698"/>
                <a:gd name="connsiteY16" fmla="*/ 415692 h 416348"/>
                <a:gd name="connsiteX17" fmla="*/ 319848 w 343698"/>
                <a:gd name="connsiteY17" fmla="*/ 415692 h 416348"/>
                <a:gd name="connsiteX18" fmla="*/ 341371 w 343698"/>
                <a:gd name="connsiteY18" fmla="*/ 368510 h 416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3698" h="416348">
                  <a:moveTo>
                    <a:pt x="213067" y="23330"/>
                  </a:moveTo>
                  <a:cubicBezTo>
                    <a:pt x="206775" y="5178"/>
                    <a:pt x="186992" y="-4450"/>
                    <a:pt x="168864" y="1816"/>
                  </a:cubicBezTo>
                  <a:cubicBezTo>
                    <a:pt x="168119" y="2065"/>
                    <a:pt x="167457" y="2338"/>
                    <a:pt x="166712" y="2636"/>
                  </a:cubicBezTo>
                  <a:cubicBezTo>
                    <a:pt x="148087" y="9614"/>
                    <a:pt x="138485" y="30258"/>
                    <a:pt x="145189" y="48991"/>
                  </a:cubicBezTo>
                  <a:lnTo>
                    <a:pt x="221345" y="249311"/>
                  </a:lnTo>
                  <a:lnTo>
                    <a:pt x="126979" y="249311"/>
                  </a:lnTo>
                  <a:lnTo>
                    <a:pt x="152640" y="182262"/>
                  </a:lnTo>
                  <a:cubicBezTo>
                    <a:pt x="158103" y="162900"/>
                    <a:pt x="146763" y="142786"/>
                    <a:pt x="127476" y="137339"/>
                  </a:cubicBezTo>
                  <a:cubicBezTo>
                    <a:pt x="110423" y="132562"/>
                    <a:pt x="92461" y="140683"/>
                    <a:pt x="84762" y="156601"/>
                  </a:cubicBezTo>
                  <a:lnTo>
                    <a:pt x="1986" y="369338"/>
                  </a:lnTo>
                  <a:cubicBezTo>
                    <a:pt x="-4719" y="388045"/>
                    <a:pt x="4883" y="408739"/>
                    <a:pt x="23508" y="415692"/>
                  </a:cubicBezTo>
                  <a:cubicBezTo>
                    <a:pt x="27646" y="416438"/>
                    <a:pt x="31785" y="416438"/>
                    <a:pt x="35924" y="415692"/>
                  </a:cubicBezTo>
                  <a:cubicBezTo>
                    <a:pt x="51156" y="415527"/>
                    <a:pt x="64648" y="406008"/>
                    <a:pt x="69863" y="391687"/>
                  </a:cubicBezTo>
                  <a:lnTo>
                    <a:pt x="97180" y="318844"/>
                  </a:lnTo>
                  <a:lnTo>
                    <a:pt x="245350" y="318844"/>
                  </a:lnTo>
                  <a:lnTo>
                    <a:pt x="273494" y="391687"/>
                  </a:lnTo>
                  <a:cubicBezTo>
                    <a:pt x="278460" y="406173"/>
                    <a:pt x="292119" y="415775"/>
                    <a:pt x="307432" y="415692"/>
                  </a:cubicBezTo>
                  <a:cubicBezTo>
                    <a:pt x="311571" y="416438"/>
                    <a:pt x="315711" y="416438"/>
                    <a:pt x="319848" y="415692"/>
                  </a:cubicBezTo>
                  <a:cubicBezTo>
                    <a:pt x="338557" y="408326"/>
                    <a:pt x="348159" y="387465"/>
                    <a:pt x="341371" y="368510"/>
                  </a:cubicBezTo>
                  <a:close/>
                </a:path>
              </a:pathLst>
            </a:custGeom>
            <a:solidFill>
              <a:srgbClr val="707372"/>
            </a:solidFill>
            <a:ln w="82731" cap="flat">
              <a:noFill/>
              <a:prstDash val="solid"/>
              <a:miter/>
            </a:ln>
          </p:spPr>
          <p:txBody>
            <a:bodyPr rtlCol="0" anchor="ctr"/>
            <a:lstStyle/>
            <a:p>
              <a:endParaRPr lang="en-US" spc="0">
                <a:latin typeface="Calibri Light" panose="020F0302020204030204" pitchFamily="34" charset="0"/>
                <a:cs typeface="Calibri Light" panose="020F0302020204030204" pitchFamily="34" charset="0"/>
              </a:endParaRPr>
            </a:p>
          </p:txBody>
        </p:sp>
        <p:sp>
          <p:nvSpPr>
            <p:cNvPr id="24" name="Freeform: Shape 23">
              <a:extLst>
                <a:ext uri="{FF2B5EF4-FFF2-40B4-BE49-F238E27FC236}">
                  <a16:creationId xmlns:a16="http://schemas.microsoft.com/office/drawing/2014/main" id="{603ADEB3-BDEF-45C6-82FA-A877AE859319}"/>
                </a:ext>
              </a:extLst>
            </p:cNvPr>
            <p:cNvSpPr/>
            <p:nvPr/>
          </p:nvSpPr>
          <p:spPr>
            <a:xfrm>
              <a:off x="7563416" y="5438161"/>
              <a:ext cx="310165" cy="291193"/>
            </a:xfrm>
            <a:custGeom>
              <a:avLst/>
              <a:gdLst>
                <a:gd name="connsiteX0" fmla="*/ 161265 w 310165"/>
                <a:gd name="connsiteY0" fmla="*/ 250536 h 291193"/>
                <a:gd name="connsiteX1" fmla="*/ 300329 w 310165"/>
                <a:gd name="connsiteY1" fmla="*/ 291096 h 291193"/>
                <a:gd name="connsiteX2" fmla="*/ 308607 w 310165"/>
                <a:gd name="connsiteY2" fmla="*/ 182659 h 291193"/>
                <a:gd name="connsiteX3" fmla="*/ -150 w 310165"/>
                <a:gd name="connsiteY3" fmla="*/ 42765 h 291193"/>
                <a:gd name="connsiteX4" fmla="*/ 170784 w 310165"/>
                <a:gd name="connsiteY4" fmla="*/ 202732 h 291193"/>
                <a:gd name="connsiteX5" fmla="*/ 165404 w 310165"/>
                <a:gd name="connsiteY5" fmla="*/ 250536 h 291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0165" h="291193">
                  <a:moveTo>
                    <a:pt x="161265" y="250536"/>
                  </a:moveTo>
                  <a:cubicBezTo>
                    <a:pt x="205302" y="270982"/>
                    <a:pt x="252153" y="284640"/>
                    <a:pt x="300329" y="291096"/>
                  </a:cubicBezTo>
                  <a:cubicBezTo>
                    <a:pt x="309269" y="255668"/>
                    <a:pt x="312001" y="218998"/>
                    <a:pt x="308607" y="182659"/>
                  </a:cubicBezTo>
                  <a:cubicBezTo>
                    <a:pt x="279635" y="-11039"/>
                    <a:pt x="60277" y="-38355"/>
                    <a:pt x="-150" y="42765"/>
                  </a:cubicBezTo>
                  <a:cubicBezTo>
                    <a:pt x="91236" y="39728"/>
                    <a:pt x="167804" y="111347"/>
                    <a:pt x="170784" y="202732"/>
                  </a:cubicBezTo>
                  <a:cubicBezTo>
                    <a:pt x="171363" y="218832"/>
                    <a:pt x="169543" y="234974"/>
                    <a:pt x="165404" y="250536"/>
                  </a:cubicBezTo>
                </a:path>
              </a:pathLst>
            </a:custGeom>
            <a:solidFill>
              <a:srgbClr val="95B03D"/>
            </a:solidFill>
            <a:ln w="82731" cap="flat">
              <a:noFill/>
              <a:prstDash val="solid"/>
              <a:miter/>
            </a:ln>
          </p:spPr>
          <p:txBody>
            <a:bodyPr rtlCol="0" anchor="ctr"/>
            <a:lstStyle/>
            <a:p>
              <a:endParaRPr lang="en-US" spc="0">
                <a:latin typeface="Calibri Light" panose="020F0302020204030204" pitchFamily="34" charset="0"/>
                <a:cs typeface="Calibri Light" panose="020F0302020204030204" pitchFamily="34" charset="0"/>
              </a:endParaRPr>
            </a:p>
          </p:txBody>
        </p:sp>
        <p:sp>
          <p:nvSpPr>
            <p:cNvPr id="25" name="Freeform: Shape 24">
              <a:extLst>
                <a:ext uri="{FF2B5EF4-FFF2-40B4-BE49-F238E27FC236}">
                  <a16:creationId xmlns:a16="http://schemas.microsoft.com/office/drawing/2014/main" id="{75EB823F-9B1A-4517-9DC9-C5917F8AA307}"/>
                </a:ext>
              </a:extLst>
            </p:cNvPr>
            <p:cNvSpPr/>
            <p:nvPr/>
          </p:nvSpPr>
          <p:spPr>
            <a:xfrm>
              <a:off x="7353133" y="5416457"/>
              <a:ext cx="225182" cy="405172"/>
            </a:xfrm>
            <a:custGeom>
              <a:avLst/>
              <a:gdLst>
                <a:gd name="connsiteX0" fmla="*/ 198545 w 225182"/>
                <a:gd name="connsiteY0" fmla="*/ 392265 h 405172"/>
                <a:gd name="connsiteX1" fmla="*/ 225033 w 225182"/>
                <a:gd name="connsiteY1" fmla="*/ -97 h 405172"/>
                <a:gd name="connsiteX2" fmla="*/ 956 w 225182"/>
                <a:gd name="connsiteY2" fmla="*/ 270335 h 405172"/>
                <a:gd name="connsiteX3" fmla="*/ 43751 w 225182"/>
                <a:gd name="connsiteY3" fmla="*/ 388126 h 405172"/>
                <a:gd name="connsiteX4" fmla="*/ 198545 w 225182"/>
                <a:gd name="connsiteY4" fmla="*/ 388126 h 405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182" h="405172">
                  <a:moveTo>
                    <a:pt x="198545" y="392265"/>
                  </a:moveTo>
                  <a:cubicBezTo>
                    <a:pt x="87623" y="295416"/>
                    <a:pt x="85140" y="61158"/>
                    <a:pt x="225033" y="-97"/>
                  </a:cubicBezTo>
                  <a:cubicBezTo>
                    <a:pt x="88451" y="12692"/>
                    <a:pt x="-11875" y="133753"/>
                    <a:pt x="956" y="270335"/>
                  </a:cubicBezTo>
                  <a:cubicBezTo>
                    <a:pt x="4929" y="312634"/>
                    <a:pt x="19663" y="353194"/>
                    <a:pt x="43751" y="388126"/>
                  </a:cubicBezTo>
                  <a:cubicBezTo>
                    <a:pt x="92921" y="410725"/>
                    <a:pt x="149374" y="410725"/>
                    <a:pt x="198545" y="388126"/>
                  </a:cubicBezTo>
                </a:path>
              </a:pathLst>
            </a:custGeom>
            <a:solidFill>
              <a:srgbClr val="EF9428"/>
            </a:solidFill>
            <a:ln w="82731" cap="flat">
              <a:noFill/>
              <a:prstDash val="solid"/>
              <a:miter/>
            </a:ln>
          </p:spPr>
          <p:txBody>
            <a:bodyPr rtlCol="0" anchor="ctr"/>
            <a:lstStyle/>
            <a:p>
              <a:endParaRPr lang="en-US" spc="0">
                <a:latin typeface="Calibri Light" panose="020F0302020204030204" pitchFamily="34" charset="0"/>
                <a:cs typeface="Calibri Light" panose="020F0302020204030204" pitchFamily="34" charset="0"/>
              </a:endParaRPr>
            </a:p>
          </p:txBody>
        </p:sp>
        <p:sp>
          <p:nvSpPr>
            <p:cNvPr id="26" name="Freeform: Shape 25">
              <a:extLst>
                <a:ext uri="{FF2B5EF4-FFF2-40B4-BE49-F238E27FC236}">
                  <a16:creationId xmlns:a16="http://schemas.microsoft.com/office/drawing/2014/main" id="{D8E9A4F0-8AE4-4A0A-A943-BEC50DF26D91}"/>
                </a:ext>
              </a:extLst>
            </p:cNvPr>
            <p:cNvSpPr/>
            <p:nvPr/>
          </p:nvSpPr>
          <p:spPr>
            <a:xfrm>
              <a:off x="7499812" y="5529034"/>
              <a:ext cx="138102" cy="273991"/>
            </a:xfrm>
            <a:custGeom>
              <a:avLst/>
              <a:gdLst>
                <a:gd name="connsiteX0" fmla="*/ 90770 w 138102"/>
                <a:gd name="connsiteY0" fmla="*/ 263133 h 273991"/>
                <a:gd name="connsiteX1" fmla="*/ 137953 w 138102"/>
                <a:gd name="connsiteY1" fmla="*/ 226711 h 273991"/>
                <a:gd name="connsiteX2" fmla="*/ 17926 w 138102"/>
                <a:gd name="connsiteY2" fmla="*/ 4042 h 273991"/>
                <a:gd name="connsiteX3" fmla="*/ 17926 w 138102"/>
                <a:gd name="connsiteY3" fmla="*/ -97 h 273991"/>
                <a:gd name="connsiteX4" fmla="*/ 69248 w 138102"/>
                <a:gd name="connsiteY4" fmla="*/ 273894 h 273991"/>
                <a:gd name="connsiteX5" fmla="*/ 92425 w 138102"/>
                <a:gd name="connsiteY5" fmla="*/ 263133 h 273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102" h="273991">
                  <a:moveTo>
                    <a:pt x="90770" y="263133"/>
                  </a:moveTo>
                  <a:cubicBezTo>
                    <a:pt x="108318" y="253531"/>
                    <a:pt x="124295" y="241280"/>
                    <a:pt x="137953" y="226711"/>
                  </a:cubicBezTo>
                  <a:cubicBezTo>
                    <a:pt x="67013" y="173817"/>
                    <a:pt x="23142" y="92340"/>
                    <a:pt x="17926" y="4042"/>
                  </a:cubicBezTo>
                  <a:lnTo>
                    <a:pt x="17926" y="-97"/>
                  </a:lnTo>
                  <a:cubicBezTo>
                    <a:pt x="-18661" y="93540"/>
                    <a:pt x="1206" y="199892"/>
                    <a:pt x="69248" y="273894"/>
                  </a:cubicBezTo>
                  <a:lnTo>
                    <a:pt x="92425" y="263133"/>
                  </a:lnTo>
                </a:path>
              </a:pathLst>
            </a:custGeom>
            <a:solidFill>
              <a:srgbClr val="EF9428"/>
            </a:solidFill>
            <a:ln w="82731" cap="flat">
              <a:noFill/>
              <a:prstDash val="solid"/>
              <a:miter/>
            </a:ln>
          </p:spPr>
          <p:txBody>
            <a:bodyPr rtlCol="0" anchor="ctr"/>
            <a:lstStyle/>
            <a:p>
              <a:endParaRPr lang="en-US" spc="0">
                <a:latin typeface="Calibri Light" panose="020F0302020204030204" pitchFamily="34" charset="0"/>
                <a:cs typeface="Calibri Light" panose="020F0302020204030204" pitchFamily="34" charset="0"/>
              </a:endParaRPr>
            </a:p>
          </p:txBody>
        </p:sp>
        <p:sp>
          <p:nvSpPr>
            <p:cNvPr id="27" name="Freeform: Shape 26">
              <a:extLst>
                <a:ext uri="{FF2B5EF4-FFF2-40B4-BE49-F238E27FC236}">
                  <a16:creationId xmlns:a16="http://schemas.microsoft.com/office/drawing/2014/main" id="{F531DFE1-E0C6-409F-B777-DF58F5507F2B}"/>
                </a:ext>
              </a:extLst>
            </p:cNvPr>
            <p:cNvSpPr/>
            <p:nvPr/>
          </p:nvSpPr>
          <p:spPr>
            <a:xfrm>
              <a:off x="7560933" y="5588633"/>
              <a:ext cx="106781" cy="156448"/>
            </a:xfrm>
            <a:custGeom>
              <a:avLst/>
              <a:gdLst>
                <a:gd name="connsiteX0" fmla="*/ 1505 w 106781"/>
                <a:gd name="connsiteY0" fmla="*/ -97 h 156448"/>
                <a:gd name="connsiteX1" fmla="*/ 84282 w 106781"/>
                <a:gd name="connsiteY1" fmla="*/ 156351 h 156448"/>
                <a:gd name="connsiteX2" fmla="*/ 106632 w 106781"/>
                <a:gd name="connsiteY2" fmla="*/ 117446 h 156448"/>
                <a:gd name="connsiteX3" fmla="*/ -150 w 106781"/>
                <a:gd name="connsiteY3" fmla="*/ -97 h 156448"/>
              </a:gdLst>
              <a:ahLst/>
              <a:cxnLst>
                <a:cxn ang="0">
                  <a:pos x="connsiteX0" y="connsiteY0"/>
                </a:cxn>
                <a:cxn ang="0">
                  <a:pos x="connsiteX1" y="connsiteY1"/>
                </a:cxn>
                <a:cxn ang="0">
                  <a:pos x="connsiteX2" y="connsiteY2"/>
                </a:cxn>
                <a:cxn ang="0">
                  <a:pos x="connsiteX3" y="connsiteY3"/>
                </a:cxn>
              </a:cxnLst>
              <a:rect l="l" t="t" r="r" b="b"/>
              <a:pathLst>
                <a:path w="106781" h="156448">
                  <a:moveTo>
                    <a:pt x="1505" y="-97"/>
                  </a:moveTo>
                  <a:cubicBezTo>
                    <a:pt x="5147" y="61572"/>
                    <a:pt x="35361" y="118605"/>
                    <a:pt x="84282" y="156351"/>
                  </a:cubicBezTo>
                  <a:cubicBezTo>
                    <a:pt x="93305" y="144349"/>
                    <a:pt x="100838" y="131270"/>
                    <a:pt x="106632" y="117446"/>
                  </a:cubicBezTo>
                  <a:cubicBezTo>
                    <a:pt x="60028" y="89881"/>
                    <a:pt x="22779" y="48940"/>
                    <a:pt x="-150" y="-97"/>
                  </a:cubicBezTo>
                </a:path>
              </a:pathLst>
            </a:custGeom>
            <a:solidFill>
              <a:srgbClr val="EF9428"/>
            </a:solidFill>
            <a:ln w="82731" cap="flat">
              <a:noFill/>
              <a:prstDash val="solid"/>
              <a:miter/>
            </a:ln>
          </p:spPr>
          <p:txBody>
            <a:bodyPr rtlCol="0" anchor="ctr"/>
            <a:lstStyle/>
            <a:p>
              <a:endParaRPr lang="en-US" spc="0">
                <a:latin typeface="Calibri Light" panose="020F0302020204030204" pitchFamily="34" charset="0"/>
                <a:cs typeface="Calibri Light" panose="020F0302020204030204" pitchFamily="34" charset="0"/>
              </a:endParaRPr>
            </a:p>
          </p:txBody>
        </p:sp>
        <p:sp>
          <p:nvSpPr>
            <p:cNvPr id="28" name="Freeform: Shape 27">
              <a:extLst>
                <a:ext uri="{FF2B5EF4-FFF2-40B4-BE49-F238E27FC236}">
                  <a16:creationId xmlns:a16="http://schemas.microsoft.com/office/drawing/2014/main" id="{01A7FE76-6145-40F0-9207-3E429CB293E1}"/>
                </a:ext>
              </a:extLst>
            </p:cNvPr>
            <p:cNvSpPr/>
            <p:nvPr/>
          </p:nvSpPr>
          <p:spPr>
            <a:xfrm>
              <a:off x="7451667" y="5739287"/>
              <a:ext cx="393189" cy="179567"/>
            </a:xfrm>
            <a:custGeom>
              <a:avLst/>
              <a:gdLst>
                <a:gd name="connsiteX0" fmla="*/ 258942 w 393189"/>
                <a:gd name="connsiteY0" fmla="*/ -97 h 179567"/>
                <a:gd name="connsiteX1" fmla="*/ 162921 w 393189"/>
                <a:gd name="connsiteY1" fmla="*/ 98408 h 179567"/>
                <a:gd name="connsiteX2" fmla="*/ 41239 w 393189"/>
                <a:gd name="connsiteY2" fmla="*/ 129035 h 179567"/>
                <a:gd name="connsiteX3" fmla="*/ -150 w 393189"/>
                <a:gd name="connsiteY3" fmla="*/ 124896 h 179567"/>
                <a:gd name="connsiteX4" fmla="*/ 371188 w 393189"/>
                <a:gd name="connsiteY4" fmla="*/ 75644 h 179567"/>
                <a:gd name="connsiteX5" fmla="*/ 393040 w 393189"/>
                <a:gd name="connsiteY5" fmla="*/ 42119 h 179567"/>
                <a:gd name="connsiteX6" fmla="*/ 258942 w 393189"/>
                <a:gd name="connsiteY6" fmla="*/ 3214 h 179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189" h="179567">
                  <a:moveTo>
                    <a:pt x="258942" y="-97"/>
                  </a:moveTo>
                  <a:cubicBezTo>
                    <a:pt x="238248" y="42119"/>
                    <a:pt x="204640" y="76637"/>
                    <a:pt x="162921" y="98408"/>
                  </a:cubicBezTo>
                  <a:cubicBezTo>
                    <a:pt x="125588" y="118605"/>
                    <a:pt x="83703" y="129117"/>
                    <a:pt x="41239" y="129035"/>
                  </a:cubicBezTo>
                  <a:cubicBezTo>
                    <a:pt x="27332" y="128869"/>
                    <a:pt x="13509" y="127462"/>
                    <a:pt x="-150" y="124896"/>
                  </a:cubicBezTo>
                  <a:cubicBezTo>
                    <a:pt x="115986" y="213798"/>
                    <a:pt x="282285" y="191780"/>
                    <a:pt x="371188" y="75644"/>
                  </a:cubicBezTo>
                  <a:cubicBezTo>
                    <a:pt x="379299" y="65048"/>
                    <a:pt x="386583" y="53791"/>
                    <a:pt x="393040" y="42119"/>
                  </a:cubicBezTo>
                  <a:cubicBezTo>
                    <a:pt x="346851" y="35083"/>
                    <a:pt x="301738" y="22004"/>
                    <a:pt x="258942" y="3214"/>
                  </a:cubicBezTo>
                </a:path>
              </a:pathLst>
            </a:custGeom>
            <a:solidFill>
              <a:srgbClr val="CC451B"/>
            </a:solidFill>
            <a:ln w="82731" cap="flat">
              <a:noFill/>
              <a:prstDash val="solid"/>
              <a:miter/>
            </a:ln>
          </p:spPr>
          <p:txBody>
            <a:bodyPr rtlCol="0" anchor="ctr"/>
            <a:lstStyle/>
            <a:p>
              <a:endParaRPr lang="en-US" spc="0">
                <a:latin typeface="Calibri Light" panose="020F0302020204030204" pitchFamily="34" charset="0"/>
                <a:cs typeface="Calibri Light" panose="020F0302020204030204" pitchFamily="34" charset="0"/>
              </a:endParaRPr>
            </a:p>
          </p:txBody>
        </p:sp>
      </p:grpSp>
      <p:sp>
        <p:nvSpPr>
          <p:cNvPr id="31" name="Text Placeholder 30">
            <a:extLst>
              <a:ext uri="{FF2B5EF4-FFF2-40B4-BE49-F238E27FC236}">
                <a16:creationId xmlns:a16="http://schemas.microsoft.com/office/drawing/2014/main" id="{3FDB6864-67F0-43DE-9FF2-5190CAF67E4E}"/>
              </a:ext>
            </a:extLst>
          </p:cNvPr>
          <p:cNvSpPr>
            <a:spLocks noGrp="1"/>
          </p:cNvSpPr>
          <p:nvPr>
            <p:ph type="body" sz="quarter" idx="13" hasCustomPrompt="1"/>
          </p:nvPr>
        </p:nvSpPr>
        <p:spPr>
          <a:xfrm>
            <a:off x="448945" y="343365"/>
            <a:ext cx="9153541" cy="265112"/>
          </a:xfrm>
        </p:spPr>
        <p:txBody>
          <a:bodyPr lIns="0" tIns="0" rIns="0" bIns="0">
            <a:noAutofit/>
          </a:bodyPr>
          <a:lstStyle>
            <a:lvl1pPr marL="0" indent="0">
              <a:buNone/>
              <a:defRPr sz="1500" b="0" spc="0" baseline="0">
                <a:solidFill>
                  <a:schemeClr val="tx1"/>
                </a:solidFill>
                <a:latin typeface="Calibri Light" panose="020F0302020204030204" pitchFamily="34" charset="0"/>
                <a:cs typeface="Calibri Light" panose="020F0302020204030204" pitchFamily="34" charset="0"/>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VÄHESEST NULLI  |  TAUSTINFO</a:t>
            </a:r>
          </a:p>
        </p:txBody>
      </p:sp>
      <p:sp>
        <p:nvSpPr>
          <p:cNvPr id="9" name="Text Placeholder 8">
            <a:extLst>
              <a:ext uri="{FF2B5EF4-FFF2-40B4-BE49-F238E27FC236}">
                <a16:creationId xmlns:a16="http://schemas.microsoft.com/office/drawing/2014/main" id="{FCECD24E-1E54-4D0E-8B3F-427603E8C63F}"/>
              </a:ext>
            </a:extLst>
          </p:cNvPr>
          <p:cNvSpPr>
            <a:spLocks noGrp="1"/>
          </p:cNvSpPr>
          <p:nvPr>
            <p:ph type="body" sz="quarter" idx="14" hasCustomPrompt="1"/>
          </p:nvPr>
        </p:nvSpPr>
        <p:spPr>
          <a:xfrm>
            <a:off x="1876567" y="1730830"/>
            <a:ext cx="8438866" cy="435428"/>
          </a:xfrm>
        </p:spPr>
        <p:txBody>
          <a:bodyPr lIns="0" tIns="0" rIns="0" bIns="0">
            <a:noAutofit/>
          </a:bodyPr>
          <a:lstStyle>
            <a:lvl1pPr marL="0" indent="0" algn="ctr">
              <a:spcBef>
                <a:spcPts val="0"/>
              </a:spcBef>
              <a:buNone/>
              <a:defRPr sz="2700" spc="0" baseline="0">
                <a:solidFill>
                  <a:srgbClr val="231F20"/>
                </a:solidFill>
                <a:latin typeface="Calibri Light" panose="020F0302020204030204" pitchFamily="34" charset="0"/>
                <a:cs typeface="Calibri Light" panose="020F03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HEADLINE</a:t>
            </a:r>
          </a:p>
        </p:txBody>
      </p:sp>
    </p:spTree>
    <p:extLst>
      <p:ext uri="{BB962C8B-B14F-4D97-AF65-F5344CB8AC3E}">
        <p14:creationId xmlns:p14="http://schemas.microsoft.com/office/powerpoint/2010/main" val="32943014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10CE23AB-F18D-4ED0-8CAD-BB7EE50EB224}"/>
              </a:ext>
            </a:extLst>
          </p:cNvPr>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p>
        </p:txBody>
      </p:sp>
      <p:sp>
        <p:nvSpPr>
          <p:cNvPr id="3" name="Текст 2">
            <a:extLst>
              <a:ext uri="{FF2B5EF4-FFF2-40B4-BE49-F238E27FC236}">
                <a16:creationId xmlns:a16="http://schemas.microsoft.com/office/drawing/2014/main" id="{A3DE358B-BDAF-4625-9001-FB20EC11F00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a:extLst>
              <a:ext uri="{FF2B5EF4-FFF2-40B4-BE49-F238E27FC236}">
                <a16:creationId xmlns:a16="http://schemas.microsoft.com/office/drawing/2014/main" id="{4E42C2BD-1FC3-4120-92FA-379FE53991BD}"/>
              </a:ext>
            </a:extLst>
          </p:cNvPr>
          <p:cNvSpPr>
            <a:spLocks noGrp="1"/>
          </p:cNvSpPr>
          <p:nvPr>
            <p:ph type="dt" sz="half" idx="10"/>
          </p:nvPr>
        </p:nvSpPr>
        <p:spPr/>
        <p:txBody>
          <a:bodyPr/>
          <a:lstStyle/>
          <a:p>
            <a:fld id="{FB529229-9D32-41E8-B5E9-750E38562FEE}" type="datetimeFigureOut">
              <a:rPr lang="ru-RU" smtClean="0"/>
              <a:t>21.10.2024</a:t>
            </a:fld>
            <a:endParaRPr lang="ru-RU"/>
          </a:p>
        </p:txBody>
      </p:sp>
      <p:sp>
        <p:nvSpPr>
          <p:cNvPr id="5" name="Нижний колонтитул 4">
            <a:extLst>
              <a:ext uri="{FF2B5EF4-FFF2-40B4-BE49-F238E27FC236}">
                <a16:creationId xmlns:a16="http://schemas.microsoft.com/office/drawing/2014/main" id="{DA8DD587-E773-4327-BE46-80EA11A627D8}"/>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0C34B65A-B4E0-4AEE-BD18-8437FDF7BE58}"/>
              </a:ext>
            </a:extLst>
          </p:cNvPr>
          <p:cNvSpPr>
            <a:spLocks noGrp="1"/>
          </p:cNvSpPr>
          <p:nvPr>
            <p:ph type="sldNum" sz="quarter" idx="12"/>
          </p:nvPr>
        </p:nvSpPr>
        <p:spPr/>
        <p:txBody>
          <a:bodyPr/>
          <a:lstStyle/>
          <a:p>
            <a:fld id="{E0616732-6C76-4382-A985-43BBD7A3E208}" type="slidenum">
              <a:rPr lang="ru-RU" smtClean="0"/>
              <a:t>‹#›</a:t>
            </a:fld>
            <a:endParaRPr lang="ru-RU"/>
          </a:p>
        </p:txBody>
      </p:sp>
    </p:spTree>
    <p:extLst>
      <p:ext uri="{BB962C8B-B14F-4D97-AF65-F5344CB8AC3E}">
        <p14:creationId xmlns:p14="http://schemas.microsoft.com/office/powerpoint/2010/main" val="4929893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313392E7-A158-4A0E-9A0F-8642EFF3A42F}"/>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id="{1D66EF72-E855-4B7E-A56E-8B7192B4D77A}"/>
              </a:ext>
            </a:extLst>
          </p:cNvPr>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16:creationId xmlns:a16="http://schemas.microsoft.com/office/drawing/2014/main" id="{04A2518A-B43C-4E46-A0C9-2480AD8FE466}"/>
              </a:ext>
            </a:extLst>
          </p:cNvPr>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a:extLst>
              <a:ext uri="{FF2B5EF4-FFF2-40B4-BE49-F238E27FC236}">
                <a16:creationId xmlns:a16="http://schemas.microsoft.com/office/drawing/2014/main" id="{A5AB303F-2886-4BB9-B803-61E4F398A120}"/>
              </a:ext>
            </a:extLst>
          </p:cNvPr>
          <p:cNvSpPr>
            <a:spLocks noGrp="1"/>
          </p:cNvSpPr>
          <p:nvPr>
            <p:ph type="dt" sz="half" idx="10"/>
          </p:nvPr>
        </p:nvSpPr>
        <p:spPr/>
        <p:txBody>
          <a:bodyPr/>
          <a:lstStyle/>
          <a:p>
            <a:fld id="{FB529229-9D32-41E8-B5E9-750E38562FEE}" type="datetimeFigureOut">
              <a:rPr lang="ru-RU" smtClean="0"/>
              <a:t>21.10.2024</a:t>
            </a:fld>
            <a:endParaRPr lang="ru-RU"/>
          </a:p>
        </p:txBody>
      </p:sp>
      <p:sp>
        <p:nvSpPr>
          <p:cNvPr id="6" name="Нижний колонтитул 5">
            <a:extLst>
              <a:ext uri="{FF2B5EF4-FFF2-40B4-BE49-F238E27FC236}">
                <a16:creationId xmlns:a16="http://schemas.microsoft.com/office/drawing/2014/main" id="{B01C4EFF-BBE0-426E-ABD0-FEE5F8A59837}"/>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603AF3B3-A81C-44A1-82FB-C2797443CC9B}"/>
              </a:ext>
            </a:extLst>
          </p:cNvPr>
          <p:cNvSpPr>
            <a:spLocks noGrp="1"/>
          </p:cNvSpPr>
          <p:nvPr>
            <p:ph type="sldNum" sz="quarter" idx="12"/>
          </p:nvPr>
        </p:nvSpPr>
        <p:spPr/>
        <p:txBody>
          <a:bodyPr/>
          <a:lstStyle/>
          <a:p>
            <a:fld id="{E0616732-6C76-4382-A985-43BBD7A3E208}" type="slidenum">
              <a:rPr lang="ru-RU" smtClean="0"/>
              <a:t>‹#›</a:t>
            </a:fld>
            <a:endParaRPr lang="ru-RU"/>
          </a:p>
        </p:txBody>
      </p:sp>
    </p:spTree>
    <p:extLst>
      <p:ext uri="{BB962C8B-B14F-4D97-AF65-F5344CB8AC3E}">
        <p14:creationId xmlns:p14="http://schemas.microsoft.com/office/powerpoint/2010/main" val="30847747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046883ED-CB0E-4BEE-B524-4957CB611CCC}"/>
              </a:ext>
            </a:extLst>
          </p:cNvPr>
          <p:cNvSpPr>
            <a:spLocks noGrp="1"/>
          </p:cNvSpPr>
          <p:nvPr>
            <p:ph type="title"/>
          </p:nvPr>
        </p:nvSpPr>
        <p:spPr>
          <a:xfrm>
            <a:off x="839788" y="365125"/>
            <a:ext cx="10515600" cy="1325563"/>
          </a:xfrm>
        </p:spPr>
        <p:txBody>
          <a:bodyPr/>
          <a:lstStyle/>
          <a:p>
            <a:r>
              <a:rPr lang="ru-RU"/>
              <a:t>Образец заголовка</a:t>
            </a:r>
          </a:p>
        </p:txBody>
      </p:sp>
      <p:sp>
        <p:nvSpPr>
          <p:cNvPr id="3" name="Текст 2">
            <a:extLst>
              <a:ext uri="{FF2B5EF4-FFF2-40B4-BE49-F238E27FC236}">
                <a16:creationId xmlns:a16="http://schemas.microsoft.com/office/drawing/2014/main" id="{93CD9C83-2173-4396-94CF-ED2948BCE74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16:creationId xmlns:a16="http://schemas.microsoft.com/office/drawing/2014/main" id="{38079636-114B-40B2-8362-2DEE7563036E}"/>
              </a:ext>
            </a:extLst>
          </p:cNvPr>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16:creationId xmlns:a16="http://schemas.microsoft.com/office/drawing/2014/main" id="{DA5FA0AC-9F46-42A6-AACF-A283FD5BCB1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16:creationId xmlns:a16="http://schemas.microsoft.com/office/drawing/2014/main" id="{89EEDC36-E917-49E6-B5CD-6499A01AFC57}"/>
              </a:ext>
            </a:extLst>
          </p:cNvPr>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a:extLst>
              <a:ext uri="{FF2B5EF4-FFF2-40B4-BE49-F238E27FC236}">
                <a16:creationId xmlns:a16="http://schemas.microsoft.com/office/drawing/2014/main" id="{0B6F9B23-5FF2-4DB2-AC39-F616CD0B5132}"/>
              </a:ext>
            </a:extLst>
          </p:cNvPr>
          <p:cNvSpPr>
            <a:spLocks noGrp="1"/>
          </p:cNvSpPr>
          <p:nvPr>
            <p:ph type="dt" sz="half" idx="10"/>
          </p:nvPr>
        </p:nvSpPr>
        <p:spPr/>
        <p:txBody>
          <a:bodyPr/>
          <a:lstStyle/>
          <a:p>
            <a:fld id="{FB529229-9D32-41E8-B5E9-750E38562FEE}" type="datetimeFigureOut">
              <a:rPr lang="ru-RU" smtClean="0"/>
              <a:t>21.10.2024</a:t>
            </a:fld>
            <a:endParaRPr lang="ru-RU"/>
          </a:p>
        </p:txBody>
      </p:sp>
      <p:sp>
        <p:nvSpPr>
          <p:cNvPr id="8" name="Нижний колонтитул 7">
            <a:extLst>
              <a:ext uri="{FF2B5EF4-FFF2-40B4-BE49-F238E27FC236}">
                <a16:creationId xmlns:a16="http://schemas.microsoft.com/office/drawing/2014/main" id="{5CCB4D8A-23B5-48B8-B383-9C6FB53105CF}"/>
              </a:ext>
            </a:extLst>
          </p:cNvPr>
          <p:cNvSpPr>
            <a:spLocks noGrp="1"/>
          </p:cNvSpPr>
          <p:nvPr>
            <p:ph type="ftr" sz="quarter" idx="11"/>
          </p:nvPr>
        </p:nvSpPr>
        <p:spPr/>
        <p:txBody>
          <a:bodyPr/>
          <a:lstStyle/>
          <a:p>
            <a:endParaRPr lang="ru-RU"/>
          </a:p>
        </p:txBody>
      </p:sp>
      <p:sp>
        <p:nvSpPr>
          <p:cNvPr id="9" name="Номер слайда 8">
            <a:extLst>
              <a:ext uri="{FF2B5EF4-FFF2-40B4-BE49-F238E27FC236}">
                <a16:creationId xmlns:a16="http://schemas.microsoft.com/office/drawing/2014/main" id="{DC792024-CFC8-46A4-A00D-0A40F26F6534}"/>
              </a:ext>
            </a:extLst>
          </p:cNvPr>
          <p:cNvSpPr>
            <a:spLocks noGrp="1"/>
          </p:cNvSpPr>
          <p:nvPr>
            <p:ph type="sldNum" sz="quarter" idx="12"/>
          </p:nvPr>
        </p:nvSpPr>
        <p:spPr/>
        <p:txBody>
          <a:bodyPr/>
          <a:lstStyle/>
          <a:p>
            <a:fld id="{E0616732-6C76-4382-A985-43BBD7A3E208}" type="slidenum">
              <a:rPr lang="ru-RU" smtClean="0"/>
              <a:t>‹#›</a:t>
            </a:fld>
            <a:endParaRPr lang="ru-RU"/>
          </a:p>
        </p:txBody>
      </p:sp>
    </p:spTree>
    <p:extLst>
      <p:ext uri="{BB962C8B-B14F-4D97-AF65-F5344CB8AC3E}">
        <p14:creationId xmlns:p14="http://schemas.microsoft.com/office/powerpoint/2010/main" val="37066356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DD128774-6A6D-4815-9F1E-89341AEE9CAE}"/>
              </a:ext>
            </a:extLst>
          </p:cNvPr>
          <p:cNvSpPr>
            <a:spLocks noGrp="1"/>
          </p:cNvSpPr>
          <p:nvPr>
            <p:ph type="title"/>
          </p:nvPr>
        </p:nvSpPr>
        <p:spPr/>
        <p:txBody>
          <a:bodyPr/>
          <a:lstStyle/>
          <a:p>
            <a:r>
              <a:rPr lang="ru-RU"/>
              <a:t>Образец заголовка</a:t>
            </a:r>
          </a:p>
        </p:txBody>
      </p:sp>
      <p:sp>
        <p:nvSpPr>
          <p:cNvPr id="3" name="Дата 2">
            <a:extLst>
              <a:ext uri="{FF2B5EF4-FFF2-40B4-BE49-F238E27FC236}">
                <a16:creationId xmlns:a16="http://schemas.microsoft.com/office/drawing/2014/main" id="{199AC257-0610-41C1-ABA9-5FF2610C8E87}"/>
              </a:ext>
            </a:extLst>
          </p:cNvPr>
          <p:cNvSpPr>
            <a:spLocks noGrp="1"/>
          </p:cNvSpPr>
          <p:nvPr>
            <p:ph type="dt" sz="half" idx="10"/>
          </p:nvPr>
        </p:nvSpPr>
        <p:spPr/>
        <p:txBody>
          <a:bodyPr/>
          <a:lstStyle/>
          <a:p>
            <a:fld id="{FB529229-9D32-41E8-B5E9-750E38562FEE}" type="datetimeFigureOut">
              <a:rPr lang="ru-RU" smtClean="0"/>
              <a:t>21.10.2024</a:t>
            </a:fld>
            <a:endParaRPr lang="ru-RU"/>
          </a:p>
        </p:txBody>
      </p:sp>
      <p:sp>
        <p:nvSpPr>
          <p:cNvPr id="4" name="Нижний колонтитул 3">
            <a:extLst>
              <a:ext uri="{FF2B5EF4-FFF2-40B4-BE49-F238E27FC236}">
                <a16:creationId xmlns:a16="http://schemas.microsoft.com/office/drawing/2014/main" id="{7C2B33EA-31BF-47F6-AC81-BEDC442430AF}"/>
              </a:ext>
            </a:extLst>
          </p:cNvPr>
          <p:cNvSpPr>
            <a:spLocks noGrp="1"/>
          </p:cNvSpPr>
          <p:nvPr>
            <p:ph type="ftr" sz="quarter" idx="11"/>
          </p:nvPr>
        </p:nvSpPr>
        <p:spPr/>
        <p:txBody>
          <a:bodyPr/>
          <a:lstStyle/>
          <a:p>
            <a:endParaRPr lang="ru-RU"/>
          </a:p>
        </p:txBody>
      </p:sp>
      <p:sp>
        <p:nvSpPr>
          <p:cNvPr id="5" name="Номер слайда 4">
            <a:extLst>
              <a:ext uri="{FF2B5EF4-FFF2-40B4-BE49-F238E27FC236}">
                <a16:creationId xmlns:a16="http://schemas.microsoft.com/office/drawing/2014/main" id="{C77C0326-2D12-4A22-8C75-D66C4DD7BAF2}"/>
              </a:ext>
            </a:extLst>
          </p:cNvPr>
          <p:cNvSpPr>
            <a:spLocks noGrp="1"/>
          </p:cNvSpPr>
          <p:nvPr>
            <p:ph type="sldNum" sz="quarter" idx="12"/>
          </p:nvPr>
        </p:nvSpPr>
        <p:spPr/>
        <p:txBody>
          <a:bodyPr/>
          <a:lstStyle/>
          <a:p>
            <a:fld id="{E0616732-6C76-4382-A985-43BBD7A3E208}" type="slidenum">
              <a:rPr lang="ru-RU" smtClean="0"/>
              <a:t>‹#›</a:t>
            </a:fld>
            <a:endParaRPr lang="ru-RU"/>
          </a:p>
        </p:txBody>
      </p:sp>
    </p:spTree>
    <p:extLst>
      <p:ext uri="{BB962C8B-B14F-4D97-AF65-F5344CB8AC3E}">
        <p14:creationId xmlns:p14="http://schemas.microsoft.com/office/powerpoint/2010/main" val="3340865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id="{B189B1C4-14C1-448D-9261-C2CB36FACD4B}"/>
              </a:ext>
            </a:extLst>
          </p:cNvPr>
          <p:cNvSpPr>
            <a:spLocks noGrp="1"/>
          </p:cNvSpPr>
          <p:nvPr>
            <p:ph type="dt" sz="half" idx="10"/>
          </p:nvPr>
        </p:nvSpPr>
        <p:spPr/>
        <p:txBody>
          <a:bodyPr/>
          <a:lstStyle/>
          <a:p>
            <a:fld id="{FB529229-9D32-41E8-B5E9-750E38562FEE}" type="datetimeFigureOut">
              <a:rPr lang="ru-RU" smtClean="0"/>
              <a:t>21.10.2024</a:t>
            </a:fld>
            <a:endParaRPr lang="ru-RU"/>
          </a:p>
        </p:txBody>
      </p:sp>
      <p:sp>
        <p:nvSpPr>
          <p:cNvPr id="3" name="Нижний колонтитул 2">
            <a:extLst>
              <a:ext uri="{FF2B5EF4-FFF2-40B4-BE49-F238E27FC236}">
                <a16:creationId xmlns:a16="http://schemas.microsoft.com/office/drawing/2014/main" id="{025F7A45-3324-49B3-A8E7-6C0B7F728C71}"/>
              </a:ext>
            </a:extLst>
          </p:cNvPr>
          <p:cNvSpPr>
            <a:spLocks noGrp="1"/>
          </p:cNvSpPr>
          <p:nvPr>
            <p:ph type="ftr" sz="quarter" idx="11"/>
          </p:nvPr>
        </p:nvSpPr>
        <p:spPr/>
        <p:txBody>
          <a:bodyPr/>
          <a:lstStyle/>
          <a:p>
            <a:endParaRPr lang="ru-RU"/>
          </a:p>
        </p:txBody>
      </p:sp>
      <p:sp>
        <p:nvSpPr>
          <p:cNvPr id="4" name="Номер слайда 3">
            <a:extLst>
              <a:ext uri="{FF2B5EF4-FFF2-40B4-BE49-F238E27FC236}">
                <a16:creationId xmlns:a16="http://schemas.microsoft.com/office/drawing/2014/main" id="{7D63E4E3-D270-4E21-81D5-B060DA0176EE}"/>
              </a:ext>
            </a:extLst>
          </p:cNvPr>
          <p:cNvSpPr>
            <a:spLocks noGrp="1"/>
          </p:cNvSpPr>
          <p:nvPr>
            <p:ph type="sldNum" sz="quarter" idx="12"/>
          </p:nvPr>
        </p:nvSpPr>
        <p:spPr/>
        <p:txBody>
          <a:bodyPr/>
          <a:lstStyle/>
          <a:p>
            <a:fld id="{E0616732-6C76-4382-A985-43BBD7A3E208}" type="slidenum">
              <a:rPr lang="ru-RU" smtClean="0"/>
              <a:t>‹#›</a:t>
            </a:fld>
            <a:endParaRPr lang="ru-RU"/>
          </a:p>
        </p:txBody>
      </p:sp>
    </p:spTree>
    <p:extLst>
      <p:ext uri="{BB962C8B-B14F-4D97-AF65-F5344CB8AC3E}">
        <p14:creationId xmlns:p14="http://schemas.microsoft.com/office/powerpoint/2010/main" val="9485700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755C0C1D-AA6A-440C-8DD9-0884D280F921}"/>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Объект 2">
            <a:extLst>
              <a:ext uri="{FF2B5EF4-FFF2-40B4-BE49-F238E27FC236}">
                <a16:creationId xmlns:a16="http://schemas.microsoft.com/office/drawing/2014/main" id="{0C3617A7-4885-4E99-BD47-C2C8C66527F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16:creationId xmlns:a16="http://schemas.microsoft.com/office/drawing/2014/main" id="{92FDECDB-86B6-4323-B974-9A271558AF0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C167F893-C7B3-4A27-8378-B3FA464C5B19}"/>
              </a:ext>
            </a:extLst>
          </p:cNvPr>
          <p:cNvSpPr>
            <a:spLocks noGrp="1"/>
          </p:cNvSpPr>
          <p:nvPr>
            <p:ph type="dt" sz="half" idx="10"/>
          </p:nvPr>
        </p:nvSpPr>
        <p:spPr/>
        <p:txBody>
          <a:bodyPr/>
          <a:lstStyle/>
          <a:p>
            <a:fld id="{FB529229-9D32-41E8-B5E9-750E38562FEE}" type="datetimeFigureOut">
              <a:rPr lang="ru-RU" smtClean="0"/>
              <a:t>21.10.2024</a:t>
            </a:fld>
            <a:endParaRPr lang="ru-RU"/>
          </a:p>
        </p:txBody>
      </p:sp>
      <p:sp>
        <p:nvSpPr>
          <p:cNvPr id="6" name="Нижний колонтитул 5">
            <a:extLst>
              <a:ext uri="{FF2B5EF4-FFF2-40B4-BE49-F238E27FC236}">
                <a16:creationId xmlns:a16="http://schemas.microsoft.com/office/drawing/2014/main" id="{E92A3D1A-D0AA-404C-A36E-CE895C740D28}"/>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215286AF-4B06-4DD9-85AD-379AF0193B56}"/>
              </a:ext>
            </a:extLst>
          </p:cNvPr>
          <p:cNvSpPr>
            <a:spLocks noGrp="1"/>
          </p:cNvSpPr>
          <p:nvPr>
            <p:ph type="sldNum" sz="quarter" idx="12"/>
          </p:nvPr>
        </p:nvSpPr>
        <p:spPr/>
        <p:txBody>
          <a:bodyPr/>
          <a:lstStyle/>
          <a:p>
            <a:fld id="{E0616732-6C76-4382-A985-43BBD7A3E208}" type="slidenum">
              <a:rPr lang="ru-RU" smtClean="0"/>
              <a:t>‹#›</a:t>
            </a:fld>
            <a:endParaRPr lang="ru-RU"/>
          </a:p>
        </p:txBody>
      </p:sp>
    </p:spTree>
    <p:extLst>
      <p:ext uri="{BB962C8B-B14F-4D97-AF65-F5344CB8AC3E}">
        <p14:creationId xmlns:p14="http://schemas.microsoft.com/office/powerpoint/2010/main" val="24890595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DD723A90-C99F-47B5-8301-4BC5ED09F081}"/>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Рисунок 2">
            <a:extLst>
              <a:ext uri="{FF2B5EF4-FFF2-40B4-BE49-F238E27FC236}">
                <a16:creationId xmlns:a16="http://schemas.microsoft.com/office/drawing/2014/main" id="{481702A3-BA13-4266-BBA0-2B11275E101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a:extLst>
              <a:ext uri="{FF2B5EF4-FFF2-40B4-BE49-F238E27FC236}">
                <a16:creationId xmlns:a16="http://schemas.microsoft.com/office/drawing/2014/main" id="{4E89BA30-0331-44B7-A3C2-13A2090E99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BCEC5B70-CA68-4A8E-A4BA-BB8BA8AA784E}"/>
              </a:ext>
            </a:extLst>
          </p:cNvPr>
          <p:cNvSpPr>
            <a:spLocks noGrp="1"/>
          </p:cNvSpPr>
          <p:nvPr>
            <p:ph type="dt" sz="half" idx="10"/>
          </p:nvPr>
        </p:nvSpPr>
        <p:spPr/>
        <p:txBody>
          <a:bodyPr/>
          <a:lstStyle/>
          <a:p>
            <a:fld id="{FB529229-9D32-41E8-B5E9-750E38562FEE}" type="datetimeFigureOut">
              <a:rPr lang="ru-RU" smtClean="0"/>
              <a:t>21.10.2024</a:t>
            </a:fld>
            <a:endParaRPr lang="ru-RU"/>
          </a:p>
        </p:txBody>
      </p:sp>
      <p:sp>
        <p:nvSpPr>
          <p:cNvPr id="6" name="Нижний колонтитул 5">
            <a:extLst>
              <a:ext uri="{FF2B5EF4-FFF2-40B4-BE49-F238E27FC236}">
                <a16:creationId xmlns:a16="http://schemas.microsoft.com/office/drawing/2014/main" id="{A5129CA6-E303-4BEF-834B-2377D4FEEF80}"/>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F259C615-305B-493A-A6B3-918947618B9D}"/>
              </a:ext>
            </a:extLst>
          </p:cNvPr>
          <p:cNvSpPr>
            <a:spLocks noGrp="1"/>
          </p:cNvSpPr>
          <p:nvPr>
            <p:ph type="sldNum" sz="quarter" idx="12"/>
          </p:nvPr>
        </p:nvSpPr>
        <p:spPr/>
        <p:txBody>
          <a:bodyPr/>
          <a:lstStyle/>
          <a:p>
            <a:fld id="{E0616732-6C76-4382-A985-43BBD7A3E208}" type="slidenum">
              <a:rPr lang="ru-RU" smtClean="0"/>
              <a:t>‹#›</a:t>
            </a:fld>
            <a:endParaRPr lang="ru-RU"/>
          </a:p>
        </p:txBody>
      </p:sp>
    </p:spTree>
    <p:extLst>
      <p:ext uri="{BB962C8B-B14F-4D97-AF65-F5344CB8AC3E}">
        <p14:creationId xmlns:p14="http://schemas.microsoft.com/office/powerpoint/2010/main" val="25663878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A424228-C876-4C23-B74C-7ED0E4BDE47A}"/>
              </a:ext>
            </a:extLst>
          </p:cNvPr>
          <p:cNvGraphicFramePr>
            <a:graphicFrameLocks noChangeAspect="1"/>
          </p:cNvGraphicFramePr>
          <p:nvPr userDrawn="1">
            <p:custDataLst>
              <p:tags r:id="rId14"/>
            </p:custDataLst>
            <p:extLst>
              <p:ext uri="{D42A27DB-BD31-4B8C-83A1-F6EECF244321}">
                <p14:modId xmlns:p14="http://schemas.microsoft.com/office/powerpoint/2010/main" val="2736944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15" imgW="347" imgH="346" progId="TCLayout.ActiveDocument.1">
                  <p:embed/>
                </p:oleObj>
              </mc:Choice>
              <mc:Fallback>
                <p:oleObj name="think-cell Slide" r:id="rId15" imgW="347" imgH="346" progId="TCLayout.ActiveDocument.1">
                  <p:embed/>
                  <p:pic>
                    <p:nvPicPr>
                      <p:cNvPr id="8" name="Object 7" hidden="1">
                        <a:extLst>
                          <a:ext uri="{FF2B5EF4-FFF2-40B4-BE49-F238E27FC236}">
                            <a16:creationId xmlns:a16="http://schemas.microsoft.com/office/drawing/2014/main" id="{2A424228-C876-4C23-B74C-7ED0E4BDE47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Заголовок 1">
            <a:extLst>
              <a:ext uri="{FF2B5EF4-FFF2-40B4-BE49-F238E27FC236}">
                <a16:creationId xmlns:a16="http://schemas.microsoft.com/office/drawing/2014/main" id="{C59447D7-ED63-428B-814F-4C2DEA6E305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a:extLst>
              <a:ext uri="{FF2B5EF4-FFF2-40B4-BE49-F238E27FC236}">
                <a16:creationId xmlns:a16="http://schemas.microsoft.com/office/drawing/2014/main" id="{5DBBF5EC-76A0-4359-8B16-B7C347221F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758D99E5-A527-4757-9763-D9DA1FA1822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B529229-9D32-41E8-B5E9-750E38562FEE}" type="datetimeFigureOut">
              <a:rPr lang="ru-RU" smtClean="0"/>
              <a:t>21.10.2024</a:t>
            </a:fld>
            <a:endParaRPr lang="ru-RU"/>
          </a:p>
        </p:txBody>
      </p:sp>
      <p:sp>
        <p:nvSpPr>
          <p:cNvPr id="5" name="Нижний колонтитул 4">
            <a:extLst>
              <a:ext uri="{FF2B5EF4-FFF2-40B4-BE49-F238E27FC236}">
                <a16:creationId xmlns:a16="http://schemas.microsoft.com/office/drawing/2014/main" id="{D5AE6634-6755-4451-B223-C246DCCB18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a:extLst>
              <a:ext uri="{FF2B5EF4-FFF2-40B4-BE49-F238E27FC236}">
                <a16:creationId xmlns:a16="http://schemas.microsoft.com/office/drawing/2014/main" id="{B2D3A43D-2B47-4608-88B4-1C8E74C7E73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616732-6C76-4382-A985-43BBD7A3E208}" type="slidenum">
              <a:rPr lang="ru-RU" smtClean="0"/>
              <a:t>‹#›</a:t>
            </a:fld>
            <a:endParaRPr lang="ru-RU"/>
          </a:p>
        </p:txBody>
      </p:sp>
    </p:spTree>
    <p:extLst>
      <p:ext uri="{BB962C8B-B14F-4D97-AF65-F5344CB8AC3E}">
        <p14:creationId xmlns:p14="http://schemas.microsoft.com/office/powerpoint/2010/main" val="348971411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ealkirja kohatäide 1">
            <a:extLst>
              <a:ext uri="{FF2B5EF4-FFF2-40B4-BE49-F238E27FC236}">
                <a16:creationId xmlns:a16="http://schemas.microsoft.com/office/drawing/2014/main" id="{8A759502-4C6A-B6F7-49B9-E02B6BFCE91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t-EE"/>
              <a:t>Klõpsake juhteksemplari pealkirja laadi redigeerimiseks</a:t>
            </a:r>
          </a:p>
        </p:txBody>
      </p:sp>
      <p:sp>
        <p:nvSpPr>
          <p:cNvPr id="3" name="Teksti kohatäide 2">
            <a:extLst>
              <a:ext uri="{FF2B5EF4-FFF2-40B4-BE49-F238E27FC236}">
                <a16:creationId xmlns:a16="http://schemas.microsoft.com/office/drawing/2014/main" id="{1805BD1F-BE79-79F2-724C-7C0C693C8AA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t-EE"/>
              <a:t>Klõpsake juhteksemplari tekstilaadide redigeerimiseks</a:t>
            </a:r>
          </a:p>
          <a:p>
            <a:pPr lvl="1"/>
            <a:r>
              <a:rPr lang="et-EE"/>
              <a:t>Teine tase</a:t>
            </a:r>
          </a:p>
          <a:p>
            <a:pPr lvl="2"/>
            <a:r>
              <a:rPr lang="et-EE"/>
              <a:t>Kolmas tase</a:t>
            </a:r>
          </a:p>
          <a:p>
            <a:pPr lvl="3"/>
            <a:r>
              <a:rPr lang="et-EE"/>
              <a:t>Neljas tase</a:t>
            </a:r>
          </a:p>
          <a:p>
            <a:pPr lvl="4"/>
            <a:r>
              <a:rPr lang="et-EE"/>
              <a:t>Viies tase</a:t>
            </a:r>
          </a:p>
        </p:txBody>
      </p:sp>
      <p:sp>
        <p:nvSpPr>
          <p:cNvPr id="4" name="Kuupäeva kohatäide 3">
            <a:extLst>
              <a:ext uri="{FF2B5EF4-FFF2-40B4-BE49-F238E27FC236}">
                <a16:creationId xmlns:a16="http://schemas.microsoft.com/office/drawing/2014/main" id="{043946E6-5944-D483-DBED-6785531268F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2450041-76BD-43C1-A3B8-CC73E81AEC1B}" type="datetimeFigureOut">
              <a:rPr lang="et-EE" smtClean="0"/>
              <a:t>21.10.24</a:t>
            </a:fld>
            <a:endParaRPr lang="et-EE"/>
          </a:p>
        </p:txBody>
      </p:sp>
      <p:sp>
        <p:nvSpPr>
          <p:cNvPr id="5" name="Jaluse kohatäide 4">
            <a:extLst>
              <a:ext uri="{FF2B5EF4-FFF2-40B4-BE49-F238E27FC236}">
                <a16:creationId xmlns:a16="http://schemas.microsoft.com/office/drawing/2014/main" id="{AADEBEC4-8328-E6F2-A967-F90A5F3FCD5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t-EE"/>
          </a:p>
        </p:txBody>
      </p:sp>
      <p:sp>
        <p:nvSpPr>
          <p:cNvPr id="6" name="Slaidinumbri kohatäide 5">
            <a:extLst>
              <a:ext uri="{FF2B5EF4-FFF2-40B4-BE49-F238E27FC236}">
                <a16:creationId xmlns:a16="http://schemas.microsoft.com/office/drawing/2014/main" id="{E4C05F81-07F3-78BC-6134-B6A9C4C0A9D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AE61F13-3C0B-4EBA-8525-4288964F0FAB}" type="slidenum">
              <a:rPr lang="et-EE" smtClean="0"/>
              <a:t>‹#›</a:t>
            </a:fld>
            <a:endParaRPr lang="et-EE"/>
          </a:p>
        </p:txBody>
      </p:sp>
    </p:spTree>
    <p:extLst>
      <p:ext uri="{BB962C8B-B14F-4D97-AF65-F5344CB8AC3E}">
        <p14:creationId xmlns:p14="http://schemas.microsoft.com/office/powerpoint/2010/main" val="32228187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t-E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chart" Target="../charts/chart4.xml"/><Relationship Id="rId7" Type="http://schemas.openxmlformats.org/officeDocument/2006/relationships/image" Target="../media/image41.emf"/><Relationship Id="rId2" Type="http://schemas.openxmlformats.org/officeDocument/2006/relationships/image" Target="../media/image40.png"/><Relationship Id="rId1" Type="http://schemas.openxmlformats.org/officeDocument/2006/relationships/slideLayout" Target="../slideLayouts/slideLayout7.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chart" Target="../charts/chart5.xml"/><Relationship Id="rId9" Type="http://schemas.openxmlformats.org/officeDocument/2006/relationships/image" Target="../media/image43.png"/></Relationships>
</file>

<file path=ppt/slides/_rels/slide1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0.png"/><Relationship Id="rId1" Type="http://schemas.openxmlformats.org/officeDocument/2006/relationships/slideLayout" Target="../slideLayouts/slideLayout7.xml"/><Relationship Id="rId4" Type="http://schemas.openxmlformats.org/officeDocument/2006/relationships/image" Target="../media/image45.png"/></Relationships>
</file>

<file path=ppt/slides/_rels/slide1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0.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3.png"/><Relationship Id="rId3" Type="http://schemas.openxmlformats.org/officeDocument/2006/relationships/image" Target="../media/image47.png"/><Relationship Id="rId7" Type="http://schemas.openxmlformats.org/officeDocument/2006/relationships/image" Target="../media/image49.png"/><Relationship Id="rId12" Type="http://schemas.openxmlformats.org/officeDocument/2006/relationships/chart" Target="../charts/chart11.xml"/><Relationship Id="rId2" Type="http://schemas.openxmlformats.org/officeDocument/2006/relationships/image" Target="../media/image40.png"/><Relationship Id="rId1" Type="http://schemas.openxmlformats.org/officeDocument/2006/relationships/slideLayout" Target="../slideLayouts/slideLayout7.xml"/><Relationship Id="rId6" Type="http://schemas.openxmlformats.org/officeDocument/2006/relationships/chart" Target="../charts/chart9.xml"/><Relationship Id="rId11" Type="http://schemas.openxmlformats.org/officeDocument/2006/relationships/image" Target="../media/image52.png"/><Relationship Id="rId5" Type="http://schemas.openxmlformats.org/officeDocument/2006/relationships/chart" Target="../charts/chart8.xml"/><Relationship Id="rId10" Type="http://schemas.openxmlformats.org/officeDocument/2006/relationships/chart" Target="../charts/chart10.xml"/><Relationship Id="rId4" Type="http://schemas.openxmlformats.org/officeDocument/2006/relationships/image" Target="../media/image48.png"/><Relationship Id="rId9" Type="http://schemas.openxmlformats.org/officeDocument/2006/relationships/image" Target="../media/image51.png"/><Relationship Id="rId14" Type="http://schemas.openxmlformats.org/officeDocument/2006/relationships/image" Target="../media/image54.png"/></Relationships>
</file>

<file path=ppt/slides/_rels/slide14.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5.png"/><Relationship Id="rId3" Type="http://schemas.openxmlformats.org/officeDocument/2006/relationships/image" Target="../media/image55.png"/><Relationship Id="rId7" Type="http://schemas.openxmlformats.org/officeDocument/2006/relationships/image" Target="../media/image59.png"/><Relationship Id="rId12" Type="http://schemas.openxmlformats.org/officeDocument/2006/relationships/image" Target="../media/image64.png"/><Relationship Id="rId2" Type="http://schemas.openxmlformats.org/officeDocument/2006/relationships/image" Target="../media/image40.png"/><Relationship Id="rId1" Type="http://schemas.openxmlformats.org/officeDocument/2006/relationships/slideLayout" Target="../slideLayouts/slideLayout7.xml"/><Relationship Id="rId6" Type="http://schemas.openxmlformats.org/officeDocument/2006/relationships/image" Target="../media/image58.png"/><Relationship Id="rId11" Type="http://schemas.openxmlformats.org/officeDocument/2006/relationships/image" Target="../media/image63.png"/><Relationship Id="rId5" Type="http://schemas.openxmlformats.org/officeDocument/2006/relationships/image" Target="../media/image57.png"/><Relationship Id="rId10" Type="http://schemas.openxmlformats.org/officeDocument/2006/relationships/image" Target="../media/image62.png"/><Relationship Id="rId4" Type="http://schemas.openxmlformats.org/officeDocument/2006/relationships/image" Target="../media/image56.png"/><Relationship Id="rId9" Type="http://schemas.openxmlformats.org/officeDocument/2006/relationships/image" Target="../media/image61.png"/></Relationships>
</file>

<file path=ppt/slides/_rels/slide1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6.png"/><Relationship Id="rId7" Type="http://schemas.openxmlformats.org/officeDocument/2006/relationships/image" Target="../media/image70.png"/><Relationship Id="rId12" Type="http://schemas.openxmlformats.org/officeDocument/2006/relationships/image" Target="../media/image75.png"/><Relationship Id="rId2" Type="http://schemas.openxmlformats.org/officeDocument/2006/relationships/image" Target="../media/image40.png"/><Relationship Id="rId1" Type="http://schemas.openxmlformats.org/officeDocument/2006/relationships/slideLayout" Target="../slideLayouts/slideLayout7.xml"/><Relationship Id="rId6" Type="http://schemas.openxmlformats.org/officeDocument/2006/relationships/image" Target="../media/image69.png"/><Relationship Id="rId11" Type="http://schemas.openxmlformats.org/officeDocument/2006/relationships/image" Target="../media/image74.png"/><Relationship Id="rId5" Type="http://schemas.openxmlformats.org/officeDocument/2006/relationships/image" Target="../media/image68.png"/><Relationship Id="rId10" Type="http://schemas.openxmlformats.org/officeDocument/2006/relationships/image" Target="../media/image73.png"/><Relationship Id="rId4" Type="http://schemas.openxmlformats.org/officeDocument/2006/relationships/image" Target="../media/image67.png"/><Relationship Id="rId9" Type="http://schemas.openxmlformats.org/officeDocument/2006/relationships/image" Target="../media/image72.png"/></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15.png"/><Relationship Id="rId18" Type="http://schemas.openxmlformats.org/officeDocument/2006/relationships/image" Target="../media/image20.svg"/><Relationship Id="rId3" Type="http://schemas.openxmlformats.org/officeDocument/2006/relationships/image" Target="../media/image3.png"/><Relationship Id="rId21" Type="http://schemas.openxmlformats.org/officeDocument/2006/relationships/image" Target="../media/image23.png"/><Relationship Id="rId7" Type="http://schemas.openxmlformats.org/officeDocument/2006/relationships/image" Target="../media/image9.png"/><Relationship Id="rId12" Type="http://schemas.openxmlformats.org/officeDocument/2006/relationships/image" Target="../media/image14.svg"/><Relationship Id="rId17" Type="http://schemas.openxmlformats.org/officeDocument/2006/relationships/image" Target="../media/image19.png"/><Relationship Id="rId2" Type="http://schemas.openxmlformats.org/officeDocument/2006/relationships/notesSlide" Target="../notesSlides/notesSlide2.xml"/><Relationship Id="rId16" Type="http://schemas.openxmlformats.org/officeDocument/2006/relationships/image" Target="../media/image18.svg"/><Relationship Id="rId20" Type="http://schemas.openxmlformats.org/officeDocument/2006/relationships/image" Target="../media/image22.svg"/><Relationship Id="rId1" Type="http://schemas.openxmlformats.org/officeDocument/2006/relationships/slideLayout" Target="../slideLayouts/slideLayout1.xml"/><Relationship Id="rId6" Type="http://schemas.openxmlformats.org/officeDocument/2006/relationships/image" Target="../media/image8.svg"/><Relationship Id="rId11" Type="http://schemas.openxmlformats.org/officeDocument/2006/relationships/image" Target="../media/image13.png"/><Relationship Id="rId5" Type="http://schemas.openxmlformats.org/officeDocument/2006/relationships/image" Target="../media/image7.png"/><Relationship Id="rId15" Type="http://schemas.openxmlformats.org/officeDocument/2006/relationships/image" Target="../media/image17.png"/><Relationship Id="rId10" Type="http://schemas.openxmlformats.org/officeDocument/2006/relationships/image" Target="../media/image12.svg"/><Relationship Id="rId19" Type="http://schemas.openxmlformats.org/officeDocument/2006/relationships/image" Target="../media/image21.png"/><Relationship Id="rId4" Type="http://schemas.openxmlformats.org/officeDocument/2006/relationships/image" Target="../media/image6.png"/><Relationship Id="rId9" Type="http://schemas.openxmlformats.org/officeDocument/2006/relationships/image" Target="../media/image11.png"/><Relationship Id="rId14" Type="http://schemas.openxmlformats.org/officeDocument/2006/relationships/image" Target="../media/image16.svg"/><Relationship Id="rId22" Type="http://schemas.openxmlformats.org/officeDocument/2006/relationships/image" Target="../media/image24.svg"/></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26.png"/><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8" Type="http://schemas.openxmlformats.org/officeDocument/2006/relationships/image" Target="../media/image32.svg"/><Relationship Id="rId13" Type="http://schemas.openxmlformats.org/officeDocument/2006/relationships/image" Target="../media/image37.pn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36.sv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30.svg"/><Relationship Id="rId11" Type="http://schemas.openxmlformats.org/officeDocument/2006/relationships/image" Target="../media/image35.png"/><Relationship Id="rId5" Type="http://schemas.openxmlformats.org/officeDocument/2006/relationships/image" Target="../media/image29.png"/><Relationship Id="rId10" Type="http://schemas.openxmlformats.org/officeDocument/2006/relationships/image" Target="../media/image34.svg"/><Relationship Id="rId4" Type="http://schemas.openxmlformats.org/officeDocument/2006/relationships/image" Target="../media/image28.svg"/><Relationship Id="rId9" Type="http://schemas.openxmlformats.org/officeDocument/2006/relationships/image" Target="../media/image33.pn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2.png"/><Relationship Id="rId1" Type="http://schemas.openxmlformats.org/officeDocument/2006/relationships/slideLayout" Target="../slideLayouts/slideLayout18.xml"/><Relationship Id="rId6" Type="http://schemas.openxmlformats.org/officeDocument/2006/relationships/image" Target="../media/image3.png"/><Relationship Id="rId5" Type="http://schemas.openxmlformats.org/officeDocument/2006/relationships/image" Target="../media/image39.svg"/><Relationship Id="rId4" Type="http://schemas.openxmlformats.org/officeDocument/2006/relationships/image" Target="../media/image38.png"/></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2.png"/><Relationship Id="rId1" Type="http://schemas.openxmlformats.org/officeDocument/2006/relationships/slideLayout" Target="../slideLayouts/slideLayout18.xml"/><Relationship Id="rId4" Type="http://schemas.openxmlformats.org/officeDocument/2006/relationships/image" Target="../media/image3.png"/></Relationships>
</file>

<file path=ppt/slides/_rels/slide9.xml.rels><?xml version="1.0" encoding="UTF-8" standalone="yes"?>
<Relationships xmlns="http://schemas.openxmlformats.org/package/2006/relationships"><Relationship Id="rId3" Type="http://schemas.openxmlformats.org/officeDocument/2006/relationships/hyperlink" Target="https://ec.europa.eu/commission/presscorner/detail/en/ip_24_4567" TargetMode="External"/><Relationship Id="rId2" Type="http://schemas.openxmlformats.org/officeDocument/2006/relationships/hyperlink" Target="https://ec.europa.eu/commission/presscorner/detail/en/ip_23_3843" TargetMode="External"/><Relationship Id="rId1" Type="http://schemas.openxmlformats.org/officeDocument/2006/relationships/slideLayout" Target="../slideLayouts/slideLayout15.xml"/><Relationship Id="rId4" Type="http://schemas.openxmlformats.org/officeDocument/2006/relationships/chart" Target="../charts/char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Рисунок 8">
            <a:extLst>
              <a:ext uri="{FF2B5EF4-FFF2-40B4-BE49-F238E27FC236}">
                <a16:creationId xmlns:a16="http://schemas.microsoft.com/office/drawing/2014/main" id="{784829AE-AFDE-4210-A41B-8A29964639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38380" y="1414785"/>
            <a:ext cx="4059706" cy="5799580"/>
          </a:xfrm>
          <a:prstGeom prst="rect">
            <a:avLst/>
          </a:prstGeom>
        </p:spPr>
      </p:pic>
      <p:sp>
        <p:nvSpPr>
          <p:cNvPr id="10" name="TextBox 9">
            <a:extLst>
              <a:ext uri="{FF2B5EF4-FFF2-40B4-BE49-F238E27FC236}">
                <a16:creationId xmlns:a16="http://schemas.microsoft.com/office/drawing/2014/main" id="{26D21830-F231-4B47-A70F-95EF720973A5}"/>
              </a:ext>
            </a:extLst>
          </p:cNvPr>
          <p:cNvSpPr txBox="1"/>
          <p:nvPr/>
        </p:nvSpPr>
        <p:spPr>
          <a:xfrm>
            <a:off x="1751468" y="3158100"/>
            <a:ext cx="9102436" cy="1877437"/>
          </a:xfrm>
          <a:prstGeom prst="rect">
            <a:avLst/>
          </a:prstGeom>
          <a:noFill/>
        </p:spPr>
        <p:txBody>
          <a:bodyPr wrap="square" rtlCol="0">
            <a:spAutoFit/>
          </a:bodyPr>
          <a:lstStyle/>
          <a:p>
            <a:pPr algn="ctr"/>
            <a:r>
              <a:rPr lang="en-US" sz="4400" err="1">
                <a:latin typeface="Roboto Light" panose="02000000000000000000" pitchFamily="2" charset="0"/>
                <a:ea typeface="Roboto Light" panose="02000000000000000000" pitchFamily="2" charset="0"/>
              </a:rPr>
              <a:t>Meretuule</a:t>
            </a:r>
            <a:r>
              <a:rPr lang="en-US" sz="4400">
                <a:latin typeface="Roboto Light" panose="02000000000000000000" pitchFamily="2" charset="0"/>
                <a:ea typeface="Roboto Light" panose="02000000000000000000" pitchFamily="2" charset="0"/>
              </a:rPr>
              <a:t> seminar</a:t>
            </a:r>
            <a:endParaRPr lang="et-EE" sz="4400">
              <a:latin typeface="Roboto Light" panose="02000000000000000000" pitchFamily="2" charset="0"/>
              <a:ea typeface="Roboto Light" panose="02000000000000000000" pitchFamily="2" charset="0"/>
            </a:endParaRPr>
          </a:p>
          <a:p>
            <a:pPr algn="ctr"/>
            <a:br>
              <a:rPr lang="et-EE" sz="3600">
                <a:solidFill>
                  <a:srgbClr val="0070C0"/>
                </a:solidFill>
                <a:latin typeface="Roboto Light" panose="02000000000000000000" pitchFamily="2" charset="0"/>
                <a:ea typeface="Roboto Light" panose="02000000000000000000" pitchFamily="2" charset="0"/>
              </a:rPr>
            </a:br>
            <a:r>
              <a:rPr lang="en-US" sz="3600">
                <a:solidFill>
                  <a:srgbClr val="0070C0"/>
                </a:solidFill>
                <a:latin typeface="Roboto Light" panose="02000000000000000000" pitchFamily="2" charset="0"/>
                <a:ea typeface="Roboto Light" panose="02000000000000000000" pitchFamily="2" charset="0"/>
              </a:rPr>
              <a:t>15</a:t>
            </a:r>
            <a:r>
              <a:rPr lang="et-EE" sz="3600">
                <a:solidFill>
                  <a:srgbClr val="0070C0"/>
                </a:solidFill>
                <a:latin typeface="Roboto Light" panose="02000000000000000000" pitchFamily="2" charset="0"/>
                <a:ea typeface="Roboto Light" panose="02000000000000000000" pitchFamily="2" charset="0"/>
              </a:rPr>
              <a:t>.10.2024</a:t>
            </a:r>
            <a:endParaRPr lang="et-EE">
              <a:solidFill>
                <a:srgbClr val="0070C0"/>
              </a:solidFill>
              <a:latin typeface="Roboto Light" panose="02000000000000000000" pitchFamily="2" charset="0"/>
              <a:ea typeface="Roboto Light" panose="02000000000000000000" pitchFamily="2" charset="0"/>
            </a:endParaRPr>
          </a:p>
        </p:txBody>
      </p:sp>
      <p:pic>
        <p:nvPicPr>
          <p:cNvPr id="6" name="Picture 5">
            <a:extLst>
              <a:ext uri="{FF2B5EF4-FFF2-40B4-BE49-F238E27FC236}">
                <a16:creationId xmlns:a16="http://schemas.microsoft.com/office/drawing/2014/main" id="{CD35E816-11A8-8746-9B4B-37C521CCE820}"/>
              </a:ext>
            </a:extLst>
          </p:cNvPr>
          <p:cNvPicPr>
            <a:picLocks noChangeAspect="1"/>
          </p:cNvPicPr>
          <p:nvPr/>
        </p:nvPicPr>
        <p:blipFill>
          <a:blip r:embed="rId3"/>
          <a:stretch>
            <a:fillRect/>
          </a:stretch>
        </p:blipFill>
        <p:spPr>
          <a:xfrm>
            <a:off x="4766992" y="834634"/>
            <a:ext cx="3071388" cy="1160302"/>
          </a:xfrm>
          <a:prstGeom prst="rect">
            <a:avLst/>
          </a:prstGeom>
        </p:spPr>
      </p:pic>
    </p:spTree>
    <p:extLst>
      <p:ext uri="{BB962C8B-B14F-4D97-AF65-F5344CB8AC3E}">
        <p14:creationId xmlns:p14="http://schemas.microsoft.com/office/powerpoint/2010/main" val="6142584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lt 1">
            <a:extLst>
              <a:ext uri="{FF2B5EF4-FFF2-40B4-BE49-F238E27FC236}">
                <a16:creationId xmlns:a16="http://schemas.microsoft.com/office/drawing/2014/main" id="{1A12FB82-2D75-0CFE-6C8F-528A8CFC3A66}"/>
              </a:ext>
            </a:extLst>
          </p:cNvPr>
          <p:cNvPicPr>
            <a:picLocks noChangeAspect="1"/>
          </p:cNvPicPr>
          <p:nvPr/>
        </p:nvPicPr>
        <p:blipFill>
          <a:blip r:embed="rId2"/>
          <a:stretch>
            <a:fillRect/>
          </a:stretch>
        </p:blipFill>
        <p:spPr>
          <a:xfrm>
            <a:off x="9644721" y="165523"/>
            <a:ext cx="1972014" cy="744983"/>
          </a:xfrm>
          <a:prstGeom prst="rect">
            <a:avLst/>
          </a:prstGeom>
        </p:spPr>
      </p:pic>
      <p:sp>
        <p:nvSpPr>
          <p:cNvPr id="4" name="Title 2">
            <a:extLst>
              <a:ext uri="{FF2B5EF4-FFF2-40B4-BE49-F238E27FC236}">
                <a16:creationId xmlns:a16="http://schemas.microsoft.com/office/drawing/2014/main" id="{E85D9AD4-FE7E-73A2-DA14-375319943C76}"/>
              </a:ext>
            </a:extLst>
          </p:cNvPr>
          <p:cNvSpPr txBox="1">
            <a:spLocks/>
          </p:cNvSpPr>
          <p:nvPr/>
        </p:nvSpPr>
        <p:spPr>
          <a:xfrm>
            <a:off x="475965" y="376614"/>
            <a:ext cx="9025138" cy="533004"/>
          </a:xfrm>
          <a:prstGeom prst="rect">
            <a:avLst/>
          </a:prstGeom>
        </p:spPr>
        <p:txBody>
          <a:bodyPr>
            <a:normAutofit fontScale="8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atin typeface="Calibri"/>
                <a:cs typeface="Calibri"/>
              </a:rPr>
              <a:t>I ja IV </a:t>
            </a:r>
            <a:r>
              <a:rPr lang="en-US" err="1">
                <a:latin typeface="Calibri"/>
                <a:cs typeface="Calibri"/>
              </a:rPr>
              <a:t>kvartal</a:t>
            </a:r>
            <a:r>
              <a:rPr lang="en-US">
                <a:latin typeface="Calibri"/>
                <a:cs typeface="Calibri"/>
              </a:rPr>
              <a:t> on </a:t>
            </a:r>
            <a:r>
              <a:rPr lang="en-US" err="1">
                <a:latin typeface="Calibri"/>
                <a:cs typeface="Calibri"/>
              </a:rPr>
              <a:t>kõige</a:t>
            </a:r>
            <a:r>
              <a:rPr lang="en-US">
                <a:latin typeface="Calibri"/>
                <a:cs typeface="Calibri"/>
              </a:rPr>
              <a:t> </a:t>
            </a:r>
            <a:r>
              <a:rPr lang="en-US" err="1">
                <a:latin typeface="Calibri"/>
                <a:cs typeface="Calibri"/>
              </a:rPr>
              <a:t>olulisemad</a:t>
            </a:r>
            <a:endParaRPr lang="en-US"/>
          </a:p>
        </p:txBody>
      </p:sp>
      <p:sp>
        <p:nvSpPr>
          <p:cNvPr id="5" name="Text Placeholder 44">
            <a:extLst>
              <a:ext uri="{FF2B5EF4-FFF2-40B4-BE49-F238E27FC236}">
                <a16:creationId xmlns:a16="http://schemas.microsoft.com/office/drawing/2014/main" id="{6ADB499A-DC4D-9CF3-9386-15E0B97843E9}"/>
              </a:ext>
            </a:extLst>
          </p:cNvPr>
          <p:cNvSpPr txBox="1">
            <a:spLocks/>
          </p:cNvSpPr>
          <p:nvPr/>
        </p:nvSpPr>
        <p:spPr>
          <a:xfrm>
            <a:off x="475965" y="962249"/>
            <a:ext cx="5305261" cy="145288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latin typeface="+mj-lt"/>
              </a:rPr>
              <a:t>Ca ½ </a:t>
            </a:r>
            <a:r>
              <a:rPr lang="en-US" sz="1800" err="1">
                <a:latin typeface="+mj-lt"/>
              </a:rPr>
              <a:t>energiast</a:t>
            </a:r>
            <a:r>
              <a:rPr lang="en-US" sz="1800">
                <a:latin typeface="+mj-lt"/>
              </a:rPr>
              <a:t> </a:t>
            </a:r>
            <a:r>
              <a:rPr lang="en-US" sz="1800" err="1">
                <a:latin typeface="+mj-lt"/>
              </a:rPr>
              <a:t>tarbitakse</a:t>
            </a:r>
            <a:r>
              <a:rPr lang="en-US" sz="1800">
                <a:latin typeface="+mj-lt"/>
              </a:rPr>
              <a:t> </a:t>
            </a:r>
            <a:r>
              <a:rPr lang="en-US" sz="1800" err="1">
                <a:latin typeface="+mj-lt"/>
              </a:rPr>
              <a:t>soojusena</a:t>
            </a:r>
            <a:r>
              <a:rPr lang="en-US" sz="1800">
                <a:latin typeface="+mj-lt"/>
              </a:rPr>
              <a:t>, ¼</a:t>
            </a:r>
            <a:r>
              <a:rPr lang="et-EE" sz="1800">
                <a:latin typeface="+mj-lt"/>
              </a:rPr>
              <a:t> </a:t>
            </a:r>
            <a:r>
              <a:rPr lang="en-US" sz="1800" err="1">
                <a:latin typeface="+mj-lt"/>
              </a:rPr>
              <a:t>elektrina</a:t>
            </a:r>
            <a:r>
              <a:rPr lang="en-US" sz="1800">
                <a:latin typeface="+mj-lt"/>
              </a:rPr>
              <a:t> ja </a:t>
            </a:r>
            <a:br>
              <a:rPr lang="et-EE" sz="1800">
                <a:latin typeface="+mj-lt"/>
              </a:rPr>
            </a:br>
            <a:r>
              <a:rPr lang="en-US" sz="1800">
                <a:latin typeface="+mj-lt"/>
              </a:rPr>
              <a:t>¼ </a:t>
            </a:r>
            <a:r>
              <a:rPr lang="en-US" sz="1800" err="1">
                <a:latin typeface="+mj-lt"/>
              </a:rPr>
              <a:t>transpordis</a:t>
            </a:r>
            <a:r>
              <a:rPr lang="en-US" sz="1800">
                <a:latin typeface="+mj-lt"/>
              </a:rPr>
              <a:t> </a:t>
            </a:r>
            <a:endParaRPr lang="en-US" sz="1800">
              <a:latin typeface="+mj-lt"/>
              <a:ea typeface="Calibri"/>
              <a:cs typeface="Calibri"/>
            </a:endParaRPr>
          </a:p>
          <a:p>
            <a:r>
              <a:rPr lang="en-US" sz="1800" err="1">
                <a:latin typeface="+mj-lt"/>
              </a:rPr>
              <a:t>Talvine</a:t>
            </a:r>
            <a:r>
              <a:rPr lang="en-US" sz="1800">
                <a:latin typeface="+mj-lt"/>
              </a:rPr>
              <a:t> </a:t>
            </a:r>
            <a:r>
              <a:rPr lang="en-US" sz="1800" err="1">
                <a:latin typeface="+mj-lt"/>
              </a:rPr>
              <a:t>tipukoormus</a:t>
            </a:r>
            <a:r>
              <a:rPr lang="en-US" sz="1800">
                <a:latin typeface="+mj-lt"/>
              </a:rPr>
              <a:t> </a:t>
            </a:r>
            <a:r>
              <a:rPr lang="en-US" sz="1800" err="1">
                <a:latin typeface="+mj-lt"/>
              </a:rPr>
              <a:t>ületab</a:t>
            </a:r>
            <a:r>
              <a:rPr lang="en-US" sz="1800">
                <a:latin typeface="+mj-lt"/>
              </a:rPr>
              <a:t> </a:t>
            </a:r>
            <a:r>
              <a:rPr lang="en-US" sz="1800" err="1">
                <a:latin typeface="+mj-lt"/>
              </a:rPr>
              <a:t>suvist</a:t>
            </a:r>
            <a:r>
              <a:rPr lang="en-US" sz="1800">
                <a:latin typeface="+mj-lt"/>
              </a:rPr>
              <a:t> </a:t>
            </a:r>
            <a:r>
              <a:rPr lang="en-US" sz="1800" err="1">
                <a:latin typeface="+mj-lt"/>
              </a:rPr>
              <a:t>vajadust</a:t>
            </a:r>
            <a:r>
              <a:rPr lang="en-US" sz="1800">
                <a:latin typeface="+mj-lt"/>
              </a:rPr>
              <a:t> </a:t>
            </a:r>
            <a:r>
              <a:rPr lang="en-US" sz="1800" err="1">
                <a:latin typeface="+mj-lt"/>
              </a:rPr>
              <a:t>soojuses</a:t>
            </a:r>
            <a:r>
              <a:rPr lang="en-US" sz="1800">
                <a:latin typeface="+mj-lt"/>
              </a:rPr>
              <a:t> ca 10x, </a:t>
            </a:r>
            <a:r>
              <a:rPr lang="en-US" sz="1800" err="1">
                <a:latin typeface="+mj-lt"/>
              </a:rPr>
              <a:t>elektris</a:t>
            </a:r>
            <a:r>
              <a:rPr lang="en-US" sz="1800">
                <a:latin typeface="+mj-lt"/>
              </a:rPr>
              <a:t> ca 3x</a:t>
            </a:r>
            <a:endParaRPr lang="et-EE" sz="1800"/>
          </a:p>
        </p:txBody>
      </p:sp>
      <p:sp>
        <p:nvSpPr>
          <p:cNvPr id="6" name="TextBox 5">
            <a:extLst>
              <a:ext uri="{FF2B5EF4-FFF2-40B4-BE49-F238E27FC236}">
                <a16:creationId xmlns:a16="http://schemas.microsoft.com/office/drawing/2014/main" id="{94A1F0B9-943D-CF5B-913F-F4042F1A5FF5}"/>
              </a:ext>
            </a:extLst>
          </p:cNvPr>
          <p:cNvSpPr txBox="1"/>
          <p:nvPr/>
        </p:nvSpPr>
        <p:spPr>
          <a:xfrm>
            <a:off x="226483" y="6288272"/>
            <a:ext cx="5538535" cy="235609"/>
          </a:xfrm>
          <a:prstGeom prst="rect">
            <a:avLst/>
          </a:prstGeom>
          <a:noFill/>
        </p:spPr>
        <p:txBody>
          <a:bodyPr vert="horz" wrap="square" lIns="91440" tIns="45720" rIns="91440" bIns="45720" rtlCol="0" anchor="t">
            <a:noAutofit/>
          </a:bodyPr>
          <a:lstStyle/>
          <a:p>
            <a:pPr marL="6985" defTabSz="964693">
              <a:defRPr/>
            </a:pPr>
            <a:r>
              <a:rPr lang="en-US" sz="1000" i="1" err="1">
                <a:latin typeface="+mj-lt"/>
                <a:cs typeface="Calibri"/>
              </a:rPr>
              <a:t>Summaarne</a:t>
            </a:r>
            <a:r>
              <a:rPr lang="en-US" sz="1000" i="1">
                <a:latin typeface="+mj-lt"/>
                <a:cs typeface="Calibri"/>
              </a:rPr>
              <a:t> </a:t>
            </a:r>
            <a:r>
              <a:rPr lang="en-US" sz="1000" i="1" err="1">
                <a:latin typeface="+mj-lt"/>
                <a:cs typeface="Calibri"/>
              </a:rPr>
              <a:t>lõpptarbimine</a:t>
            </a:r>
            <a:r>
              <a:rPr lang="en-US" sz="1000" i="1">
                <a:latin typeface="+mj-lt"/>
                <a:cs typeface="Calibri"/>
              </a:rPr>
              <a:t>, </a:t>
            </a:r>
            <a:r>
              <a:rPr lang="en-US" sz="1000" i="1" err="1">
                <a:latin typeface="+mj-lt"/>
                <a:cs typeface="Calibri"/>
              </a:rPr>
              <a:t>graafikud</a:t>
            </a:r>
            <a:r>
              <a:rPr lang="en-US" sz="1000" i="1">
                <a:latin typeface="+mj-lt"/>
                <a:cs typeface="Calibri"/>
              </a:rPr>
              <a:t> 2019. </a:t>
            </a:r>
            <a:r>
              <a:rPr lang="en-US" sz="1000" i="1" err="1">
                <a:latin typeface="+mj-lt"/>
                <a:cs typeface="Calibri"/>
              </a:rPr>
              <a:t>aasta</a:t>
            </a:r>
            <a:r>
              <a:rPr lang="en-US" sz="1000" i="1">
                <a:latin typeface="+mj-lt"/>
                <a:cs typeface="Calibri"/>
              </a:rPr>
              <a:t> </a:t>
            </a:r>
            <a:r>
              <a:rPr lang="en-US" sz="1000" i="1" err="1">
                <a:latin typeface="+mj-lt"/>
                <a:cs typeface="Calibri"/>
              </a:rPr>
              <a:t>tarbimise</a:t>
            </a:r>
            <a:r>
              <a:rPr lang="en-US" sz="1000" i="1">
                <a:latin typeface="+mj-lt"/>
                <a:cs typeface="Calibri"/>
              </a:rPr>
              <a:t> </a:t>
            </a:r>
            <a:r>
              <a:rPr lang="en-US" sz="1000" i="1" err="1">
                <a:latin typeface="+mj-lt"/>
                <a:ea typeface="Calibri Light" panose="020F0302020204030204" pitchFamily="34" charset="0"/>
                <a:cs typeface="Calibri Light"/>
              </a:rPr>
              <a:t>alusel</a:t>
            </a:r>
            <a:endParaRPr lang="et-EE" sz="1000" i="1">
              <a:latin typeface="+mj-lt"/>
              <a:ea typeface="Calibri Light" panose="020F0302020204030204" pitchFamily="34" charset="0"/>
              <a:cs typeface="Calibri"/>
            </a:endParaRPr>
          </a:p>
          <a:p>
            <a:pPr marL="6985" defTabSz="964693">
              <a:defRPr/>
            </a:pPr>
            <a:r>
              <a:rPr lang="et-EE" sz="1000" i="1">
                <a:latin typeface="+mj-lt"/>
                <a:cs typeface="Calibri"/>
              </a:rPr>
              <a:t>A</a:t>
            </a:r>
            <a:r>
              <a:rPr lang="en-US" sz="1000" i="1" err="1">
                <a:latin typeface="+mj-lt"/>
                <a:cs typeface="Calibri"/>
              </a:rPr>
              <a:t>llikas</a:t>
            </a:r>
            <a:r>
              <a:rPr lang="et-EE" sz="1000" i="1">
                <a:latin typeface="+mj-lt"/>
                <a:cs typeface="Calibri"/>
              </a:rPr>
              <a:t>:</a:t>
            </a:r>
            <a:r>
              <a:rPr lang="en-US" sz="1000" i="1">
                <a:latin typeface="+mj-lt"/>
                <a:cs typeface="Calibri"/>
              </a:rPr>
              <a:t> </a:t>
            </a:r>
            <a:r>
              <a:rPr lang="en-US" sz="1000" i="1" err="1">
                <a:latin typeface="+mj-lt"/>
                <a:cs typeface="Calibri"/>
              </a:rPr>
              <a:t>Elering</a:t>
            </a:r>
            <a:r>
              <a:rPr lang="en-US" sz="1000" i="1">
                <a:latin typeface="+mj-lt"/>
                <a:cs typeface="Calibri"/>
              </a:rPr>
              <a:t>, Utilitas, EMTA</a:t>
            </a:r>
            <a:endParaRPr lang="en-US" sz="1000" i="1">
              <a:cs typeface="Calibri"/>
            </a:endParaRPr>
          </a:p>
        </p:txBody>
      </p:sp>
      <p:graphicFrame>
        <p:nvGraphicFramePr>
          <p:cNvPr id="7" name="Chart 6">
            <a:extLst>
              <a:ext uri="{FF2B5EF4-FFF2-40B4-BE49-F238E27FC236}">
                <a16:creationId xmlns:a16="http://schemas.microsoft.com/office/drawing/2014/main" id="{4858AE01-9FF8-2F7D-BBD6-0E9BE080475E}"/>
              </a:ext>
            </a:extLst>
          </p:cNvPr>
          <p:cNvGraphicFramePr>
            <a:graphicFrameLocks/>
          </p:cNvGraphicFramePr>
          <p:nvPr/>
        </p:nvGraphicFramePr>
        <p:xfrm>
          <a:off x="269665" y="2381454"/>
          <a:ext cx="2719080" cy="3874664"/>
        </p:xfrm>
        <a:graphic>
          <a:graphicData uri="http://schemas.openxmlformats.org/drawingml/2006/chart">
            <c:chart xmlns:c="http://schemas.openxmlformats.org/drawingml/2006/chart" xmlns:r="http://schemas.openxmlformats.org/officeDocument/2006/relationships" r:id="rId3"/>
          </a:graphicData>
        </a:graphic>
      </p:graphicFrame>
      <p:grpSp>
        <p:nvGrpSpPr>
          <p:cNvPr id="8" name="Group 7">
            <a:extLst>
              <a:ext uri="{FF2B5EF4-FFF2-40B4-BE49-F238E27FC236}">
                <a16:creationId xmlns:a16="http://schemas.microsoft.com/office/drawing/2014/main" id="{3417D731-27E3-F1D4-E5BD-52830582DEC4}"/>
              </a:ext>
            </a:extLst>
          </p:cNvPr>
          <p:cNvGrpSpPr>
            <a:grpSpLocks noChangeAspect="1"/>
          </p:cNvGrpSpPr>
          <p:nvPr/>
        </p:nvGrpSpPr>
        <p:grpSpPr>
          <a:xfrm>
            <a:off x="1557476" y="2714324"/>
            <a:ext cx="575795" cy="601268"/>
            <a:chOff x="7269163" y="60325"/>
            <a:chExt cx="1146175" cy="1184276"/>
          </a:xfrm>
          <a:solidFill>
            <a:srgbClr val="EB9415"/>
          </a:solidFill>
        </p:grpSpPr>
        <p:sp>
          <p:nvSpPr>
            <p:cNvPr id="9" name="Freeform 54">
              <a:extLst>
                <a:ext uri="{FF2B5EF4-FFF2-40B4-BE49-F238E27FC236}">
                  <a16:creationId xmlns:a16="http://schemas.microsoft.com/office/drawing/2014/main" id="{86CD006F-A04B-BE5C-00CD-59CDEC4FA636}"/>
                </a:ext>
              </a:extLst>
            </p:cNvPr>
            <p:cNvSpPr>
              <a:spLocks/>
            </p:cNvSpPr>
            <p:nvPr/>
          </p:nvSpPr>
          <p:spPr bwMode="auto">
            <a:xfrm>
              <a:off x="7527926" y="60325"/>
              <a:ext cx="139700" cy="331788"/>
            </a:xfrm>
            <a:custGeom>
              <a:avLst/>
              <a:gdLst>
                <a:gd name="T0" fmla="*/ 18 w 44"/>
                <a:gd name="T1" fmla="*/ 99 h 104"/>
                <a:gd name="T2" fmla="*/ 22 w 44"/>
                <a:gd name="T3" fmla="*/ 71 h 104"/>
                <a:gd name="T4" fmla="*/ 1 w 44"/>
                <a:gd name="T5" fmla="*/ 32 h 104"/>
                <a:gd name="T6" fmla="*/ 27 w 44"/>
                <a:gd name="T7" fmla="*/ 0 h 104"/>
                <a:gd name="T8" fmla="*/ 26 w 44"/>
                <a:gd name="T9" fmla="*/ 8 h 104"/>
                <a:gd name="T10" fmla="*/ 17 w 44"/>
                <a:gd name="T11" fmla="*/ 32 h 104"/>
                <a:gd name="T12" fmla="*/ 34 w 44"/>
                <a:gd name="T13" fmla="*/ 72 h 104"/>
                <a:gd name="T14" fmla="*/ 18 w 44"/>
                <a:gd name="T15" fmla="*/ 99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104">
                  <a:moveTo>
                    <a:pt x="18" y="99"/>
                  </a:moveTo>
                  <a:cubicBezTo>
                    <a:pt x="18" y="99"/>
                    <a:pt x="27" y="82"/>
                    <a:pt x="22" y="71"/>
                  </a:cubicBezTo>
                  <a:cubicBezTo>
                    <a:pt x="17" y="60"/>
                    <a:pt x="0" y="56"/>
                    <a:pt x="1" y="32"/>
                  </a:cubicBezTo>
                  <a:cubicBezTo>
                    <a:pt x="2" y="8"/>
                    <a:pt x="24" y="1"/>
                    <a:pt x="27" y="0"/>
                  </a:cubicBezTo>
                  <a:cubicBezTo>
                    <a:pt x="27" y="0"/>
                    <a:pt x="28" y="4"/>
                    <a:pt x="26" y="8"/>
                  </a:cubicBezTo>
                  <a:cubicBezTo>
                    <a:pt x="24" y="11"/>
                    <a:pt x="9" y="18"/>
                    <a:pt x="17" y="32"/>
                  </a:cubicBezTo>
                  <a:cubicBezTo>
                    <a:pt x="24" y="46"/>
                    <a:pt x="44" y="48"/>
                    <a:pt x="34" y="72"/>
                  </a:cubicBezTo>
                  <a:cubicBezTo>
                    <a:pt x="24" y="97"/>
                    <a:pt x="24" y="104"/>
                    <a:pt x="18"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t-EE"/>
            </a:p>
          </p:txBody>
        </p:sp>
        <p:sp>
          <p:nvSpPr>
            <p:cNvPr id="10" name="Freeform 55">
              <a:extLst>
                <a:ext uri="{FF2B5EF4-FFF2-40B4-BE49-F238E27FC236}">
                  <a16:creationId xmlns:a16="http://schemas.microsoft.com/office/drawing/2014/main" id="{6EFA240A-5234-61BF-DCB4-A7E3ADC55CC8}"/>
                </a:ext>
              </a:extLst>
            </p:cNvPr>
            <p:cNvSpPr>
              <a:spLocks/>
            </p:cNvSpPr>
            <p:nvPr/>
          </p:nvSpPr>
          <p:spPr bwMode="auto">
            <a:xfrm>
              <a:off x="7677151" y="60325"/>
              <a:ext cx="136525" cy="331788"/>
            </a:xfrm>
            <a:custGeom>
              <a:avLst/>
              <a:gdLst>
                <a:gd name="T0" fmla="*/ 18 w 43"/>
                <a:gd name="T1" fmla="*/ 99 h 104"/>
                <a:gd name="T2" fmla="*/ 21 w 43"/>
                <a:gd name="T3" fmla="*/ 71 h 104"/>
                <a:gd name="T4" fmla="*/ 1 w 43"/>
                <a:gd name="T5" fmla="*/ 32 h 104"/>
                <a:gd name="T6" fmla="*/ 26 w 43"/>
                <a:gd name="T7" fmla="*/ 0 h 104"/>
                <a:gd name="T8" fmla="*/ 26 w 43"/>
                <a:gd name="T9" fmla="*/ 8 h 104"/>
                <a:gd name="T10" fmla="*/ 16 w 43"/>
                <a:gd name="T11" fmla="*/ 32 h 104"/>
                <a:gd name="T12" fmla="*/ 33 w 43"/>
                <a:gd name="T13" fmla="*/ 72 h 104"/>
                <a:gd name="T14" fmla="*/ 18 w 43"/>
                <a:gd name="T15" fmla="*/ 99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104">
                  <a:moveTo>
                    <a:pt x="18" y="99"/>
                  </a:moveTo>
                  <a:cubicBezTo>
                    <a:pt x="18" y="99"/>
                    <a:pt x="26" y="82"/>
                    <a:pt x="21" y="71"/>
                  </a:cubicBezTo>
                  <a:cubicBezTo>
                    <a:pt x="16" y="60"/>
                    <a:pt x="0" y="56"/>
                    <a:pt x="1" y="32"/>
                  </a:cubicBezTo>
                  <a:cubicBezTo>
                    <a:pt x="1" y="8"/>
                    <a:pt x="24" y="1"/>
                    <a:pt x="26" y="0"/>
                  </a:cubicBezTo>
                  <a:cubicBezTo>
                    <a:pt x="26" y="0"/>
                    <a:pt x="28" y="4"/>
                    <a:pt x="26" y="8"/>
                  </a:cubicBezTo>
                  <a:cubicBezTo>
                    <a:pt x="24" y="11"/>
                    <a:pt x="9" y="18"/>
                    <a:pt x="16" y="32"/>
                  </a:cubicBezTo>
                  <a:cubicBezTo>
                    <a:pt x="23" y="46"/>
                    <a:pt x="43" y="48"/>
                    <a:pt x="33" y="72"/>
                  </a:cubicBezTo>
                  <a:cubicBezTo>
                    <a:pt x="24" y="97"/>
                    <a:pt x="24" y="104"/>
                    <a:pt x="18"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t-EE"/>
            </a:p>
          </p:txBody>
        </p:sp>
        <p:sp>
          <p:nvSpPr>
            <p:cNvPr id="11" name="Freeform 56">
              <a:extLst>
                <a:ext uri="{FF2B5EF4-FFF2-40B4-BE49-F238E27FC236}">
                  <a16:creationId xmlns:a16="http://schemas.microsoft.com/office/drawing/2014/main" id="{CFC68647-7F09-324A-088D-7589D350F9FA}"/>
                </a:ext>
              </a:extLst>
            </p:cNvPr>
            <p:cNvSpPr>
              <a:spLocks/>
            </p:cNvSpPr>
            <p:nvPr/>
          </p:nvSpPr>
          <p:spPr bwMode="auto">
            <a:xfrm>
              <a:off x="7823201" y="60325"/>
              <a:ext cx="139700" cy="331788"/>
            </a:xfrm>
            <a:custGeom>
              <a:avLst/>
              <a:gdLst>
                <a:gd name="T0" fmla="*/ 18 w 44"/>
                <a:gd name="T1" fmla="*/ 99 h 104"/>
                <a:gd name="T2" fmla="*/ 22 w 44"/>
                <a:gd name="T3" fmla="*/ 71 h 104"/>
                <a:gd name="T4" fmla="*/ 1 w 44"/>
                <a:gd name="T5" fmla="*/ 32 h 104"/>
                <a:gd name="T6" fmla="*/ 27 w 44"/>
                <a:gd name="T7" fmla="*/ 0 h 104"/>
                <a:gd name="T8" fmla="*/ 26 w 44"/>
                <a:gd name="T9" fmla="*/ 8 h 104"/>
                <a:gd name="T10" fmla="*/ 16 w 44"/>
                <a:gd name="T11" fmla="*/ 32 h 104"/>
                <a:gd name="T12" fmla="*/ 34 w 44"/>
                <a:gd name="T13" fmla="*/ 72 h 104"/>
                <a:gd name="T14" fmla="*/ 18 w 44"/>
                <a:gd name="T15" fmla="*/ 99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104">
                  <a:moveTo>
                    <a:pt x="18" y="99"/>
                  </a:moveTo>
                  <a:cubicBezTo>
                    <a:pt x="18" y="99"/>
                    <a:pt x="27" y="82"/>
                    <a:pt x="22" y="71"/>
                  </a:cubicBezTo>
                  <a:cubicBezTo>
                    <a:pt x="16" y="60"/>
                    <a:pt x="0" y="56"/>
                    <a:pt x="1" y="32"/>
                  </a:cubicBezTo>
                  <a:cubicBezTo>
                    <a:pt x="2" y="8"/>
                    <a:pt x="24" y="1"/>
                    <a:pt x="27" y="0"/>
                  </a:cubicBezTo>
                  <a:cubicBezTo>
                    <a:pt x="27" y="0"/>
                    <a:pt x="28" y="4"/>
                    <a:pt x="26" y="8"/>
                  </a:cubicBezTo>
                  <a:cubicBezTo>
                    <a:pt x="24" y="11"/>
                    <a:pt x="9" y="18"/>
                    <a:pt x="16" y="32"/>
                  </a:cubicBezTo>
                  <a:cubicBezTo>
                    <a:pt x="24" y="46"/>
                    <a:pt x="44" y="48"/>
                    <a:pt x="34" y="72"/>
                  </a:cubicBezTo>
                  <a:cubicBezTo>
                    <a:pt x="24" y="97"/>
                    <a:pt x="24" y="104"/>
                    <a:pt x="18"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t-EE"/>
            </a:p>
          </p:txBody>
        </p:sp>
        <p:sp>
          <p:nvSpPr>
            <p:cNvPr id="12" name="Freeform 57">
              <a:extLst>
                <a:ext uri="{FF2B5EF4-FFF2-40B4-BE49-F238E27FC236}">
                  <a16:creationId xmlns:a16="http://schemas.microsoft.com/office/drawing/2014/main" id="{243B1C9B-ADD2-7279-45D3-C21BF96081AF}"/>
                </a:ext>
              </a:extLst>
            </p:cNvPr>
            <p:cNvSpPr>
              <a:spLocks/>
            </p:cNvSpPr>
            <p:nvPr/>
          </p:nvSpPr>
          <p:spPr bwMode="auto">
            <a:xfrm>
              <a:off x="7972426" y="60325"/>
              <a:ext cx="138113" cy="331788"/>
            </a:xfrm>
            <a:custGeom>
              <a:avLst/>
              <a:gdLst>
                <a:gd name="T0" fmla="*/ 18 w 43"/>
                <a:gd name="T1" fmla="*/ 99 h 104"/>
                <a:gd name="T2" fmla="*/ 21 w 43"/>
                <a:gd name="T3" fmla="*/ 71 h 104"/>
                <a:gd name="T4" fmla="*/ 0 w 43"/>
                <a:gd name="T5" fmla="*/ 32 h 104"/>
                <a:gd name="T6" fmla="*/ 26 w 43"/>
                <a:gd name="T7" fmla="*/ 0 h 104"/>
                <a:gd name="T8" fmla="*/ 26 w 43"/>
                <a:gd name="T9" fmla="*/ 8 h 104"/>
                <a:gd name="T10" fmla="*/ 16 w 43"/>
                <a:gd name="T11" fmla="*/ 32 h 104"/>
                <a:gd name="T12" fmla="*/ 33 w 43"/>
                <a:gd name="T13" fmla="*/ 72 h 104"/>
                <a:gd name="T14" fmla="*/ 18 w 43"/>
                <a:gd name="T15" fmla="*/ 99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104">
                  <a:moveTo>
                    <a:pt x="18" y="99"/>
                  </a:moveTo>
                  <a:cubicBezTo>
                    <a:pt x="18" y="99"/>
                    <a:pt x="26" y="82"/>
                    <a:pt x="21" y="71"/>
                  </a:cubicBezTo>
                  <a:cubicBezTo>
                    <a:pt x="16" y="60"/>
                    <a:pt x="0" y="56"/>
                    <a:pt x="0" y="32"/>
                  </a:cubicBezTo>
                  <a:cubicBezTo>
                    <a:pt x="1" y="8"/>
                    <a:pt x="24" y="1"/>
                    <a:pt x="26" y="0"/>
                  </a:cubicBezTo>
                  <a:cubicBezTo>
                    <a:pt x="26" y="0"/>
                    <a:pt x="28" y="4"/>
                    <a:pt x="26" y="8"/>
                  </a:cubicBezTo>
                  <a:cubicBezTo>
                    <a:pt x="24" y="11"/>
                    <a:pt x="9" y="18"/>
                    <a:pt x="16" y="32"/>
                  </a:cubicBezTo>
                  <a:cubicBezTo>
                    <a:pt x="23" y="46"/>
                    <a:pt x="43" y="48"/>
                    <a:pt x="33" y="72"/>
                  </a:cubicBezTo>
                  <a:cubicBezTo>
                    <a:pt x="24" y="97"/>
                    <a:pt x="24" y="104"/>
                    <a:pt x="18"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t-EE"/>
            </a:p>
          </p:txBody>
        </p:sp>
        <p:sp>
          <p:nvSpPr>
            <p:cNvPr id="13" name="Freeform 58">
              <a:extLst>
                <a:ext uri="{FF2B5EF4-FFF2-40B4-BE49-F238E27FC236}">
                  <a16:creationId xmlns:a16="http://schemas.microsoft.com/office/drawing/2014/main" id="{BB249413-45E9-F2F1-66FB-73EEA80379C3}"/>
                </a:ext>
              </a:extLst>
            </p:cNvPr>
            <p:cNvSpPr>
              <a:spLocks noEditPoints="1"/>
            </p:cNvSpPr>
            <p:nvPr/>
          </p:nvSpPr>
          <p:spPr bwMode="auto">
            <a:xfrm>
              <a:off x="7269163" y="458788"/>
              <a:ext cx="1146175" cy="785813"/>
            </a:xfrm>
            <a:custGeom>
              <a:avLst/>
              <a:gdLst>
                <a:gd name="T0" fmla="*/ 331 w 360"/>
                <a:gd name="T1" fmla="*/ 51 h 246"/>
                <a:gd name="T2" fmla="*/ 315 w 360"/>
                <a:gd name="T3" fmla="*/ 51 h 246"/>
                <a:gd name="T4" fmla="*/ 301 w 360"/>
                <a:gd name="T5" fmla="*/ 0 h 246"/>
                <a:gd name="T6" fmla="*/ 287 w 360"/>
                <a:gd name="T7" fmla="*/ 51 h 246"/>
                <a:gd name="T8" fmla="*/ 262 w 360"/>
                <a:gd name="T9" fmla="*/ 18 h 246"/>
                <a:gd name="T10" fmla="*/ 234 w 360"/>
                <a:gd name="T11" fmla="*/ 18 h 246"/>
                <a:gd name="T12" fmla="*/ 209 w 360"/>
                <a:gd name="T13" fmla="*/ 51 h 246"/>
                <a:gd name="T14" fmla="*/ 195 w 360"/>
                <a:gd name="T15" fmla="*/ 0 h 246"/>
                <a:gd name="T16" fmla="*/ 181 w 360"/>
                <a:gd name="T17" fmla="*/ 51 h 246"/>
                <a:gd name="T18" fmla="*/ 156 w 360"/>
                <a:gd name="T19" fmla="*/ 18 h 246"/>
                <a:gd name="T20" fmla="*/ 128 w 360"/>
                <a:gd name="T21" fmla="*/ 18 h 246"/>
                <a:gd name="T22" fmla="*/ 103 w 360"/>
                <a:gd name="T23" fmla="*/ 51 h 246"/>
                <a:gd name="T24" fmla="*/ 89 w 360"/>
                <a:gd name="T25" fmla="*/ 0 h 246"/>
                <a:gd name="T26" fmla="*/ 75 w 360"/>
                <a:gd name="T27" fmla="*/ 51 h 246"/>
                <a:gd name="T28" fmla="*/ 50 w 360"/>
                <a:gd name="T29" fmla="*/ 18 h 246"/>
                <a:gd name="T30" fmla="*/ 22 w 360"/>
                <a:gd name="T31" fmla="*/ 18 h 246"/>
                <a:gd name="T32" fmla="*/ 12 w 360"/>
                <a:gd name="T33" fmla="*/ 51 h 246"/>
                <a:gd name="T34" fmla="*/ 12 w 360"/>
                <a:gd name="T35" fmla="*/ 75 h 246"/>
                <a:gd name="T36" fmla="*/ 22 w 360"/>
                <a:gd name="T37" fmla="*/ 189 h 246"/>
                <a:gd name="T38" fmla="*/ 0 w 360"/>
                <a:gd name="T39" fmla="*/ 197 h 246"/>
                <a:gd name="T40" fmla="*/ 22 w 360"/>
                <a:gd name="T41" fmla="*/ 205 h 246"/>
                <a:gd name="T42" fmla="*/ 36 w 360"/>
                <a:gd name="T43" fmla="*/ 246 h 246"/>
                <a:gd name="T44" fmla="*/ 50 w 360"/>
                <a:gd name="T45" fmla="*/ 205 h 246"/>
                <a:gd name="T46" fmla="*/ 75 w 360"/>
                <a:gd name="T47" fmla="*/ 227 h 246"/>
                <a:gd name="T48" fmla="*/ 103 w 360"/>
                <a:gd name="T49" fmla="*/ 227 h 246"/>
                <a:gd name="T50" fmla="*/ 128 w 360"/>
                <a:gd name="T51" fmla="*/ 205 h 246"/>
                <a:gd name="T52" fmla="*/ 142 w 360"/>
                <a:gd name="T53" fmla="*/ 246 h 246"/>
                <a:gd name="T54" fmla="*/ 156 w 360"/>
                <a:gd name="T55" fmla="*/ 205 h 246"/>
                <a:gd name="T56" fmla="*/ 181 w 360"/>
                <a:gd name="T57" fmla="*/ 227 h 246"/>
                <a:gd name="T58" fmla="*/ 209 w 360"/>
                <a:gd name="T59" fmla="*/ 227 h 246"/>
                <a:gd name="T60" fmla="*/ 234 w 360"/>
                <a:gd name="T61" fmla="*/ 205 h 246"/>
                <a:gd name="T62" fmla="*/ 248 w 360"/>
                <a:gd name="T63" fmla="*/ 246 h 246"/>
                <a:gd name="T64" fmla="*/ 262 w 360"/>
                <a:gd name="T65" fmla="*/ 205 h 246"/>
                <a:gd name="T66" fmla="*/ 288 w 360"/>
                <a:gd name="T67" fmla="*/ 227 h 246"/>
                <a:gd name="T68" fmla="*/ 315 w 360"/>
                <a:gd name="T69" fmla="*/ 227 h 246"/>
                <a:gd name="T70" fmla="*/ 328 w 360"/>
                <a:gd name="T71" fmla="*/ 205 h 246"/>
                <a:gd name="T72" fmla="*/ 328 w 360"/>
                <a:gd name="T73" fmla="*/ 189 h 246"/>
                <a:gd name="T74" fmla="*/ 315 w 360"/>
                <a:gd name="T75" fmla="*/ 75 h 246"/>
                <a:gd name="T76" fmla="*/ 331 w 360"/>
                <a:gd name="T77" fmla="*/ 75 h 246"/>
                <a:gd name="T78" fmla="*/ 360 w 360"/>
                <a:gd name="T79" fmla="*/ 68 h 246"/>
                <a:gd name="T80" fmla="*/ 345 w 360"/>
                <a:gd name="T81" fmla="*/ 42 h 246"/>
                <a:gd name="T82" fmla="*/ 50 w 360"/>
                <a:gd name="T83" fmla="*/ 75 h 246"/>
                <a:gd name="T84" fmla="*/ 75 w 360"/>
                <a:gd name="T85" fmla="*/ 189 h 246"/>
                <a:gd name="T86" fmla="*/ 103 w 360"/>
                <a:gd name="T87" fmla="*/ 189 h 246"/>
                <a:gd name="T88" fmla="*/ 128 w 360"/>
                <a:gd name="T89" fmla="*/ 75 h 246"/>
                <a:gd name="T90" fmla="*/ 103 w 360"/>
                <a:gd name="T91" fmla="*/ 189 h 246"/>
                <a:gd name="T92" fmla="*/ 156 w 360"/>
                <a:gd name="T93" fmla="*/ 75 h 246"/>
                <a:gd name="T94" fmla="*/ 181 w 360"/>
                <a:gd name="T95" fmla="*/ 189 h 246"/>
                <a:gd name="T96" fmla="*/ 209 w 360"/>
                <a:gd name="T97" fmla="*/ 189 h 246"/>
                <a:gd name="T98" fmla="*/ 234 w 360"/>
                <a:gd name="T99" fmla="*/ 75 h 246"/>
                <a:gd name="T100" fmla="*/ 209 w 360"/>
                <a:gd name="T101" fmla="*/ 189 h 246"/>
                <a:gd name="T102" fmla="*/ 262 w 360"/>
                <a:gd name="T103" fmla="*/ 189 h 246"/>
                <a:gd name="T104" fmla="*/ 287 w 360"/>
                <a:gd name="T105" fmla="*/ 7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0" h="246">
                  <a:moveTo>
                    <a:pt x="345" y="42"/>
                  </a:moveTo>
                  <a:cubicBezTo>
                    <a:pt x="338" y="42"/>
                    <a:pt x="333" y="46"/>
                    <a:pt x="331" y="51"/>
                  </a:cubicBezTo>
                  <a:cubicBezTo>
                    <a:pt x="330" y="51"/>
                    <a:pt x="329" y="51"/>
                    <a:pt x="328" y="51"/>
                  </a:cubicBezTo>
                  <a:cubicBezTo>
                    <a:pt x="315" y="51"/>
                    <a:pt x="315" y="51"/>
                    <a:pt x="315" y="51"/>
                  </a:cubicBezTo>
                  <a:cubicBezTo>
                    <a:pt x="315" y="18"/>
                    <a:pt x="315" y="18"/>
                    <a:pt x="315" y="18"/>
                  </a:cubicBezTo>
                  <a:cubicBezTo>
                    <a:pt x="315" y="8"/>
                    <a:pt x="309" y="0"/>
                    <a:pt x="301" y="0"/>
                  </a:cubicBezTo>
                  <a:cubicBezTo>
                    <a:pt x="294" y="0"/>
                    <a:pt x="287" y="8"/>
                    <a:pt x="287" y="18"/>
                  </a:cubicBezTo>
                  <a:cubicBezTo>
                    <a:pt x="287" y="51"/>
                    <a:pt x="287" y="51"/>
                    <a:pt x="287" y="51"/>
                  </a:cubicBezTo>
                  <a:cubicBezTo>
                    <a:pt x="262" y="51"/>
                    <a:pt x="262" y="51"/>
                    <a:pt x="262" y="51"/>
                  </a:cubicBezTo>
                  <a:cubicBezTo>
                    <a:pt x="262" y="18"/>
                    <a:pt x="262" y="18"/>
                    <a:pt x="262" y="18"/>
                  </a:cubicBezTo>
                  <a:cubicBezTo>
                    <a:pt x="262" y="8"/>
                    <a:pt x="256" y="0"/>
                    <a:pt x="248" y="0"/>
                  </a:cubicBezTo>
                  <a:cubicBezTo>
                    <a:pt x="241" y="0"/>
                    <a:pt x="234" y="8"/>
                    <a:pt x="234" y="18"/>
                  </a:cubicBezTo>
                  <a:cubicBezTo>
                    <a:pt x="234" y="51"/>
                    <a:pt x="234" y="51"/>
                    <a:pt x="234" y="51"/>
                  </a:cubicBezTo>
                  <a:cubicBezTo>
                    <a:pt x="209" y="51"/>
                    <a:pt x="209" y="51"/>
                    <a:pt x="209" y="51"/>
                  </a:cubicBezTo>
                  <a:cubicBezTo>
                    <a:pt x="209" y="18"/>
                    <a:pt x="209" y="18"/>
                    <a:pt x="209" y="18"/>
                  </a:cubicBezTo>
                  <a:cubicBezTo>
                    <a:pt x="209" y="8"/>
                    <a:pt x="203" y="0"/>
                    <a:pt x="195" y="0"/>
                  </a:cubicBezTo>
                  <a:cubicBezTo>
                    <a:pt x="188" y="0"/>
                    <a:pt x="181" y="8"/>
                    <a:pt x="181" y="18"/>
                  </a:cubicBezTo>
                  <a:cubicBezTo>
                    <a:pt x="181" y="51"/>
                    <a:pt x="181" y="51"/>
                    <a:pt x="181" y="51"/>
                  </a:cubicBezTo>
                  <a:cubicBezTo>
                    <a:pt x="156" y="51"/>
                    <a:pt x="156" y="51"/>
                    <a:pt x="156" y="51"/>
                  </a:cubicBezTo>
                  <a:cubicBezTo>
                    <a:pt x="156" y="18"/>
                    <a:pt x="156" y="18"/>
                    <a:pt x="156" y="18"/>
                  </a:cubicBezTo>
                  <a:cubicBezTo>
                    <a:pt x="156" y="8"/>
                    <a:pt x="150" y="0"/>
                    <a:pt x="142" y="0"/>
                  </a:cubicBezTo>
                  <a:cubicBezTo>
                    <a:pt x="134" y="0"/>
                    <a:pt x="128" y="8"/>
                    <a:pt x="128" y="18"/>
                  </a:cubicBezTo>
                  <a:cubicBezTo>
                    <a:pt x="128" y="51"/>
                    <a:pt x="128" y="51"/>
                    <a:pt x="128" y="51"/>
                  </a:cubicBezTo>
                  <a:cubicBezTo>
                    <a:pt x="103" y="51"/>
                    <a:pt x="103" y="51"/>
                    <a:pt x="103" y="51"/>
                  </a:cubicBezTo>
                  <a:cubicBezTo>
                    <a:pt x="103" y="18"/>
                    <a:pt x="103" y="18"/>
                    <a:pt x="103" y="18"/>
                  </a:cubicBezTo>
                  <a:cubicBezTo>
                    <a:pt x="103" y="8"/>
                    <a:pt x="97" y="0"/>
                    <a:pt x="89" y="0"/>
                  </a:cubicBezTo>
                  <a:cubicBezTo>
                    <a:pt x="81" y="0"/>
                    <a:pt x="75" y="8"/>
                    <a:pt x="75" y="18"/>
                  </a:cubicBezTo>
                  <a:cubicBezTo>
                    <a:pt x="75" y="51"/>
                    <a:pt x="75" y="51"/>
                    <a:pt x="75" y="51"/>
                  </a:cubicBezTo>
                  <a:cubicBezTo>
                    <a:pt x="50" y="51"/>
                    <a:pt x="50" y="51"/>
                    <a:pt x="50" y="51"/>
                  </a:cubicBezTo>
                  <a:cubicBezTo>
                    <a:pt x="50" y="18"/>
                    <a:pt x="50" y="18"/>
                    <a:pt x="50" y="18"/>
                  </a:cubicBezTo>
                  <a:cubicBezTo>
                    <a:pt x="50" y="8"/>
                    <a:pt x="44" y="0"/>
                    <a:pt x="36" y="0"/>
                  </a:cubicBezTo>
                  <a:cubicBezTo>
                    <a:pt x="28" y="0"/>
                    <a:pt x="22" y="8"/>
                    <a:pt x="22" y="18"/>
                  </a:cubicBezTo>
                  <a:cubicBezTo>
                    <a:pt x="22" y="51"/>
                    <a:pt x="22" y="51"/>
                    <a:pt x="22" y="51"/>
                  </a:cubicBezTo>
                  <a:cubicBezTo>
                    <a:pt x="12" y="51"/>
                    <a:pt x="12" y="51"/>
                    <a:pt x="12" y="51"/>
                  </a:cubicBezTo>
                  <a:cubicBezTo>
                    <a:pt x="5" y="51"/>
                    <a:pt x="0" y="56"/>
                    <a:pt x="0" y="63"/>
                  </a:cubicBezTo>
                  <a:cubicBezTo>
                    <a:pt x="0" y="69"/>
                    <a:pt x="5" y="75"/>
                    <a:pt x="12" y="75"/>
                  </a:cubicBezTo>
                  <a:cubicBezTo>
                    <a:pt x="22" y="75"/>
                    <a:pt x="22" y="75"/>
                    <a:pt x="22" y="75"/>
                  </a:cubicBezTo>
                  <a:cubicBezTo>
                    <a:pt x="22" y="189"/>
                    <a:pt x="22" y="189"/>
                    <a:pt x="22" y="189"/>
                  </a:cubicBezTo>
                  <a:cubicBezTo>
                    <a:pt x="12" y="189"/>
                    <a:pt x="12" y="189"/>
                    <a:pt x="12" y="189"/>
                  </a:cubicBezTo>
                  <a:cubicBezTo>
                    <a:pt x="5" y="189"/>
                    <a:pt x="0" y="192"/>
                    <a:pt x="0" y="197"/>
                  </a:cubicBezTo>
                  <a:cubicBezTo>
                    <a:pt x="0" y="201"/>
                    <a:pt x="5" y="205"/>
                    <a:pt x="12" y="205"/>
                  </a:cubicBezTo>
                  <a:cubicBezTo>
                    <a:pt x="22" y="205"/>
                    <a:pt x="22" y="205"/>
                    <a:pt x="22" y="205"/>
                  </a:cubicBezTo>
                  <a:cubicBezTo>
                    <a:pt x="22" y="227"/>
                    <a:pt x="22" y="227"/>
                    <a:pt x="22" y="227"/>
                  </a:cubicBezTo>
                  <a:cubicBezTo>
                    <a:pt x="22" y="237"/>
                    <a:pt x="28" y="246"/>
                    <a:pt x="36" y="246"/>
                  </a:cubicBezTo>
                  <a:cubicBezTo>
                    <a:pt x="44" y="246"/>
                    <a:pt x="50" y="237"/>
                    <a:pt x="50" y="227"/>
                  </a:cubicBezTo>
                  <a:cubicBezTo>
                    <a:pt x="50" y="205"/>
                    <a:pt x="50" y="205"/>
                    <a:pt x="50" y="205"/>
                  </a:cubicBezTo>
                  <a:cubicBezTo>
                    <a:pt x="75" y="205"/>
                    <a:pt x="75" y="205"/>
                    <a:pt x="75" y="205"/>
                  </a:cubicBezTo>
                  <a:cubicBezTo>
                    <a:pt x="75" y="227"/>
                    <a:pt x="75" y="227"/>
                    <a:pt x="75" y="227"/>
                  </a:cubicBezTo>
                  <a:cubicBezTo>
                    <a:pt x="75" y="237"/>
                    <a:pt x="81" y="246"/>
                    <a:pt x="89" y="246"/>
                  </a:cubicBezTo>
                  <a:cubicBezTo>
                    <a:pt x="97" y="246"/>
                    <a:pt x="103" y="237"/>
                    <a:pt x="103" y="227"/>
                  </a:cubicBezTo>
                  <a:cubicBezTo>
                    <a:pt x="103" y="205"/>
                    <a:pt x="103" y="205"/>
                    <a:pt x="103" y="205"/>
                  </a:cubicBezTo>
                  <a:cubicBezTo>
                    <a:pt x="128" y="205"/>
                    <a:pt x="128" y="205"/>
                    <a:pt x="128" y="205"/>
                  </a:cubicBezTo>
                  <a:cubicBezTo>
                    <a:pt x="128" y="227"/>
                    <a:pt x="128" y="227"/>
                    <a:pt x="128" y="227"/>
                  </a:cubicBezTo>
                  <a:cubicBezTo>
                    <a:pt x="128" y="237"/>
                    <a:pt x="135" y="246"/>
                    <a:pt x="142" y="246"/>
                  </a:cubicBezTo>
                  <a:cubicBezTo>
                    <a:pt x="150" y="246"/>
                    <a:pt x="156" y="237"/>
                    <a:pt x="156" y="227"/>
                  </a:cubicBezTo>
                  <a:cubicBezTo>
                    <a:pt x="156" y="205"/>
                    <a:pt x="156" y="205"/>
                    <a:pt x="156" y="205"/>
                  </a:cubicBezTo>
                  <a:cubicBezTo>
                    <a:pt x="181" y="205"/>
                    <a:pt x="181" y="205"/>
                    <a:pt x="181" y="205"/>
                  </a:cubicBezTo>
                  <a:cubicBezTo>
                    <a:pt x="181" y="227"/>
                    <a:pt x="181" y="227"/>
                    <a:pt x="181" y="227"/>
                  </a:cubicBezTo>
                  <a:cubicBezTo>
                    <a:pt x="181" y="237"/>
                    <a:pt x="188" y="246"/>
                    <a:pt x="195" y="246"/>
                  </a:cubicBezTo>
                  <a:cubicBezTo>
                    <a:pt x="203" y="246"/>
                    <a:pt x="209" y="237"/>
                    <a:pt x="209" y="227"/>
                  </a:cubicBezTo>
                  <a:cubicBezTo>
                    <a:pt x="209" y="205"/>
                    <a:pt x="209" y="205"/>
                    <a:pt x="209" y="205"/>
                  </a:cubicBezTo>
                  <a:cubicBezTo>
                    <a:pt x="234" y="205"/>
                    <a:pt x="234" y="205"/>
                    <a:pt x="234" y="205"/>
                  </a:cubicBezTo>
                  <a:cubicBezTo>
                    <a:pt x="234" y="227"/>
                    <a:pt x="234" y="227"/>
                    <a:pt x="234" y="227"/>
                  </a:cubicBezTo>
                  <a:cubicBezTo>
                    <a:pt x="234" y="237"/>
                    <a:pt x="241" y="246"/>
                    <a:pt x="248" y="246"/>
                  </a:cubicBezTo>
                  <a:cubicBezTo>
                    <a:pt x="256" y="246"/>
                    <a:pt x="262" y="237"/>
                    <a:pt x="262" y="227"/>
                  </a:cubicBezTo>
                  <a:cubicBezTo>
                    <a:pt x="262" y="205"/>
                    <a:pt x="262" y="205"/>
                    <a:pt x="262" y="205"/>
                  </a:cubicBezTo>
                  <a:cubicBezTo>
                    <a:pt x="288" y="205"/>
                    <a:pt x="288" y="205"/>
                    <a:pt x="288" y="205"/>
                  </a:cubicBezTo>
                  <a:cubicBezTo>
                    <a:pt x="288" y="227"/>
                    <a:pt x="288" y="227"/>
                    <a:pt x="288" y="227"/>
                  </a:cubicBezTo>
                  <a:cubicBezTo>
                    <a:pt x="288" y="237"/>
                    <a:pt x="294" y="246"/>
                    <a:pt x="301" y="246"/>
                  </a:cubicBezTo>
                  <a:cubicBezTo>
                    <a:pt x="309" y="246"/>
                    <a:pt x="315" y="237"/>
                    <a:pt x="315" y="227"/>
                  </a:cubicBezTo>
                  <a:cubicBezTo>
                    <a:pt x="315" y="205"/>
                    <a:pt x="315" y="205"/>
                    <a:pt x="315" y="205"/>
                  </a:cubicBezTo>
                  <a:cubicBezTo>
                    <a:pt x="328" y="205"/>
                    <a:pt x="328" y="205"/>
                    <a:pt x="328" y="205"/>
                  </a:cubicBezTo>
                  <a:cubicBezTo>
                    <a:pt x="335" y="205"/>
                    <a:pt x="340" y="201"/>
                    <a:pt x="340" y="197"/>
                  </a:cubicBezTo>
                  <a:cubicBezTo>
                    <a:pt x="340" y="192"/>
                    <a:pt x="335" y="189"/>
                    <a:pt x="328" y="189"/>
                  </a:cubicBezTo>
                  <a:cubicBezTo>
                    <a:pt x="315" y="189"/>
                    <a:pt x="315" y="189"/>
                    <a:pt x="315" y="189"/>
                  </a:cubicBezTo>
                  <a:cubicBezTo>
                    <a:pt x="315" y="75"/>
                    <a:pt x="315" y="75"/>
                    <a:pt x="315" y="75"/>
                  </a:cubicBezTo>
                  <a:cubicBezTo>
                    <a:pt x="328" y="75"/>
                    <a:pt x="328" y="75"/>
                    <a:pt x="328" y="75"/>
                  </a:cubicBezTo>
                  <a:cubicBezTo>
                    <a:pt x="329" y="75"/>
                    <a:pt x="330" y="75"/>
                    <a:pt x="331" y="75"/>
                  </a:cubicBezTo>
                  <a:cubicBezTo>
                    <a:pt x="333" y="80"/>
                    <a:pt x="338" y="84"/>
                    <a:pt x="345" y="84"/>
                  </a:cubicBezTo>
                  <a:cubicBezTo>
                    <a:pt x="353" y="84"/>
                    <a:pt x="360" y="77"/>
                    <a:pt x="360" y="68"/>
                  </a:cubicBezTo>
                  <a:cubicBezTo>
                    <a:pt x="360" y="57"/>
                    <a:pt x="360" y="57"/>
                    <a:pt x="360" y="57"/>
                  </a:cubicBezTo>
                  <a:cubicBezTo>
                    <a:pt x="360" y="49"/>
                    <a:pt x="353" y="42"/>
                    <a:pt x="345" y="42"/>
                  </a:cubicBezTo>
                  <a:close/>
                  <a:moveTo>
                    <a:pt x="50" y="189"/>
                  </a:moveTo>
                  <a:cubicBezTo>
                    <a:pt x="50" y="75"/>
                    <a:pt x="50" y="75"/>
                    <a:pt x="50" y="75"/>
                  </a:cubicBezTo>
                  <a:cubicBezTo>
                    <a:pt x="75" y="75"/>
                    <a:pt x="75" y="75"/>
                    <a:pt x="75" y="75"/>
                  </a:cubicBezTo>
                  <a:cubicBezTo>
                    <a:pt x="75" y="189"/>
                    <a:pt x="75" y="189"/>
                    <a:pt x="75" y="189"/>
                  </a:cubicBezTo>
                  <a:lnTo>
                    <a:pt x="50" y="189"/>
                  </a:lnTo>
                  <a:close/>
                  <a:moveTo>
                    <a:pt x="103" y="189"/>
                  </a:moveTo>
                  <a:cubicBezTo>
                    <a:pt x="103" y="75"/>
                    <a:pt x="103" y="75"/>
                    <a:pt x="103" y="75"/>
                  </a:cubicBezTo>
                  <a:cubicBezTo>
                    <a:pt x="128" y="75"/>
                    <a:pt x="128" y="75"/>
                    <a:pt x="128" y="75"/>
                  </a:cubicBezTo>
                  <a:cubicBezTo>
                    <a:pt x="128" y="189"/>
                    <a:pt x="128" y="189"/>
                    <a:pt x="128" y="189"/>
                  </a:cubicBezTo>
                  <a:lnTo>
                    <a:pt x="103" y="189"/>
                  </a:lnTo>
                  <a:close/>
                  <a:moveTo>
                    <a:pt x="156" y="189"/>
                  </a:moveTo>
                  <a:cubicBezTo>
                    <a:pt x="156" y="75"/>
                    <a:pt x="156" y="75"/>
                    <a:pt x="156" y="75"/>
                  </a:cubicBezTo>
                  <a:cubicBezTo>
                    <a:pt x="181" y="75"/>
                    <a:pt x="181" y="75"/>
                    <a:pt x="181" y="75"/>
                  </a:cubicBezTo>
                  <a:cubicBezTo>
                    <a:pt x="181" y="189"/>
                    <a:pt x="181" y="189"/>
                    <a:pt x="181" y="189"/>
                  </a:cubicBezTo>
                  <a:lnTo>
                    <a:pt x="156" y="189"/>
                  </a:lnTo>
                  <a:close/>
                  <a:moveTo>
                    <a:pt x="209" y="189"/>
                  </a:moveTo>
                  <a:cubicBezTo>
                    <a:pt x="209" y="75"/>
                    <a:pt x="209" y="75"/>
                    <a:pt x="209" y="75"/>
                  </a:cubicBezTo>
                  <a:cubicBezTo>
                    <a:pt x="234" y="75"/>
                    <a:pt x="234" y="75"/>
                    <a:pt x="234" y="75"/>
                  </a:cubicBezTo>
                  <a:cubicBezTo>
                    <a:pt x="234" y="189"/>
                    <a:pt x="234" y="189"/>
                    <a:pt x="234" y="189"/>
                  </a:cubicBezTo>
                  <a:lnTo>
                    <a:pt x="209" y="189"/>
                  </a:lnTo>
                  <a:close/>
                  <a:moveTo>
                    <a:pt x="287" y="189"/>
                  </a:moveTo>
                  <a:cubicBezTo>
                    <a:pt x="262" y="189"/>
                    <a:pt x="262" y="189"/>
                    <a:pt x="262" y="189"/>
                  </a:cubicBezTo>
                  <a:cubicBezTo>
                    <a:pt x="262" y="75"/>
                    <a:pt x="262" y="75"/>
                    <a:pt x="262" y="75"/>
                  </a:cubicBezTo>
                  <a:cubicBezTo>
                    <a:pt x="287" y="75"/>
                    <a:pt x="287" y="75"/>
                    <a:pt x="287" y="75"/>
                  </a:cubicBezTo>
                  <a:lnTo>
                    <a:pt x="287"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t-EE"/>
            </a:p>
          </p:txBody>
        </p:sp>
      </p:grpSp>
      <p:graphicFrame>
        <p:nvGraphicFramePr>
          <p:cNvPr id="14" name="Content Placeholder 4">
            <a:extLst>
              <a:ext uri="{FF2B5EF4-FFF2-40B4-BE49-F238E27FC236}">
                <a16:creationId xmlns:a16="http://schemas.microsoft.com/office/drawing/2014/main" id="{C95DEB35-4373-A489-32E7-1086C1BE61A5}"/>
              </a:ext>
            </a:extLst>
          </p:cNvPr>
          <p:cNvGraphicFramePr>
            <a:graphicFrameLocks/>
          </p:cNvGraphicFramePr>
          <p:nvPr/>
        </p:nvGraphicFramePr>
        <p:xfrm>
          <a:off x="781087" y="5876032"/>
          <a:ext cx="2005344" cy="396000"/>
        </p:xfrm>
        <a:graphic>
          <a:graphicData uri="http://schemas.openxmlformats.org/drawingml/2006/table">
            <a:tbl>
              <a:tblPr firstRow="1" bandRow="1">
                <a:tableStyleId>{5C22544A-7EE6-4342-B048-85BDC9FD1C3A}</a:tableStyleId>
              </a:tblPr>
              <a:tblGrid>
                <a:gridCol w="167112">
                  <a:extLst>
                    <a:ext uri="{9D8B030D-6E8A-4147-A177-3AD203B41FA5}">
                      <a16:colId xmlns:a16="http://schemas.microsoft.com/office/drawing/2014/main" val="2957976364"/>
                    </a:ext>
                  </a:extLst>
                </a:gridCol>
                <a:gridCol w="167112">
                  <a:extLst>
                    <a:ext uri="{9D8B030D-6E8A-4147-A177-3AD203B41FA5}">
                      <a16:colId xmlns:a16="http://schemas.microsoft.com/office/drawing/2014/main" val="239186789"/>
                    </a:ext>
                  </a:extLst>
                </a:gridCol>
                <a:gridCol w="167112">
                  <a:extLst>
                    <a:ext uri="{9D8B030D-6E8A-4147-A177-3AD203B41FA5}">
                      <a16:colId xmlns:a16="http://schemas.microsoft.com/office/drawing/2014/main" val="2297659680"/>
                    </a:ext>
                  </a:extLst>
                </a:gridCol>
                <a:gridCol w="167112">
                  <a:extLst>
                    <a:ext uri="{9D8B030D-6E8A-4147-A177-3AD203B41FA5}">
                      <a16:colId xmlns:a16="http://schemas.microsoft.com/office/drawing/2014/main" val="1836321624"/>
                    </a:ext>
                  </a:extLst>
                </a:gridCol>
                <a:gridCol w="167112">
                  <a:extLst>
                    <a:ext uri="{9D8B030D-6E8A-4147-A177-3AD203B41FA5}">
                      <a16:colId xmlns:a16="http://schemas.microsoft.com/office/drawing/2014/main" val="2361842150"/>
                    </a:ext>
                  </a:extLst>
                </a:gridCol>
                <a:gridCol w="167112">
                  <a:extLst>
                    <a:ext uri="{9D8B030D-6E8A-4147-A177-3AD203B41FA5}">
                      <a16:colId xmlns:a16="http://schemas.microsoft.com/office/drawing/2014/main" val="3331409945"/>
                    </a:ext>
                  </a:extLst>
                </a:gridCol>
                <a:gridCol w="167112">
                  <a:extLst>
                    <a:ext uri="{9D8B030D-6E8A-4147-A177-3AD203B41FA5}">
                      <a16:colId xmlns:a16="http://schemas.microsoft.com/office/drawing/2014/main" val="1907623769"/>
                    </a:ext>
                  </a:extLst>
                </a:gridCol>
                <a:gridCol w="167112">
                  <a:extLst>
                    <a:ext uri="{9D8B030D-6E8A-4147-A177-3AD203B41FA5}">
                      <a16:colId xmlns:a16="http://schemas.microsoft.com/office/drawing/2014/main" val="665091575"/>
                    </a:ext>
                  </a:extLst>
                </a:gridCol>
                <a:gridCol w="167112">
                  <a:extLst>
                    <a:ext uri="{9D8B030D-6E8A-4147-A177-3AD203B41FA5}">
                      <a16:colId xmlns:a16="http://schemas.microsoft.com/office/drawing/2014/main" val="1948326628"/>
                    </a:ext>
                  </a:extLst>
                </a:gridCol>
                <a:gridCol w="167112">
                  <a:extLst>
                    <a:ext uri="{9D8B030D-6E8A-4147-A177-3AD203B41FA5}">
                      <a16:colId xmlns:a16="http://schemas.microsoft.com/office/drawing/2014/main" val="2508508268"/>
                    </a:ext>
                  </a:extLst>
                </a:gridCol>
                <a:gridCol w="167112">
                  <a:extLst>
                    <a:ext uri="{9D8B030D-6E8A-4147-A177-3AD203B41FA5}">
                      <a16:colId xmlns:a16="http://schemas.microsoft.com/office/drawing/2014/main" val="3216317577"/>
                    </a:ext>
                  </a:extLst>
                </a:gridCol>
                <a:gridCol w="167112">
                  <a:extLst>
                    <a:ext uri="{9D8B030D-6E8A-4147-A177-3AD203B41FA5}">
                      <a16:colId xmlns:a16="http://schemas.microsoft.com/office/drawing/2014/main" val="1532207620"/>
                    </a:ext>
                  </a:extLst>
                </a:gridCol>
              </a:tblGrid>
              <a:tr h="396000">
                <a:tc>
                  <a:txBody>
                    <a:bodyPr/>
                    <a:lstStyle/>
                    <a:p>
                      <a:pPr algn="r"/>
                      <a:r>
                        <a:rPr lang="et-EE" sz="900">
                          <a:solidFill>
                            <a:schemeClr val="tx1"/>
                          </a:solidFill>
                          <a:latin typeface="+mj-lt"/>
                        </a:rPr>
                        <a:t>Jaan</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Veeb</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Märts</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Apr</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Mai</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Juuni</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Juuli</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Aug</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Sept</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Okt</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Nov</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dirty="0">
                          <a:solidFill>
                            <a:schemeClr val="tx1"/>
                          </a:solidFill>
                          <a:latin typeface="+mj-lt"/>
                        </a:rPr>
                        <a:t>Dets</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4286093746"/>
                  </a:ext>
                </a:extLst>
              </a:tr>
            </a:tbl>
          </a:graphicData>
        </a:graphic>
      </p:graphicFrame>
      <p:grpSp>
        <p:nvGrpSpPr>
          <p:cNvPr id="15" name="Group 14">
            <a:extLst>
              <a:ext uri="{FF2B5EF4-FFF2-40B4-BE49-F238E27FC236}">
                <a16:creationId xmlns:a16="http://schemas.microsoft.com/office/drawing/2014/main" id="{7B9C6913-6BFE-6197-1220-FD76690E2CD4}"/>
              </a:ext>
            </a:extLst>
          </p:cNvPr>
          <p:cNvGrpSpPr/>
          <p:nvPr/>
        </p:nvGrpSpPr>
        <p:grpSpPr>
          <a:xfrm>
            <a:off x="2647705" y="2336986"/>
            <a:ext cx="3326274" cy="1871736"/>
            <a:chOff x="2590555" y="2438586"/>
            <a:chExt cx="3326274" cy="1871736"/>
          </a:xfrm>
        </p:grpSpPr>
        <p:graphicFrame>
          <p:nvGraphicFramePr>
            <p:cNvPr id="16" name="Chart 15">
              <a:extLst>
                <a:ext uri="{FF2B5EF4-FFF2-40B4-BE49-F238E27FC236}">
                  <a16:creationId xmlns:a16="http://schemas.microsoft.com/office/drawing/2014/main" id="{D323CE7F-9FD9-105E-C147-AD327B1B2780}"/>
                </a:ext>
              </a:extLst>
            </p:cNvPr>
            <p:cNvGraphicFramePr>
              <a:graphicFrameLocks/>
            </p:cNvGraphicFramePr>
            <p:nvPr/>
          </p:nvGraphicFramePr>
          <p:xfrm>
            <a:off x="2590555" y="2438586"/>
            <a:ext cx="3326274" cy="1760700"/>
          </p:xfrm>
          <a:graphic>
            <a:graphicData uri="http://schemas.openxmlformats.org/drawingml/2006/chart">
              <c:chart xmlns:c="http://schemas.openxmlformats.org/drawingml/2006/chart" xmlns:r="http://schemas.openxmlformats.org/officeDocument/2006/relationships" r:id="rId4"/>
            </a:graphicData>
          </a:graphic>
        </p:graphicFrame>
        <p:sp>
          <p:nvSpPr>
            <p:cNvPr id="17" name="Freeform 66">
              <a:extLst>
                <a:ext uri="{FF2B5EF4-FFF2-40B4-BE49-F238E27FC236}">
                  <a16:creationId xmlns:a16="http://schemas.microsoft.com/office/drawing/2014/main" id="{1BA90AFA-AF7E-3C40-1FEF-E02F2CCA428E}"/>
                </a:ext>
              </a:extLst>
            </p:cNvPr>
            <p:cNvSpPr>
              <a:spLocks noChangeAspect="1" noEditPoints="1"/>
            </p:cNvSpPr>
            <p:nvPr/>
          </p:nvSpPr>
          <p:spPr bwMode="auto">
            <a:xfrm>
              <a:off x="4268720" y="3288361"/>
              <a:ext cx="689962" cy="228269"/>
            </a:xfrm>
            <a:custGeom>
              <a:avLst/>
              <a:gdLst>
                <a:gd name="T0" fmla="*/ 391 w 392"/>
                <a:gd name="T1" fmla="*/ 76 h 128"/>
                <a:gd name="T2" fmla="*/ 381 w 392"/>
                <a:gd name="T3" fmla="*/ 71 h 128"/>
                <a:gd name="T4" fmla="*/ 271 w 392"/>
                <a:gd name="T5" fmla="*/ 31 h 128"/>
                <a:gd name="T6" fmla="*/ 268 w 392"/>
                <a:gd name="T7" fmla="*/ 33 h 128"/>
                <a:gd name="T8" fmla="*/ 167 w 392"/>
                <a:gd name="T9" fmla="*/ 0 h 128"/>
                <a:gd name="T10" fmla="*/ 127 w 392"/>
                <a:gd name="T11" fmla="*/ 1 h 128"/>
                <a:gd name="T12" fmla="*/ 30 w 392"/>
                <a:gd name="T13" fmla="*/ 31 h 128"/>
                <a:gd name="T14" fmla="*/ 13 w 392"/>
                <a:gd name="T15" fmla="*/ 27 h 128"/>
                <a:gd name="T16" fmla="*/ 12 w 392"/>
                <a:gd name="T17" fmla="*/ 28 h 128"/>
                <a:gd name="T18" fmla="*/ 13 w 392"/>
                <a:gd name="T19" fmla="*/ 41 h 128"/>
                <a:gd name="T20" fmla="*/ 14 w 392"/>
                <a:gd name="T21" fmla="*/ 67 h 128"/>
                <a:gd name="T22" fmla="*/ 0 w 392"/>
                <a:gd name="T23" fmla="*/ 92 h 128"/>
                <a:gd name="T24" fmla="*/ 13 w 392"/>
                <a:gd name="T25" fmla="*/ 100 h 128"/>
                <a:gd name="T26" fmla="*/ 28 w 392"/>
                <a:gd name="T27" fmla="*/ 106 h 128"/>
                <a:gd name="T28" fmla="*/ 57 w 392"/>
                <a:gd name="T29" fmla="*/ 104 h 128"/>
                <a:gd name="T30" fmla="*/ 89 w 392"/>
                <a:gd name="T31" fmla="*/ 65 h 128"/>
                <a:gd name="T32" fmla="*/ 120 w 392"/>
                <a:gd name="T33" fmla="*/ 88 h 128"/>
                <a:gd name="T34" fmla="*/ 120 w 392"/>
                <a:gd name="T35" fmla="*/ 89 h 128"/>
                <a:gd name="T36" fmla="*/ 121 w 392"/>
                <a:gd name="T37" fmla="*/ 95 h 128"/>
                <a:gd name="T38" fmla="*/ 121 w 392"/>
                <a:gd name="T39" fmla="*/ 95 h 128"/>
                <a:gd name="T40" fmla="*/ 121 w 392"/>
                <a:gd name="T41" fmla="*/ 98 h 128"/>
                <a:gd name="T42" fmla="*/ 121 w 392"/>
                <a:gd name="T43" fmla="*/ 100 h 128"/>
                <a:gd name="T44" fmla="*/ 121 w 392"/>
                <a:gd name="T45" fmla="*/ 111 h 128"/>
                <a:gd name="T46" fmla="*/ 276 w 392"/>
                <a:gd name="T47" fmla="*/ 109 h 128"/>
                <a:gd name="T48" fmla="*/ 276 w 392"/>
                <a:gd name="T49" fmla="*/ 90 h 128"/>
                <a:gd name="T50" fmla="*/ 277 w 392"/>
                <a:gd name="T51" fmla="*/ 89 h 128"/>
                <a:gd name="T52" fmla="*/ 280 w 392"/>
                <a:gd name="T53" fmla="*/ 80 h 128"/>
                <a:gd name="T54" fmla="*/ 319 w 392"/>
                <a:gd name="T55" fmla="*/ 66 h 128"/>
                <a:gd name="T56" fmla="*/ 341 w 392"/>
                <a:gd name="T57" fmla="*/ 101 h 128"/>
                <a:gd name="T58" fmla="*/ 340 w 392"/>
                <a:gd name="T59" fmla="*/ 110 h 128"/>
                <a:gd name="T60" fmla="*/ 370 w 392"/>
                <a:gd name="T61" fmla="*/ 105 h 128"/>
                <a:gd name="T62" fmla="*/ 388 w 392"/>
                <a:gd name="T63" fmla="*/ 95 h 128"/>
                <a:gd name="T64" fmla="*/ 388 w 392"/>
                <a:gd name="T65" fmla="*/ 87 h 128"/>
                <a:gd name="T66" fmla="*/ 142 w 392"/>
                <a:gd name="T67" fmla="*/ 12 h 128"/>
                <a:gd name="T68" fmla="*/ 92 w 392"/>
                <a:gd name="T69" fmla="*/ 34 h 128"/>
                <a:gd name="T70" fmla="*/ 170 w 392"/>
                <a:gd name="T71" fmla="*/ 40 h 128"/>
                <a:gd name="T72" fmla="*/ 163 w 392"/>
                <a:gd name="T73" fmla="*/ 40 h 128"/>
                <a:gd name="T74" fmla="*/ 158 w 392"/>
                <a:gd name="T75" fmla="*/ 17 h 128"/>
                <a:gd name="T76" fmla="*/ 198 w 392"/>
                <a:gd name="T77" fmla="*/ 13 h 128"/>
                <a:gd name="T78" fmla="*/ 198 w 392"/>
                <a:gd name="T79" fmla="*/ 13 h 128"/>
                <a:gd name="T80" fmla="*/ 207 w 392"/>
                <a:gd name="T81" fmla="*/ 15 h 128"/>
                <a:gd name="T82" fmla="*/ 213 w 392"/>
                <a:gd name="T83" fmla="*/ 17 h 128"/>
                <a:gd name="T84" fmla="*/ 220 w 392"/>
                <a:gd name="T85" fmla="*/ 19 h 128"/>
                <a:gd name="T86" fmla="*/ 221 w 392"/>
                <a:gd name="T87" fmla="*/ 20 h 128"/>
                <a:gd name="T88" fmla="*/ 223 w 392"/>
                <a:gd name="T89" fmla="*/ 21 h 128"/>
                <a:gd name="T90" fmla="*/ 232 w 392"/>
                <a:gd name="T91" fmla="*/ 27 h 128"/>
                <a:gd name="T92" fmla="*/ 239 w 392"/>
                <a:gd name="T93" fmla="*/ 32 h 128"/>
                <a:gd name="T94" fmla="*/ 309 w 392"/>
                <a:gd name="T95" fmla="*/ 68 h 128"/>
                <a:gd name="T96" fmla="*/ 309 w 392"/>
                <a:gd name="T97" fmla="*/ 128 h 128"/>
                <a:gd name="T98" fmla="*/ 309 w 392"/>
                <a:gd name="T99" fmla="*/ 68 h 128"/>
                <a:gd name="T100" fmla="*/ 288 w 392"/>
                <a:gd name="T101" fmla="*/ 98 h 128"/>
                <a:gd name="T102" fmla="*/ 329 w 392"/>
                <a:gd name="T103" fmla="*/ 98 h 128"/>
                <a:gd name="T104" fmla="*/ 89 w 392"/>
                <a:gd name="T105" fmla="*/ 68 h 128"/>
                <a:gd name="T106" fmla="*/ 89 w 392"/>
                <a:gd name="T107" fmla="*/ 128 h 128"/>
                <a:gd name="T108" fmla="*/ 89 w 392"/>
                <a:gd name="T109" fmla="*/ 68 h 128"/>
                <a:gd name="T110" fmla="*/ 69 w 392"/>
                <a:gd name="T111" fmla="*/ 98 h 128"/>
                <a:gd name="T112" fmla="*/ 110 w 392"/>
                <a:gd name="T113" fmla="*/ 9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2" h="128">
                  <a:moveTo>
                    <a:pt x="388" y="87"/>
                  </a:moveTo>
                  <a:cubicBezTo>
                    <a:pt x="390" y="86"/>
                    <a:pt x="392" y="80"/>
                    <a:pt x="391" y="76"/>
                  </a:cubicBezTo>
                  <a:cubicBezTo>
                    <a:pt x="391" y="75"/>
                    <a:pt x="389" y="72"/>
                    <a:pt x="385" y="72"/>
                  </a:cubicBezTo>
                  <a:cubicBezTo>
                    <a:pt x="383" y="72"/>
                    <a:pt x="382" y="71"/>
                    <a:pt x="381" y="71"/>
                  </a:cubicBezTo>
                  <a:cubicBezTo>
                    <a:pt x="379" y="65"/>
                    <a:pt x="368" y="43"/>
                    <a:pt x="282" y="37"/>
                  </a:cubicBezTo>
                  <a:cubicBezTo>
                    <a:pt x="279" y="35"/>
                    <a:pt x="274" y="31"/>
                    <a:pt x="271" y="31"/>
                  </a:cubicBezTo>
                  <a:cubicBezTo>
                    <a:pt x="271" y="31"/>
                    <a:pt x="271" y="31"/>
                    <a:pt x="271" y="31"/>
                  </a:cubicBezTo>
                  <a:cubicBezTo>
                    <a:pt x="270" y="31"/>
                    <a:pt x="269" y="32"/>
                    <a:pt x="268" y="33"/>
                  </a:cubicBezTo>
                  <a:cubicBezTo>
                    <a:pt x="259" y="28"/>
                    <a:pt x="220" y="2"/>
                    <a:pt x="211" y="1"/>
                  </a:cubicBezTo>
                  <a:cubicBezTo>
                    <a:pt x="206" y="0"/>
                    <a:pt x="185" y="0"/>
                    <a:pt x="167" y="0"/>
                  </a:cubicBezTo>
                  <a:cubicBezTo>
                    <a:pt x="159" y="0"/>
                    <a:pt x="133" y="0"/>
                    <a:pt x="129" y="1"/>
                  </a:cubicBezTo>
                  <a:cubicBezTo>
                    <a:pt x="127" y="1"/>
                    <a:pt x="127" y="1"/>
                    <a:pt x="127" y="1"/>
                  </a:cubicBezTo>
                  <a:cubicBezTo>
                    <a:pt x="88" y="12"/>
                    <a:pt x="67" y="22"/>
                    <a:pt x="51" y="31"/>
                  </a:cubicBezTo>
                  <a:cubicBezTo>
                    <a:pt x="30" y="31"/>
                    <a:pt x="30" y="31"/>
                    <a:pt x="30" y="31"/>
                  </a:cubicBezTo>
                  <a:cubicBezTo>
                    <a:pt x="29" y="29"/>
                    <a:pt x="25" y="27"/>
                    <a:pt x="18" y="27"/>
                  </a:cubicBezTo>
                  <a:cubicBezTo>
                    <a:pt x="16" y="27"/>
                    <a:pt x="15" y="27"/>
                    <a:pt x="13" y="27"/>
                  </a:cubicBezTo>
                  <a:cubicBezTo>
                    <a:pt x="12" y="27"/>
                    <a:pt x="12" y="27"/>
                    <a:pt x="12" y="27"/>
                  </a:cubicBezTo>
                  <a:cubicBezTo>
                    <a:pt x="12" y="28"/>
                    <a:pt x="12" y="28"/>
                    <a:pt x="12" y="28"/>
                  </a:cubicBezTo>
                  <a:cubicBezTo>
                    <a:pt x="12" y="29"/>
                    <a:pt x="11" y="35"/>
                    <a:pt x="12" y="39"/>
                  </a:cubicBezTo>
                  <a:cubicBezTo>
                    <a:pt x="13" y="41"/>
                    <a:pt x="13" y="41"/>
                    <a:pt x="13" y="41"/>
                  </a:cubicBezTo>
                  <a:cubicBezTo>
                    <a:pt x="13" y="41"/>
                    <a:pt x="13" y="41"/>
                    <a:pt x="13" y="41"/>
                  </a:cubicBezTo>
                  <a:cubicBezTo>
                    <a:pt x="14" y="44"/>
                    <a:pt x="14" y="51"/>
                    <a:pt x="14" y="67"/>
                  </a:cubicBezTo>
                  <a:cubicBezTo>
                    <a:pt x="10" y="67"/>
                    <a:pt x="0" y="69"/>
                    <a:pt x="0" y="78"/>
                  </a:cubicBezTo>
                  <a:cubicBezTo>
                    <a:pt x="0" y="92"/>
                    <a:pt x="0" y="92"/>
                    <a:pt x="0" y="92"/>
                  </a:cubicBezTo>
                  <a:cubicBezTo>
                    <a:pt x="1" y="93"/>
                    <a:pt x="1" y="93"/>
                    <a:pt x="1" y="93"/>
                  </a:cubicBezTo>
                  <a:cubicBezTo>
                    <a:pt x="1" y="94"/>
                    <a:pt x="3" y="96"/>
                    <a:pt x="13" y="100"/>
                  </a:cubicBezTo>
                  <a:cubicBezTo>
                    <a:pt x="20" y="103"/>
                    <a:pt x="26" y="104"/>
                    <a:pt x="28" y="104"/>
                  </a:cubicBezTo>
                  <a:cubicBezTo>
                    <a:pt x="28" y="106"/>
                    <a:pt x="28" y="106"/>
                    <a:pt x="28" y="106"/>
                  </a:cubicBezTo>
                  <a:cubicBezTo>
                    <a:pt x="57" y="106"/>
                    <a:pt x="57" y="106"/>
                    <a:pt x="57" y="106"/>
                  </a:cubicBezTo>
                  <a:cubicBezTo>
                    <a:pt x="57" y="104"/>
                    <a:pt x="57" y="104"/>
                    <a:pt x="57" y="104"/>
                  </a:cubicBezTo>
                  <a:cubicBezTo>
                    <a:pt x="57" y="104"/>
                    <a:pt x="56" y="96"/>
                    <a:pt x="58" y="87"/>
                  </a:cubicBezTo>
                  <a:cubicBezTo>
                    <a:pt x="62" y="72"/>
                    <a:pt x="72" y="65"/>
                    <a:pt x="89" y="65"/>
                  </a:cubicBezTo>
                  <a:cubicBezTo>
                    <a:pt x="106" y="65"/>
                    <a:pt x="116" y="72"/>
                    <a:pt x="120" y="87"/>
                  </a:cubicBezTo>
                  <a:cubicBezTo>
                    <a:pt x="120" y="88"/>
                    <a:pt x="120" y="88"/>
                    <a:pt x="120" y="88"/>
                  </a:cubicBezTo>
                  <a:cubicBezTo>
                    <a:pt x="120" y="88"/>
                    <a:pt x="120" y="89"/>
                    <a:pt x="120" y="89"/>
                  </a:cubicBezTo>
                  <a:cubicBezTo>
                    <a:pt x="120" y="89"/>
                    <a:pt x="120" y="89"/>
                    <a:pt x="120" y="89"/>
                  </a:cubicBezTo>
                  <a:cubicBezTo>
                    <a:pt x="120" y="90"/>
                    <a:pt x="120" y="90"/>
                    <a:pt x="121" y="91"/>
                  </a:cubicBezTo>
                  <a:cubicBezTo>
                    <a:pt x="121" y="92"/>
                    <a:pt x="121" y="93"/>
                    <a:pt x="121" y="95"/>
                  </a:cubicBezTo>
                  <a:cubicBezTo>
                    <a:pt x="121" y="95"/>
                    <a:pt x="121" y="95"/>
                    <a:pt x="121" y="95"/>
                  </a:cubicBezTo>
                  <a:cubicBezTo>
                    <a:pt x="121" y="95"/>
                    <a:pt x="121" y="95"/>
                    <a:pt x="121" y="95"/>
                  </a:cubicBezTo>
                  <a:cubicBezTo>
                    <a:pt x="121" y="96"/>
                    <a:pt x="121" y="96"/>
                    <a:pt x="121" y="96"/>
                  </a:cubicBezTo>
                  <a:cubicBezTo>
                    <a:pt x="121" y="97"/>
                    <a:pt x="121" y="98"/>
                    <a:pt x="121" y="98"/>
                  </a:cubicBezTo>
                  <a:cubicBezTo>
                    <a:pt x="121" y="98"/>
                    <a:pt x="121" y="99"/>
                    <a:pt x="121" y="99"/>
                  </a:cubicBezTo>
                  <a:cubicBezTo>
                    <a:pt x="121" y="100"/>
                    <a:pt x="121" y="100"/>
                    <a:pt x="121" y="100"/>
                  </a:cubicBezTo>
                  <a:cubicBezTo>
                    <a:pt x="121" y="105"/>
                    <a:pt x="121" y="109"/>
                    <a:pt x="121" y="109"/>
                  </a:cubicBezTo>
                  <a:cubicBezTo>
                    <a:pt x="121" y="111"/>
                    <a:pt x="121" y="111"/>
                    <a:pt x="121" y="111"/>
                  </a:cubicBezTo>
                  <a:cubicBezTo>
                    <a:pt x="276" y="111"/>
                    <a:pt x="276" y="111"/>
                    <a:pt x="276" y="111"/>
                  </a:cubicBezTo>
                  <a:cubicBezTo>
                    <a:pt x="276" y="109"/>
                    <a:pt x="276" y="109"/>
                    <a:pt x="276" y="109"/>
                  </a:cubicBezTo>
                  <a:cubicBezTo>
                    <a:pt x="276" y="109"/>
                    <a:pt x="275" y="103"/>
                    <a:pt x="276" y="95"/>
                  </a:cubicBezTo>
                  <a:cubicBezTo>
                    <a:pt x="276" y="93"/>
                    <a:pt x="276" y="92"/>
                    <a:pt x="276" y="90"/>
                  </a:cubicBezTo>
                  <a:cubicBezTo>
                    <a:pt x="277" y="89"/>
                    <a:pt x="277" y="89"/>
                    <a:pt x="277" y="89"/>
                  </a:cubicBezTo>
                  <a:cubicBezTo>
                    <a:pt x="277" y="89"/>
                    <a:pt x="277" y="89"/>
                    <a:pt x="277" y="89"/>
                  </a:cubicBezTo>
                  <a:cubicBezTo>
                    <a:pt x="277" y="88"/>
                    <a:pt x="278" y="85"/>
                    <a:pt x="278" y="84"/>
                  </a:cubicBezTo>
                  <a:cubicBezTo>
                    <a:pt x="279" y="82"/>
                    <a:pt x="279" y="81"/>
                    <a:pt x="280" y="80"/>
                  </a:cubicBezTo>
                  <a:cubicBezTo>
                    <a:pt x="285" y="70"/>
                    <a:pt x="295" y="65"/>
                    <a:pt x="309" y="65"/>
                  </a:cubicBezTo>
                  <a:cubicBezTo>
                    <a:pt x="313" y="65"/>
                    <a:pt x="316" y="65"/>
                    <a:pt x="319" y="66"/>
                  </a:cubicBezTo>
                  <a:cubicBezTo>
                    <a:pt x="320" y="66"/>
                    <a:pt x="320" y="66"/>
                    <a:pt x="321" y="66"/>
                  </a:cubicBezTo>
                  <a:cubicBezTo>
                    <a:pt x="340" y="71"/>
                    <a:pt x="342" y="90"/>
                    <a:pt x="341" y="101"/>
                  </a:cubicBezTo>
                  <a:cubicBezTo>
                    <a:pt x="341" y="105"/>
                    <a:pt x="340" y="108"/>
                    <a:pt x="340" y="108"/>
                  </a:cubicBezTo>
                  <a:cubicBezTo>
                    <a:pt x="340" y="110"/>
                    <a:pt x="340" y="110"/>
                    <a:pt x="340" y="110"/>
                  </a:cubicBezTo>
                  <a:cubicBezTo>
                    <a:pt x="370" y="110"/>
                    <a:pt x="370" y="110"/>
                    <a:pt x="370" y="110"/>
                  </a:cubicBezTo>
                  <a:cubicBezTo>
                    <a:pt x="370" y="105"/>
                    <a:pt x="370" y="105"/>
                    <a:pt x="370" y="105"/>
                  </a:cubicBezTo>
                  <a:cubicBezTo>
                    <a:pt x="378" y="105"/>
                    <a:pt x="387" y="104"/>
                    <a:pt x="388" y="99"/>
                  </a:cubicBezTo>
                  <a:cubicBezTo>
                    <a:pt x="388" y="98"/>
                    <a:pt x="388" y="97"/>
                    <a:pt x="388" y="95"/>
                  </a:cubicBezTo>
                  <a:cubicBezTo>
                    <a:pt x="388" y="94"/>
                    <a:pt x="388" y="93"/>
                    <a:pt x="388" y="92"/>
                  </a:cubicBezTo>
                  <a:cubicBezTo>
                    <a:pt x="388" y="91"/>
                    <a:pt x="387" y="88"/>
                    <a:pt x="388" y="87"/>
                  </a:cubicBezTo>
                  <a:close/>
                  <a:moveTo>
                    <a:pt x="92" y="34"/>
                  </a:moveTo>
                  <a:cubicBezTo>
                    <a:pt x="116" y="20"/>
                    <a:pt x="135" y="13"/>
                    <a:pt x="142" y="12"/>
                  </a:cubicBezTo>
                  <a:cubicBezTo>
                    <a:pt x="148" y="39"/>
                    <a:pt x="148" y="39"/>
                    <a:pt x="148" y="39"/>
                  </a:cubicBezTo>
                  <a:lnTo>
                    <a:pt x="92" y="34"/>
                  </a:lnTo>
                  <a:close/>
                  <a:moveTo>
                    <a:pt x="239" y="40"/>
                  </a:moveTo>
                  <a:cubicBezTo>
                    <a:pt x="170" y="40"/>
                    <a:pt x="170" y="40"/>
                    <a:pt x="170" y="40"/>
                  </a:cubicBezTo>
                  <a:cubicBezTo>
                    <a:pt x="170" y="40"/>
                    <a:pt x="170" y="40"/>
                    <a:pt x="170" y="40"/>
                  </a:cubicBezTo>
                  <a:cubicBezTo>
                    <a:pt x="163" y="40"/>
                    <a:pt x="163" y="40"/>
                    <a:pt x="163" y="40"/>
                  </a:cubicBezTo>
                  <a:cubicBezTo>
                    <a:pt x="158" y="20"/>
                    <a:pt x="158" y="20"/>
                    <a:pt x="158" y="20"/>
                  </a:cubicBezTo>
                  <a:cubicBezTo>
                    <a:pt x="158" y="17"/>
                    <a:pt x="158" y="17"/>
                    <a:pt x="158" y="17"/>
                  </a:cubicBezTo>
                  <a:cubicBezTo>
                    <a:pt x="157" y="13"/>
                    <a:pt x="157" y="13"/>
                    <a:pt x="157" y="13"/>
                  </a:cubicBezTo>
                  <a:cubicBezTo>
                    <a:pt x="198" y="13"/>
                    <a:pt x="198" y="13"/>
                    <a:pt x="198" y="13"/>
                  </a:cubicBezTo>
                  <a:cubicBezTo>
                    <a:pt x="199" y="13"/>
                    <a:pt x="199" y="13"/>
                    <a:pt x="199" y="13"/>
                  </a:cubicBezTo>
                  <a:cubicBezTo>
                    <a:pt x="199" y="13"/>
                    <a:pt x="199" y="13"/>
                    <a:pt x="198" y="13"/>
                  </a:cubicBezTo>
                  <a:cubicBezTo>
                    <a:pt x="201" y="13"/>
                    <a:pt x="203" y="14"/>
                    <a:pt x="206" y="14"/>
                  </a:cubicBezTo>
                  <a:cubicBezTo>
                    <a:pt x="206" y="14"/>
                    <a:pt x="207" y="15"/>
                    <a:pt x="207" y="15"/>
                  </a:cubicBezTo>
                  <a:cubicBezTo>
                    <a:pt x="209" y="15"/>
                    <a:pt x="211" y="16"/>
                    <a:pt x="212" y="16"/>
                  </a:cubicBezTo>
                  <a:cubicBezTo>
                    <a:pt x="213" y="16"/>
                    <a:pt x="213" y="16"/>
                    <a:pt x="213" y="17"/>
                  </a:cubicBezTo>
                  <a:cubicBezTo>
                    <a:pt x="217" y="18"/>
                    <a:pt x="220" y="19"/>
                    <a:pt x="223" y="21"/>
                  </a:cubicBezTo>
                  <a:cubicBezTo>
                    <a:pt x="222" y="20"/>
                    <a:pt x="221" y="20"/>
                    <a:pt x="220" y="19"/>
                  </a:cubicBezTo>
                  <a:cubicBezTo>
                    <a:pt x="220" y="19"/>
                    <a:pt x="220" y="19"/>
                    <a:pt x="221" y="20"/>
                  </a:cubicBezTo>
                  <a:cubicBezTo>
                    <a:pt x="221" y="20"/>
                    <a:pt x="221" y="20"/>
                    <a:pt x="221" y="20"/>
                  </a:cubicBezTo>
                  <a:cubicBezTo>
                    <a:pt x="222" y="20"/>
                    <a:pt x="222" y="20"/>
                    <a:pt x="223" y="21"/>
                  </a:cubicBezTo>
                  <a:cubicBezTo>
                    <a:pt x="223" y="21"/>
                    <a:pt x="223" y="21"/>
                    <a:pt x="223" y="21"/>
                  </a:cubicBezTo>
                  <a:cubicBezTo>
                    <a:pt x="227" y="23"/>
                    <a:pt x="230" y="25"/>
                    <a:pt x="232" y="27"/>
                  </a:cubicBezTo>
                  <a:cubicBezTo>
                    <a:pt x="232" y="27"/>
                    <a:pt x="232" y="27"/>
                    <a:pt x="232" y="27"/>
                  </a:cubicBezTo>
                  <a:cubicBezTo>
                    <a:pt x="234" y="28"/>
                    <a:pt x="235" y="29"/>
                    <a:pt x="235" y="29"/>
                  </a:cubicBezTo>
                  <a:cubicBezTo>
                    <a:pt x="238" y="31"/>
                    <a:pt x="239" y="32"/>
                    <a:pt x="239" y="32"/>
                  </a:cubicBezTo>
                  <a:cubicBezTo>
                    <a:pt x="239" y="40"/>
                    <a:pt x="239" y="40"/>
                    <a:pt x="239" y="40"/>
                  </a:cubicBezTo>
                  <a:close/>
                  <a:moveTo>
                    <a:pt x="309" y="68"/>
                  </a:moveTo>
                  <a:cubicBezTo>
                    <a:pt x="292" y="68"/>
                    <a:pt x="279" y="81"/>
                    <a:pt x="279" y="98"/>
                  </a:cubicBezTo>
                  <a:cubicBezTo>
                    <a:pt x="279" y="115"/>
                    <a:pt x="292" y="128"/>
                    <a:pt x="309" y="128"/>
                  </a:cubicBezTo>
                  <a:cubicBezTo>
                    <a:pt x="325" y="128"/>
                    <a:pt x="338" y="115"/>
                    <a:pt x="338" y="98"/>
                  </a:cubicBezTo>
                  <a:cubicBezTo>
                    <a:pt x="338" y="81"/>
                    <a:pt x="325" y="68"/>
                    <a:pt x="309" y="68"/>
                  </a:cubicBezTo>
                  <a:close/>
                  <a:moveTo>
                    <a:pt x="309" y="119"/>
                  </a:moveTo>
                  <a:cubicBezTo>
                    <a:pt x="298" y="119"/>
                    <a:pt x="288" y="110"/>
                    <a:pt x="288" y="98"/>
                  </a:cubicBezTo>
                  <a:cubicBezTo>
                    <a:pt x="288" y="87"/>
                    <a:pt x="298" y="77"/>
                    <a:pt x="309" y="77"/>
                  </a:cubicBezTo>
                  <a:cubicBezTo>
                    <a:pt x="320" y="77"/>
                    <a:pt x="329" y="87"/>
                    <a:pt x="329" y="98"/>
                  </a:cubicBezTo>
                  <a:cubicBezTo>
                    <a:pt x="329" y="110"/>
                    <a:pt x="320" y="119"/>
                    <a:pt x="309" y="119"/>
                  </a:cubicBezTo>
                  <a:close/>
                  <a:moveTo>
                    <a:pt x="89" y="68"/>
                  </a:moveTo>
                  <a:cubicBezTo>
                    <a:pt x="73" y="68"/>
                    <a:pt x="60" y="81"/>
                    <a:pt x="60" y="98"/>
                  </a:cubicBezTo>
                  <a:cubicBezTo>
                    <a:pt x="60" y="115"/>
                    <a:pt x="73" y="128"/>
                    <a:pt x="89" y="128"/>
                  </a:cubicBezTo>
                  <a:cubicBezTo>
                    <a:pt x="106" y="128"/>
                    <a:pt x="119" y="115"/>
                    <a:pt x="119" y="98"/>
                  </a:cubicBezTo>
                  <a:cubicBezTo>
                    <a:pt x="119" y="81"/>
                    <a:pt x="106" y="68"/>
                    <a:pt x="89" y="68"/>
                  </a:cubicBezTo>
                  <a:close/>
                  <a:moveTo>
                    <a:pt x="89" y="119"/>
                  </a:moveTo>
                  <a:cubicBezTo>
                    <a:pt x="78" y="119"/>
                    <a:pt x="69" y="110"/>
                    <a:pt x="69" y="98"/>
                  </a:cubicBezTo>
                  <a:cubicBezTo>
                    <a:pt x="69" y="87"/>
                    <a:pt x="78" y="77"/>
                    <a:pt x="89" y="77"/>
                  </a:cubicBezTo>
                  <a:cubicBezTo>
                    <a:pt x="101" y="77"/>
                    <a:pt x="110" y="87"/>
                    <a:pt x="110" y="98"/>
                  </a:cubicBezTo>
                  <a:cubicBezTo>
                    <a:pt x="110" y="110"/>
                    <a:pt x="101" y="119"/>
                    <a:pt x="89" y="119"/>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t-EE"/>
            </a:p>
          </p:txBody>
        </p:sp>
        <p:graphicFrame>
          <p:nvGraphicFramePr>
            <p:cNvPr id="18" name="Content Placeholder 4">
              <a:extLst>
                <a:ext uri="{FF2B5EF4-FFF2-40B4-BE49-F238E27FC236}">
                  <a16:creationId xmlns:a16="http://schemas.microsoft.com/office/drawing/2014/main" id="{106B8C23-7366-D0E2-1E98-A68DA20F5C70}"/>
                </a:ext>
              </a:extLst>
            </p:cNvPr>
            <p:cNvGraphicFramePr>
              <a:graphicFrameLocks/>
            </p:cNvGraphicFramePr>
            <p:nvPr/>
          </p:nvGraphicFramePr>
          <p:xfrm>
            <a:off x="3290642" y="3950322"/>
            <a:ext cx="2470056" cy="360000"/>
          </p:xfrm>
          <a:graphic>
            <a:graphicData uri="http://schemas.openxmlformats.org/drawingml/2006/table">
              <a:tbl>
                <a:tblPr firstRow="1" bandRow="1">
                  <a:tableStyleId>{5C22544A-7EE6-4342-B048-85BDC9FD1C3A}</a:tableStyleId>
                </a:tblPr>
                <a:tblGrid>
                  <a:gridCol w="205838">
                    <a:extLst>
                      <a:ext uri="{9D8B030D-6E8A-4147-A177-3AD203B41FA5}">
                        <a16:colId xmlns:a16="http://schemas.microsoft.com/office/drawing/2014/main" val="2957976364"/>
                      </a:ext>
                    </a:extLst>
                  </a:gridCol>
                  <a:gridCol w="205838">
                    <a:extLst>
                      <a:ext uri="{9D8B030D-6E8A-4147-A177-3AD203B41FA5}">
                        <a16:colId xmlns:a16="http://schemas.microsoft.com/office/drawing/2014/main" val="239186789"/>
                      </a:ext>
                    </a:extLst>
                  </a:gridCol>
                  <a:gridCol w="205838">
                    <a:extLst>
                      <a:ext uri="{9D8B030D-6E8A-4147-A177-3AD203B41FA5}">
                        <a16:colId xmlns:a16="http://schemas.microsoft.com/office/drawing/2014/main" val="2297659680"/>
                      </a:ext>
                    </a:extLst>
                  </a:gridCol>
                  <a:gridCol w="205838">
                    <a:extLst>
                      <a:ext uri="{9D8B030D-6E8A-4147-A177-3AD203B41FA5}">
                        <a16:colId xmlns:a16="http://schemas.microsoft.com/office/drawing/2014/main" val="1836321624"/>
                      </a:ext>
                    </a:extLst>
                  </a:gridCol>
                  <a:gridCol w="205838">
                    <a:extLst>
                      <a:ext uri="{9D8B030D-6E8A-4147-A177-3AD203B41FA5}">
                        <a16:colId xmlns:a16="http://schemas.microsoft.com/office/drawing/2014/main" val="2361842150"/>
                      </a:ext>
                    </a:extLst>
                  </a:gridCol>
                  <a:gridCol w="205838">
                    <a:extLst>
                      <a:ext uri="{9D8B030D-6E8A-4147-A177-3AD203B41FA5}">
                        <a16:colId xmlns:a16="http://schemas.microsoft.com/office/drawing/2014/main" val="3331409945"/>
                      </a:ext>
                    </a:extLst>
                  </a:gridCol>
                  <a:gridCol w="205838">
                    <a:extLst>
                      <a:ext uri="{9D8B030D-6E8A-4147-A177-3AD203B41FA5}">
                        <a16:colId xmlns:a16="http://schemas.microsoft.com/office/drawing/2014/main" val="1907623769"/>
                      </a:ext>
                    </a:extLst>
                  </a:gridCol>
                  <a:gridCol w="205838">
                    <a:extLst>
                      <a:ext uri="{9D8B030D-6E8A-4147-A177-3AD203B41FA5}">
                        <a16:colId xmlns:a16="http://schemas.microsoft.com/office/drawing/2014/main" val="665091575"/>
                      </a:ext>
                    </a:extLst>
                  </a:gridCol>
                  <a:gridCol w="205838">
                    <a:extLst>
                      <a:ext uri="{9D8B030D-6E8A-4147-A177-3AD203B41FA5}">
                        <a16:colId xmlns:a16="http://schemas.microsoft.com/office/drawing/2014/main" val="1948326628"/>
                      </a:ext>
                    </a:extLst>
                  </a:gridCol>
                  <a:gridCol w="205838">
                    <a:extLst>
                      <a:ext uri="{9D8B030D-6E8A-4147-A177-3AD203B41FA5}">
                        <a16:colId xmlns:a16="http://schemas.microsoft.com/office/drawing/2014/main" val="2508508268"/>
                      </a:ext>
                    </a:extLst>
                  </a:gridCol>
                  <a:gridCol w="205838">
                    <a:extLst>
                      <a:ext uri="{9D8B030D-6E8A-4147-A177-3AD203B41FA5}">
                        <a16:colId xmlns:a16="http://schemas.microsoft.com/office/drawing/2014/main" val="3216317577"/>
                      </a:ext>
                    </a:extLst>
                  </a:gridCol>
                  <a:gridCol w="205838">
                    <a:extLst>
                      <a:ext uri="{9D8B030D-6E8A-4147-A177-3AD203B41FA5}">
                        <a16:colId xmlns:a16="http://schemas.microsoft.com/office/drawing/2014/main" val="1532207620"/>
                      </a:ext>
                    </a:extLst>
                  </a:gridCol>
                </a:tblGrid>
                <a:tr h="360000">
                  <a:tc>
                    <a:txBody>
                      <a:bodyPr/>
                      <a:lstStyle/>
                      <a:p>
                        <a:pPr algn="r"/>
                        <a:r>
                          <a:rPr lang="et-EE" sz="900">
                            <a:solidFill>
                              <a:schemeClr val="tx1"/>
                            </a:solidFill>
                            <a:latin typeface="+mj-lt"/>
                          </a:rPr>
                          <a:t>Jaan</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Veeb</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Märts</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Apr</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Mai</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Juuni</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Juuli</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Aug</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Sept</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Okt</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Nov</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dirty="0">
                            <a:solidFill>
                              <a:schemeClr val="tx1"/>
                            </a:solidFill>
                            <a:latin typeface="+mj-lt"/>
                          </a:rPr>
                          <a:t>Dets</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4286093746"/>
                    </a:ext>
                  </a:extLst>
                </a:tr>
              </a:tbl>
            </a:graphicData>
          </a:graphic>
        </p:graphicFrame>
      </p:grpSp>
      <p:sp>
        <p:nvSpPr>
          <p:cNvPr id="19" name="Text Placeholder 44">
            <a:extLst>
              <a:ext uri="{FF2B5EF4-FFF2-40B4-BE49-F238E27FC236}">
                <a16:creationId xmlns:a16="http://schemas.microsoft.com/office/drawing/2014/main" id="{4F09CD64-D67E-3A22-C1E8-25303A832F42}"/>
              </a:ext>
            </a:extLst>
          </p:cNvPr>
          <p:cNvSpPr txBox="1">
            <a:spLocks/>
          </p:cNvSpPr>
          <p:nvPr/>
        </p:nvSpPr>
        <p:spPr>
          <a:xfrm>
            <a:off x="6108812" y="962249"/>
            <a:ext cx="5971676" cy="1452880"/>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Clr>
                <a:srgbClr val="A2C02F"/>
              </a:buClr>
              <a:buFont typeface="Wingdings" panose="05000000000000000000" pitchFamily="2" charset="2"/>
              <a:buChar char="§"/>
              <a:defRPr sz="2000" kern="1200" spc="0" baseline="0">
                <a:solidFill>
                  <a:schemeClr val="tx1"/>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Clr>
                <a:srgbClr val="A2C02F"/>
              </a:buClr>
              <a:buFont typeface="Wingdings" panose="05000000000000000000" pitchFamily="2" charset="2"/>
              <a:buChar char="§"/>
              <a:defRPr sz="1800" kern="1200" spc="0" baseline="0">
                <a:solidFill>
                  <a:schemeClr val="tx1"/>
                </a:solidFill>
                <a:latin typeface="Calibri Light" panose="020F0302020204030204" pitchFamily="34" charset="0"/>
                <a:ea typeface="+mn-ea"/>
                <a:cs typeface="Calibri Light" panose="020F0302020204030204" pitchFamily="34" charset="0"/>
              </a:defRPr>
            </a:lvl2pPr>
            <a:lvl3pPr marL="1143000" indent="-228600" algn="l" defTabSz="914400" rtl="0" eaLnBrk="1" latinLnBrk="0" hangingPunct="1">
              <a:lnSpc>
                <a:spcPct val="90000"/>
              </a:lnSpc>
              <a:spcBef>
                <a:spcPts val="500"/>
              </a:spcBef>
              <a:buClr>
                <a:srgbClr val="A2C02F"/>
              </a:buClr>
              <a:buFont typeface="Wingdings" panose="05000000000000000000" pitchFamily="2" charset="2"/>
              <a:buChar char="§"/>
              <a:defRPr sz="1800" kern="1200" spc="0" baseline="0">
                <a:solidFill>
                  <a:schemeClr val="tx1"/>
                </a:solidFill>
                <a:latin typeface="Calibri Light" panose="020F0302020204030204" pitchFamily="34" charset="0"/>
                <a:ea typeface="+mn-ea"/>
                <a:cs typeface="Calibri Light" panose="020F0302020204030204" pitchFamily="34" charset="0"/>
              </a:defRPr>
            </a:lvl3pPr>
            <a:lvl4pPr marL="1600200" indent="-228600" algn="l" defTabSz="914400" rtl="0" eaLnBrk="1" latinLnBrk="0" hangingPunct="1">
              <a:lnSpc>
                <a:spcPct val="90000"/>
              </a:lnSpc>
              <a:spcBef>
                <a:spcPts val="500"/>
              </a:spcBef>
              <a:buClr>
                <a:srgbClr val="A2C02F"/>
              </a:buClr>
              <a:buFont typeface="Wingdings" panose="05000000000000000000" pitchFamily="2" charset="2"/>
              <a:buChar char="§"/>
              <a:defRPr sz="1800" kern="1200" spc="0" baseline="0">
                <a:solidFill>
                  <a:schemeClr val="tx1"/>
                </a:solidFill>
                <a:latin typeface="Calibri Light" panose="020F0302020204030204" pitchFamily="34" charset="0"/>
                <a:ea typeface="+mn-ea"/>
                <a:cs typeface="Calibri Light" panose="020F0302020204030204" pitchFamily="34" charset="0"/>
              </a:defRPr>
            </a:lvl4pPr>
            <a:lvl5pPr marL="1828800" indent="0" algn="l" defTabSz="914400" rtl="0" eaLnBrk="1" latinLnBrk="0" hangingPunct="1">
              <a:lnSpc>
                <a:spcPct val="90000"/>
              </a:lnSpc>
              <a:spcBef>
                <a:spcPts val="500"/>
              </a:spcBef>
              <a:buClr>
                <a:srgbClr val="A2C02F"/>
              </a:buClr>
              <a:buFont typeface="Wingdings" panose="05000000000000000000" pitchFamily="2" charset="2"/>
              <a:buNone/>
              <a:defRPr sz="1800" kern="1200" spc="0" baseline="0">
                <a:solidFill>
                  <a:schemeClr val="tx1"/>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Tx/>
              <a:buFont typeface="Arial" panose="05000000000000000000" pitchFamily="2" charset="2"/>
              <a:buChar char="•"/>
            </a:pPr>
            <a:r>
              <a:rPr lang="en-US" sz="1800" err="1">
                <a:latin typeface="+mj-lt"/>
                <a:cs typeface="Calibri Light"/>
              </a:rPr>
              <a:t>Kõigil</a:t>
            </a:r>
            <a:r>
              <a:rPr lang="en-US" sz="1800">
                <a:latin typeface="+mj-lt"/>
                <a:cs typeface="Calibri Light"/>
              </a:rPr>
              <a:t> </a:t>
            </a:r>
            <a:r>
              <a:rPr lang="en-US" sz="1800" err="1">
                <a:latin typeface="+mj-lt"/>
                <a:cs typeface="Calibri Light"/>
              </a:rPr>
              <a:t>taastuvenergia</a:t>
            </a:r>
            <a:r>
              <a:rPr lang="en-US" sz="1800">
                <a:latin typeface="+mj-lt"/>
                <a:cs typeface="Calibri Light"/>
              </a:rPr>
              <a:t> </a:t>
            </a:r>
            <a:r>
              <a:rPr lang="en-US" sz="1800" err="1">
                <a:latin typeface="+mj-lt"/>
                <a:cs typeface="Calibri Light"/>
              </a:rPr>
              <a:t>allikatel</a:t>
            </a:r>
            <a:r>
              <a:rPr lang="en-US" sz="1800">
                <a:latin typeface="+mj-lt"/>
                <a:cs typeface="Calibri Light"/>
              </a:rPr>
              <a:t> on </a:t>
            </a:r>
            <a:r>
              <a:rPr lang="en-US" sz="1800" err="1">
                <a:latin typeface="+mj-lt"/>
                <a:cs typeface="Calibri Light"/>
              </a:rPr>
              <a:t>oma</a:t>
            </a:r>
            <a:r>
              <a:rPr lang="en-US" sz="1800">
                <a:latin typeface="+mj-lt"/>
                <a:cs typeface="Calibri Light"/>
              </a:rPr>
              <a:t> roll, </a:t>
            </a:r>
            <a:r>
              <a:rPr lang="en-US" sz="1800" err="1">
                <a:latin typeface="+mj-lt"/>
                <a:cs typeface="Calibri Light"/>
              </a:rPr>
              <a:t>keskenduda</a:t>
            </a:r>
            <a:r>
              <a:rPr lang="en-US" sz="1800">
                <a:latin typeface="+mj-lt"/>
                <a:cs typeface="Calibri Light"/>
              </a:rPr>
              <a:t> </a:t>
            </a:r>
            <a:r>
              <a:rPr lang="en-US" sz="1800" err="1">
                <a:latin typeface="+mj-lt"/>
                <a:cs typeface="Calibri Light"/>
              </a:rPr>
              <a:t>tuleb</a:t>
            </a:r>
            <a:r>
              <a:rPr lang="en-US" sz="1800">
                <a:latin typeface="+mj-lt"/>
                <a:cs typeface="Calibri Light"/>
              </a:rPr>
              <a:t> </a:t>
            </a:r>
            <a:r>
              <a:rPr lang="en-US" sz="1800" err="1">
                <a:latin typeface="+mj-lt"/>
                <a:cs typeface="Calibri Light"/>
              </a:rPr>
              <a:t>neile</a:t>
            </a:r>
            <a:r>
              <a:rPr lang="en-US" sz="1800">
                <a:latin typeface="+mj-lt"/>
                <a:cs typeface="Calibri Light"/>
              </a:rPr>
              <a:t>, </a:t>
            </a:r>
            <a:r>
              <a:rPr lang="en-US" sz="1800" err="1">
                <a:latin typeface="+mj-lt"/>
                <a:cs typeface="Calibri Light"/>
              </a:rPr>
              <a:t>mille</a:t>
            </a:r>
            <a:r>
              <a:rPr lang="en-US" sz="1800">
                <a:latin typeface="+mj-lt"/>
                <a:cs typeface="Calibri Light"/>
              </a:rPr>
              <a:t> </a:t>
            </a:r>
            <a:r>
              <a:rPr lang="en-US" sz="1800" err="1">
                <a:latin typeface="+mj-lt"/>
                <a:cs typeface="Calibri Light"/>
              </a:rPr>
              <a:t>toodang</a:t>
            </a:r>
            <a:r>
              <a:rPr lang="en-US" sz="1800">
                <a:latin typeface="+mj-lt"/>
                <a:cs typeface="Calibri Light"/>
              </a:rPr>
              <a:t> on </a:t>
            </a:r>
            <a:r>
              <a:rPr lang="en-US" sz="1800" err="1">
                <a:latin typeface="+mj-lt"/>
                <a:cs typeface="Calibri Light"/>
              </a:rPr>
              <a:t>maksimaalne</a:t>
            </a:r>
            <a:r>
              <a:rPr lang="en-US" sz="1800">
                <a:latin typeface="+mj-lt"/>
                <a:cs typeface="Calibri Light"/>
              </a:rPr>
              <a:t> </a:t>
            </a:r>
            <a:r>
              <a:rPr lang="en-US" sz="1800" err="1">
                <a:latin typeface="+mj-lt"/>
                <a:cs typeface="Calibri Light"/>
              </a:rPr>
              <a:t>suurima</a:t>
            </a:r>
            <a:r>
              <a:rPr lang="en-US" sz="1800">
                <a:latin typeface="+mj-lt"/>
                <a:cs typeface="Calibri Light"/>
              </a:rPr>
              <a:t> </a:t>
            </a:r>
            <a:r>
              <a:rPr lang="en-US" sz="1800" err="1">
                <a:latin typeface="+mj-lt"/>
                <a:cs typeface="Calibri Light"/>
              </a:rPr>
              <a:t>tarbimise</a:t>
            </a:r>
            <a:r>
              <a:rPr lang="en-US" sz="1800">
                <a:latin typeface="+mj-lt"/>
                <a:cs typeface="Calibri Light"/>
              </a:rPr>
              <a:t> </a:t>
            </a:r>
            <a:r>
              <a:rPr lang="en-US" sz="1800" err="1">
                <a:latin typeface="+mj-lt"/>
                <a:cs typeface="Calibri Light"/>
              </a:rPr>
              <a:t>ajal</a:t>
            </a:r>
            <a:endParaRPr lang="en-US" sz="1800">
              <a:latin typeface="+mj-lt"/>
              <a:cs typeface="Calibri Light"/>
            </a:endParaRPr>
          </a:p>
          <a:p>
            <a:pPr lvl="1">
              <a:buClrTx/>
              <a:buFont typeface="Arial" panose="020F0302020204030204" pitchFamily="34" charset="0"/>
              <a:buChar char="•"/>
            </a:pPr>
            <a:r>
              <a:rPr lang="en-US" sz="1600" err="1">
                <a:latin typeface="+mj-lt"/>
                <a:cs typeface="Calibri Light"/>
              </a:rPr>
              <a:t>Väheneb</a:t>
            </a:r>
            <a:r>
              <a:rPr lang="en-US" sz="1600">
                <a:latin typeface="+mj-lt"/>
                <a:cs typeface="Calibri Light"/>
              </a:rPr>
              <a:t> </a:t>
            </a:r>
            <a:r>
              <a:rPr lang="en-US" sz="1600" err="1">
                <a:latin typeface="+mj-lt"/>
                <a:cs typeface="Calibri Light"/>
              </a:rPr>
              <a:t>kallimate</a:t>
            </a:r>
            <a:r>
              <a:rPr lang="en-US" sz="1600">
                <a:latin typeface="+mj-lt"/>
                <a:cs typeface="Calibri Light"/>
              </a:rPr>
              <a:t> </a:t>
            </a:r>
            <a:r>
              <a:rPr lang="en-US" sz="1600" err="1">
                <a:latin typeface="+mj-lt"/>
                <a:cs typeface="Calibri Light"/>
              </a:rPr>
              <a:t>fossiilsete</a:t>
            </a:r>
            <a:r>
              <a:rPr lang="en-US" sz="1600">
                <a:latin typeface="+mj-lt"/>
                <a:cs typeface="Calibri Light"/>
              </a:rPr>
              <a:t> </a:t>
            </a:r>
            <a:r>
              <a:rPr lang="en-US" sz="1600" err="1">
                <a:latin typeface="+mj-lt"/>
                <a:cs typeface="Calibri Light"/>
              </a:rPr>
              <a:t>kütuste</a:t>
            </a:r>
            <a:r>
              <a:rPr lang="en-US" sz="1600">
                <a:latin typeface="+mj-lt"/>
                <a:cs typeface="Calibri Light"/>
              </a:rPr>
              <a:t> </a:t>
            </a:r>
            <a:r>
              <a:rPr lang="en-US" sz="1600" err="1">
                <a:latin typeface="+mj-lt"/>
                <a:cs typeface="Calibri Light"/>
              </a:rPr>
              <a:t>kasutamine</a:t>
            </a:r>
            <a:endParaRPr lang="et-EE" sz="1600">
              <a:latin typeface="+mj-lt"/>
              <a:cs typeface="Calibri Light"/>
            </a:endParaRPr>
          </a:p>
          <a:p>
            <a:pPr lvl="1">
              <a:buClrTx/>
              <a:buFont typeface="Arial" panose="020F0302020204030204" pitchFamily="34" charset="0"/>
              <a:buChar char="•"/>
            </a:pPr>
            <a:r>
              <a:rPr lang="et-EE" sz="1600">
                <a:latin typeface="+mj-lt"/>
                <a:cs typeface="Calibri Light"/>
              </a:rPr>
              <a:t>Suureneb varustuskindlus</a:t>
            </a:r>
            <a:endParaRPr lang="en-US" sz="1600">
              <a:latin typeface="+mj-lt"/>
              <a:cs typeface="Calibri Light"/>
            </a:endParaRPr>
          </a:p>
          <a:p>
            <a:pPr lvl="1">
              <a:buClrTx/>
              <a:buFont typeface="Arial" panose="020F0302020204030204" pitchFamily="34" charset="0"/>
              <a:buChar char="•"/>
            </a:pPr>
            <a:r>
              <a:rPr lang="et-EE" sz="1600">
                <a:latin typeface="+mj-lt"/>
                <a:cs typeface="Calibri Light"/>
              </a:rPr>
              <a:t>V</a:t>
            </a:r>
            <a:r>
              <a:rPr lang="en-US" sz="1600" err="1">
                <a:latin typeface="+mj-lt"/>
                <a:cs typeface="Calibri Light"/>
              </a:rPr>
              <a:t>äheneb</a:t>
            </a:r>
            <a:r>
              <a:rPr lang="en-US" sz="1600">
                <a:latin typeface="+mj-lt"/>
                <a:cs typeface="Calibri Light"/>
              </a:rPr>
              <a:t> </a:t>
            </a:r>
            <a:r>
              <a:rPr lang="en-US" sz="1600" err="1">
                <a:latin typeface="+mj-lt"/>
                <a:cs typeface="Calibri Light"/>
              </a:rPr>
              <a:t>vajadus</a:t>
            </a:r>
            <a:r>
              <a:rPr lang="en-US" sz="1600">
                <a:latin typeface="+mj-lt"/>
                <a:cs typeface="Calibri Light"/>
              </a:rPr>
              <a:t> </a:t>
            </a:r>
            <a:r>
              <a:rPr lang="en-US" sz="1600" err="1">
                <a:latin typeface="+mj-lt"/>
                <a:cs typeface="Calibri Light"/>
              </a:rPr>
              <a:t>salvestusvõimsuste</a:t>
            </a:r>
            <a:r>
              <a:rPr lang="en-US" sz="1600">
                <a:latin typeface="+mj-lt"/>
                <a:cs typeface="Calibri Light"/>
              </a:rPr>
              <a:t> </a:t>
            </a:r>
            <a:r>
              <a:rPr lang="en-US" sz="1600" err="1">
                <a:latin typeface="+mj-lt"/>
                <a:cs typeface="Calibri Light"/>
              </a:rPr>
              <a:t>järele</a:t>
            </a:r>
            <a:endParaRPr lang="en-US" sz="1600">
              <a:latin typeface="+mj-lt"/>
              <a:cs typeface="Calibri Light"/>
            </a:endParaRPr>
          </a:p>
          <a:p>
            <a:pPr lvl="1">
              <a:buFont typeface="Arial" panose="05000000000000000000" pitchFamily="2" charset="2"/>
              <a:buChar char="•"/>
            </a:pPr>
            <a:endParaRPr lang="en-US" sz="1500">
              <a:latin typeface="+mj-lt"/>
            </a:endParaRPr>
          </a:p>
        </p:txBody>
      </p:sp>
      <p:grpSp>
        <p:nvGrpSpPr>
          <p:cNvPr id="20" name="Group 19">
            <a:extLst>
              <a:ext uri="{FF2B5EF4-FFF2-40B4-BE49-F238E27FC236}">
                <a16:creationId xmlns:a16="http://schemas.microsoft.com/office/drawing/2014/main" id="{1FC77C09-1F8B-A661-7CE5-A497C54A9BA5}"/>
              </a:ext>
            </a:extLst>
          </p:cNvPr>
          <p:cNvGrpSpPr/>
          <p:nvPr/>
        </p:nvGrpSpPr>
        <p:grpSpPr>
          <a:xfrm>
            <a:off x="2731952" y="4173844"/>
            <a:ext cx="9125187" cy="2183193"/>
            <a:chOff x="3791096" y="2415129"/>
            <a:chExt cx="9125187" cy="2183193"/>
          </a:xfrm>
        </p:grpSpPr>
        <p:graphicFrame>
          <p:nvGraphicFramePr>
            <p:cNvPr id="21" name="Chart 20">
              <a:extLst>
                <a:ext uri="{FF2B5EF4-FFF2-40B4-BE49-F238E27FC236}">
                  <a16:creationId xmlns:a16="http://schemas.microsoft.com/office/drawing/2014/main" id="{522416B7-8320-6EDD-1805-C9D29F6B3272}"/>
                </a:ext>
              </a:extLst>
            </p:cNvPr>
            <p:cNvGraphicFramePr>
              <a:graphicFrameLocks/>
            </p:cNvGraphicFramePr>
            <p:nvPr/>
          </p:nvGraphicFramePr>
          <p:xfrm>
            <a:off x="3791096" y="2415129"/>
            <a:ext cx="3187836" cy="198859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2" name="Content Placeholder 4">
              <a:extLst>
                <a:ext uri="{FF2B5EF4-FFF2-40B4-BE49-F238E27FC236}">
                  <a16:creationId xmlns:a16="http://schemas.microsoft.com/office/drawing/2014/main" id="{36477F43-861C-8D41-87BB-03366BBD798C}"/>
                </a:ext>
              </a:extLst>
            </p:cNvPr>
            <p:cNvGraphicFramePr>
              <a:graphicFrameLocks/>
            </p:cNvGraphicFramePr>
            <p:nvPr/>
          </p:nvGraphicFramePr>
          <p:xfrm>
            <a:off x="4417737" y="4130322"/>
            <a:ext cx="2431176" cy="468000"/>
          </p:xfrm>
          <a:graphic>
            <a:graphicData uri="http://schemas.openxmlformats.org/drawingml/2006/table">
              <a:tbl>
                <a:tblPr firstRow="1" bandRow="1">
                  <a:tableStyleId>{5C22544A-7EE6-4342-B048-85BDC9FD1C3A}</a:tableStyleId>
                </a:tblPr>
                <a:tblGrid>
                  <a:gridCol w="202598">
                    <a:extLst>
                      <a:ext uri="{9D8B030D-6E8A-4147-A177-3AD203B41FA5}">
                        <a16:colId xmlns:a16="http://schemas.microsoft.com/office/drawing/2014/main" val="2957976364"/>
                      </a:ext>
                    </a:extLst>
                  </a:gridCol>
                  <a:gridCol w="202598">
                    <a:extLst>
                      <a:ext uri="{9D8B030D-6E8A-4147-A177-3AD203B41FA5}">
                        <a16:colId xmlns:a16="http://schemas.microsoft.com/office/drawing/2014/main" val="239186789"/>
                      </a:ext>
                    </a:extLst>
                  </a:gridCol>
                  <a:gridCol w="202598">
                    <a:extLst>
                      <a:ext uri="{9D8B030D-6E8A-4147-A177-3AD203B41FA5}">
                        <a16:colId xmlns:a16="http://schemas.microsoft.com/office/drawing/2014/main" val="2297659680"/>
                      </a:ext>
                    </a:extLst>
                  </a:gridCol>
                  <a:gridCol w="202598">
                    <a:extLst>
                      <a:ext uri="{9D8B030D-6E8A-4147-A177-3AD203B41FA5}">
                        <a16:colId xmlns:a16="http://schemas.microsoft.com/office/drawing/2014/main" val="1836321624"/>
                      </a:ext>
                    </a:extLst>
                  </a:gridCol>
                  <a:gridCol w="202598">
                    <a:extLst>
                      <a:ext uri="{9D8B030D-6E8A-4147-A177-3AD203B41FA5}">
                        <a16:colId xmlns:a16="http://schemas.microsoft.com/office/drawing/2014/main" val="2361842150"/>
                      </a:ext>
                    </a:extLst>
                  </a:gridCol>
                  <a:gridCol w="202598">
                    <a:extLst>
                      <a:ext uri="{9D8B030D-6E8A-4147-A177-3AD203B41FA5}">
                        <a16:colId xmlns:a16="http://schemas.microsoft.com/office/drawing/2014/main" val="3331409945"/>
                      </a:ext>
                    </a:extLst>
                  </a:gridCol>
                  <a:gridCol w="202598">
                    <a:extLst>
                      <a:ext uri="{9D8B030D-6E8A-4147-A177-3AD203B41FA5}">
                        <a16:colId xmlns:a16="http://schemas.microsoft.com/office/drawing/2014/main" val="1907623769"/>
                      </a:ext>
                    </a:extLst>
                  </a:gridCol>
                  <a:gridCol w="202598">
                    <a:extLst>
                      <a:ext uri="{9D8B030D-6E8A-4147-A177-3AD203B41FA5}">
                        <a16:colId xmlns:a16="http://schemas.microsoft.com/office/drawing/2014/main" val="665091575"/>
                      </a:ext>
                    </a:extLst>
                  </a:gridCol>
                  <a:gridCol w="202598">
                    <a:extLst>
                      <a:ext uri="{9D8B030D-6E8A-4147-A177-3AD203B41FA5}">
                        <a16:colId xmlns:a16="http://schemas.microsoft.com/office/drawing/2014/main" val="1948326628"/>
                      </a:ext>
                    </a:extLst>
                  </a:gridCol>
                  <a:gridCol w="202598">
                    <a:extLst>
                      <a:ext uri="{9D8B030D-6E8A-4147-A177-3AD203B41FA5}">
                        <a16:colId xmlns:a16="http://schemas.microsoft.com/office/drawing/2014/main" val="2508508268"/>
                      </a:ext>
                    </a:extLst>
                  </a:gridCol>
                  <a:gridCol w="202598">
                    <a:extLst>
                      <a:ext uri="{9D8B030D-6E8A-4147-A177-3AD203B41FA5}">
                        <a16:colId xmlns:a16="http://schemas.microsoft.com/office/drawing/2014/main" val="3216317577"/>
                      </a:ext>
                    </a:extLst>
                  </a:gridCol>
                  <a:gridCol w="202598">
                    <a:extLst>
                      <a:ext uri="{9D8B030D-6E8A-4147-A177-3AD203B41FA5}">
                        <a16:colId xmlns:a16="http://schemas.microsoft.com/office/drawing/2014/main" val="1532207620"/>
                      </a:ext>
                    </a:extLst>
                  </a:gridCol>
                </a:tblGrid>
                <a:tr h="468000">
                  <a:tc>
                    <a:txBody>
                      <a:bodyPr/>
                      <a:lstStyle/>
                      <a:p>
                        <a:pPr algn="r"/>
                        <a:r>
                          <a:rPr lang="et-EE" sz="900">
                            <a:solidFill>
                              <a:schemeClr val="tx1"/>
                            </a:solidFill>
                            <a:latin typeface="+mj-lt"/>
                          </a:rPr>
                          <a:t>Jaan</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Veeb</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Märts</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Apr</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Mai</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Juuni</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Juuli</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Aug</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Sept</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Okt</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Nov</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dirty="0">
                            <a:solidFill>
                              <a:schemeClr val="tx1"/>
                            </a:solidFill>
                            <a:latin typeface="+mj-lt"/>
                          </a:rPr>
                          <a:t>Dets</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4286093746"/>
                    </a:ext>
                  </a:extLst>
                </a:tr>
              </a:tbl>
            </a:graphicData>
          </a:graphic>
        </p:graphicFrame>
        <p:sp>
          <p:nvSpPr>
            <p:cNvPr id="23" name="Freeform 62">
              <a:extLst>
                <a:ext uri="{FF2B5EF4-FFF2-40B4-BE49-F238E27FC236}">
                  <a16:creationId xmlns:a16="http://schemas.microsoft.com/office/drawing/2014/main" id="{B6872177-3DBE-A5D7-021A-8B2ECC4B3A5C}"/>
                </a:ext>
              </a:extLst>
            </p:cNvPr>
            <p:cNvSpPr>
              <a:spLocks noChangeAspect="1" noEditPoints="1"/>
            </p:cNvSpPr>
            <p:nvPr/>
          </p:nvSpPr>
          <p:spPr bwMode="auto">
            <a:xfrm>
              <a:off x="5656374" y="2574208"/>
              <a:ext cx="208485" cy="461357"/>
            </a:xfrm>
            <a:custGeom>
              <a:avLst/>
              <a:gdLst>
                <a:gd name="T0" fmla="*/ 154 w 154"/>
                <a:gd name="T1" fmla="*/ 58 h 399"/>
                <a:gd name="T2" fmla="*/ 143 w 154"/>
                <a:gd name="T3" fmla="*/ 47 h 399"/>
                <a:gd name="T4" fmla="*/ 130 w 154"/>
                <a:gd name="T5" fmla="*/ 47 h 399"/>
                <a:gd name="T6" fmla="*/ 130 w 154"/>
                <a:gd name="T7" fmla="*/ 10 h 399"/>
                <a:gd name="T8" fmla="*/ 120 w 154"/>
                <a:gd name="T9" fmla="*/ 0 h 399"/>
                <a:gd name="T10" fmla="*/ 112 w 154"/>
                <a:gd name="T11" fmla="*/ 0 h 399"/>
                <a:gd name="T12" fmla="*/ 101 w 154"/>
                <a:gd name="T13" fmla="*/ 10 h 399"/>
                <a:gd name="T14" fmla="*/ 101 w 154"/>
                <a:gd name="T15" fmla="*/ 47 h 399"/>
                <a:gd name="T16" fmla="*/ 62 w 154"/>
                <a:gd name="T17" fmla="*/ 47 h 399"/>
                <a:gd name="T18" fmla="*/ 62 w 154"/>
                <a:gd name="T19" fmla="*/ 10 h 399"/>
                <a:gd name="T20" fmla="*/ 52 w 154"/>
                <a:gd name="T21" fmla="*/ 0 h 399"/>
                <a:gd name="T22" fmla="*/ 44 w 154"/>
                <a:gd name="T23" fmla="*/ 0 h 399"/>
                <a:gd name="T24" fmla="*/ 33 w 154"/>
                <a:gd name="T25" fmla="*/ 10 h 399"/>
                <a:gd name="T26" fmla="*/ 33 w 154"/>
                <a:gd name="T27" fmla="*/ 47 h 399"/>
                <a:gd name="T28" fmla="*/ 21 w 154"/>
                <a:gd name="T29" fmla="*/ 47 h 399"/>
                <a:gd name="T30" fmla="*/ 10 w 154"/>
                <a:gd name="T31" fmla="*/ 58 h 399"/>
                <a:gd name="T32" fmla="*/ 10 w 154"/>
                <a:gd name="T33" fmla="*/ 138 h 399"/>
                <a:gd name="T34" fmla="*/ 10 w 154"/>
                <a:gd name="T35" fmla="*/ 142 h 399"/>
                <a:gd name="T36" fmla="*/ 10 w 154"/>
                <a:gd name="T37" fmla="*/ 142 h 399"/>
                <a:gd name="T38" fmla="*/ 12 w 154"/>
                <a:gd name="T39" fmla="*/ 148 h 399"/>
                <a:gd name="T40" fmla="*/ 62 w 154"/>
                <a:gd name="T41" fmla="*/ 195 h 399"/>
                <a:gd name="T42" fmla="*/ 62 w 154"/>
                <a:gd name="T43" fmla="*/ 252 h 399"/>
                <a:gd name="T44" fmla="*/ 62 w 154"/>
                <a:gd name="T45" fmla="*/ 253 h 399"/>
                <a:gd name="T46" fmla="*/ 61 w 154"/>
                <a:gd name="T47" fmla="*/ 261 h 399"/>
                <a:gd name="T48" fmla="*/ 44 w 154"/>
                <a:gd name="T49" fmla="*/ 273 h 399"/>
                <a:gd name="T50" fmla="*/ 6 w 154"/>
                <a:gd name="T51" fmla="*/ 303 h 399"/>
                <a:gd name="T52" fmla="*/ 0 w 154"/>
                <a:gd name="T53" fmla="*/ 344 h 399"/>
                <a:gd name="T54" fmla="*/ 0 w 154"/>
                <a:gd name="T55" fmla="*/ 380 h 399"/>
                <a:gd name="T56" fmla="*/ 20 w 154"/>
                <a:gd name="T57" fmla="*/ 399 h 399"/>
                <a:gd name="T58" fmla="*/ 39 w 154"/>
                <a:gd name="T59" fmla="*/ 380 h 399"/>
                <a:gd name="T60" fmla="*/ 39 w 154"/>
                <a:gd name="T61" fmla="*/ 344 h 399"/>
                <a:gd name="T62" fmla="*/ 52 w 154"/>
                <a:gd name="T63" fmla="*/ 311 h 399"/>
                <a:gd name="T64" fmla="*/ 97 w 154"/>
                <a:gd name="T65" fmla="*/ 276 h 399"/>
                <a:gd name="T66" fmla="*/ 101 w 154"/>
                <a:gd name="T67" fmla="*/ 251 h 399"/>
                <a:gd name="T68" fmla="*/ 101 w 154"/>
                <a:gd name="T69" fmla="*/ 195 h 399"/>
                <a:gd name="T70" fmla="*/ 152 w 154"/>
                <a:gd name="T71" fmla="*/ 148 h 399"/>
                <a:gd name="T72" fmla="*/ 153 w 154"/>
                <a:gd name="T73" fmla="*/ 142 h 399"/>
                <a:gd name="T74" fmla="*/ 153 w 154"/>
                <a:gd name="T75" fmla="*/ 142 h 399"/>
                <a:gd name="T76" fmla="*/ 154 w 154"/>
                <a:gd name="T77" fmla="*/ 138 h 399"/>
                <a:gd name="T78" fmla="*/ 154 w 154"/>
                <a:gd name="T79" fmla="*/ 58 h 399"/>
                <a:gd name="T80" fmla="*/ 72 w 154"/>
                <a:gd name="T81" fmla="*/ 162 h 399"/>
                <a:gd name="T82" fmla="*/ 76 w 154"/>
                <a:gd name="T83" fmla="*/ 128 h 399"/>
                <a:gd name="T84" fmla="*/ 46 w 154"/>
                <a:gd name="T85" fmla="*/ 130 h 399"/>
                <a:gd name="T86" fmla="*/ 107 w 154"/>
                <a:gd name="T87" fmla="*/ 67 h 399"/>
                <a:gd name="T88" fmla="*/ 82 w 154"/>
                <a:gd name="T89" fmla="*/ 111 h 399"/>
                <a:gd name="T90" fmla="*/ 109 w 154"/>
                <a:gd name="T91" fmla="*/ 107 h 399"/>
                <a:gd name="T92" fmla="*/ 72 w 154"/>
                <a:gd name="T93" fmla="*/ 16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4" h="399">
                  <a:moveTo>
                    <a:pt x="154" y="58"/>
                  </a:moveTo>
                  <a:cubicBezTo>
                    <a:pt x="154" y="52"/>
                    <a:pt x="149" y="47"/>
                    <a:pt x="143" y="47"/>
                  </a:cubicBezTo>
                  <a:cubicBezTo>
                    <a:pt x="130" y="47"/>
                    <a:pt x="130" y="47"/>
                    <a:pt x="130" y="47"/>
                  </a:cubicBezTo>
                  <a:cubicBezTo>
                    <a:pt x="130" y="10"/>
                    <a:pt x="130" y="10"/>
                    <a:pt x="130" y="10"/>
                  </a:cubicBezTo>
                  <a:cubicBezTo>
                    <a:pt x="130" y="4"/>
                    <a:pt x="125" y="0"/>
                    <a:pt x="120" y="0"/>
                  </a:cubicBezTo>
                  <a:cubicBezTo>
                    <a:pt x="112" y="0"/>
                    <a:pt x="112" y="0"/>
                    <a:pt x="112" y="0"/>
                  </a:cubicBezTo>
                  <a:cubicBezTo>
                    <a:pt x="106" y="0"/>
                    <a:pt x="101" y="4"/>
                    <a:pt x="101" y="10"/>
                  </a:cubicBezTo>
                  <a:cubicBezTo>
                    <a:pt x="101" y="47"/>
                    <a:pt x="101" y="47"/>
                    <a:pt x="101" y="47"/>
                  </a:cubicBezTo>
                  <a:cubicBezTo>
                    <a:pt x="62" y="47"/>
                    <a:pt x="62" y="47"/>
                    <a:pt x="62" y="47"/>
                  </a:cubicBezTo>
                  <a:cubicBezTo>
                    <a:pt x="62" y="10"/>
                    <a:pt x="62" y="10"/>
                    <a:pt x="62" y="10"/>
                  </a:cubicBezTo>
                  <a:cubicBezTo>
                    <a:pt x="62" y="4"/>
                    <a:pt x="57" y="0"/>
                    <a:pt x="52" y="0"/>
                  </a:cubicBezTo>
                  <a:cubicBezTo>
                    <a:pt x="44" y="0"/>
                    <a:pt x="44" y="0"/>
                    <a:pt x="44" y="0"/>
                  </a:cubicBezTo>
                  <a:cubicBezTo>
                    <a:pt x="38" y="0"/>
                    <a:pt x="33" y="4"/>
                    <a:pt x="33" y="10"/>
                  </a:cubicBezTo>
                  <a:cubicBezTo>
                    <a:pt x="33" y="47"/>
                    <a:pt x="33" y="47"/>
                    <a:pt x="33" y="47"/>
                  </a:cubicBezTo>
                  <a:cubicBezTo>
                    <a:pt x="21" y="47"/>
                    <a:pt x="21" y="47"/>
                    <a:pt x="21" y="47"/>
                  </a:cubicBezTo>
                  <a:cubicBezTo>
                    <a:pt x="15" y="47"/>
                    <a:pt x="10" y="52"/>
                    <a:pt x="10" y="58"/>
                  </a:cubicBezTo>
                  <a:cubicBezTo>
                    <a:pt x="10" y="138"/>
                    <a:pt x="10" y="138"/>
                    <a:pt x="10" y="138"/>
                  </a:cubicBezTo>
                  <a:cubicBezTo>
                    <a:pt x="10" y="140"/>
                    <a:pt x="10" y="141"/>
                    <a:pt x="10" y="142"/>
                  </a:cubicBezTo>
                  <a:cubicBezTo>
                    <a:pt x="10" y="142"/>
                    <a:pt x="10" y="142"/>
                    <a:pt x="10" y="142"/>
                  </a:cubicBezTo>
                  <a:cubicBezTo>
                    <a:pt x="10" y="144"/>
                    <a:pt x="10" y="146"/>
                    <a:pt x="12" y="148"/>
                  </a:cubicBezTo>
                  <a:cubicBezTo>
                    <a:pt x="62" y="195"/>
                    <a:pt x="62" y="195"/>
                    <a:pt x="62" y="195"/>
                  </a:cubicBezTo>
                  <a:cubicBezTo>
                    <a:pt x="62" y="252"/>
                    <a:pt x="62" y="252"/>
                    <a:pt x="62" y="252"/>
                  </a:cubicBezTo>
                  <a:cubicBezTo>
                    <a:pt x="62" y="253"/>
                    <a:pt x="62" y="253"/>
                    <a:pt x="62" y="253"/>
                  </a:cubicBezTo>
                  <a:cubicBezTo>
                    <a:pt x="62" y="253"/>
                    <a:pt x="62" y="257"/>
                    <a:pt x="61" y="261"/>
                  </a:cubicBezTo>
                  <a:cubicBezTo>
                    <a:pt x="59" y="265"/>
                    <a:pt x="56" y="271"/>
                    <a:pt x="44" y="273"/>
                  </a:cubicBezTo>
                  <a:cubicBezTo>
                    <a:pt x="25" y="276"/>
                    <a:pt x="12" y="286"/>
                    <a:pt x="6" y="303"/>
                  </a:cubicBezTo>
                  <a:cubicBezTo>
                    <a:pt x="1" y="315"/>
                    <a:pt x="0" y="329"/>
                    <a:pt x="0" y="344"/>
                  </a:cubicBezTo>
                  <a:cubicBezTo>
                    <a:pt x="0" y="380"/>
                    <a:pt x="0" y="380"/>
                    <a:pt x="0" y="380"/>
                  </a:cubicBezTo>
                  <a:cubicBezTo>
                    <a:pt x="0" y="390"/>
                    <a:pt x="9" y="399"/>
                    <a:pt x="20" y="399"/>
                  </a:cubicBezTo>
                  <a:cubicBezTo>
                    <a:pt x="31" y="399"/>
                    <a:pt x="39" y="390"/>
                    <a:pt x="39" y="380"/>
                  </a:cubicBezTo>
                  <a:cubicBezTo>
                    <a:pt x="39" y="344"/>
                    <a:pt x="39" y="344"/>
                    <a:pt x="39" y="344"/>
                  </a:cubicBezTo>
                  <a:cubicBezTo>
                    <a:pt x="39" y="314"/>
                    <a:pt x="43" y="313"/>
                    <a:pt x="52" y="311"/>
                  </a:cubicBezTo>
                  <a:cubicBezTo>
                    <a:pt x="73" y="307"/>
                    <a:pt x="89" y="295"/>
                    <a:pt x="97" y="276"/>
                  </a:cubicBezTo>
                  <a:cubicBezTo>
                    <a:pt x="102" y="265"/>
                    <a:pt x="102" y="254"/>
                    <a:pt x="101" y="251"/>
                  </a:cubicBezTo>
                  <a:cubicBezTo>
                    <a:pt x="101" y="195"/>
                    <a:pt x="101" y="195"/>
                    <a:pt x="101" y="195"/>
                  </a:cubicBezTo>
                  <a:cubicBezTo>
                    <a:pt x="152" y="148"/>
                    <a:pt x="152" y="148"/>
                    <a:pt x="152" y="148"/>
                  </a:cubicBezTo>
                  <a:cubicBezTo>
                    <a:pt x="154" y="146"/>
                    <a:pt x="154" y="144"/>
                    <a:pt x="153" y="142"/>
                  </a:cubicBezTo>
                  <a:cubicBezTo>
                    <a:pt x="153" y="142"/>
                    <a:pt x="153" y="142"/>
                    <a:pt x="153" y="142"/>
                  </a:cubicBezTo>
                  <a:cubicBezTo>
                    <a:pt x="154" y="141"/>
                    <a:pt x="154" y="140"/>
                    <a:pt x="154" y="138"/>
                  </a:cubicBezTo>
                  <a:cubicBezTo>
                    <a:pt x="154" y="58"/>
                    <a:pt x="154" y="58"/>
                    <a:pt x="154" y="58"/>
                  </a:cubicBezTo>
                  <a:close/>
                  <a:moveTo>
                    <a:pt x="72" y="162"/>
                  </a:moveTo>
                  <a:cubicBezTo>
                    <a:pt x="76" y="128"/>
                    <a:pt x="76" y="128"/>
                    <a:pt x="76" y="128"/>
                  </a:cubicBezTo>
                  <a:cubicBezTo>
                    <a:pt x="46" y="130"/>
                    <a:pt x="46" y="130"/>
                    <a:pt x="46" y="130"/>
                  </a:cubicBezTo>
                  <a:cubicBezTo>
                    <a:pt x="107" y="67"/>
                    <a:pt x="107" y="67"/>
                    <a:pt x="107" y="67"/>
                  </a:cubicBezTo>
                  <a:cubicBezTo>
                    <a:pt x="82" y="111"/>
                    <a:pt x="82" y="111"/>
                    <a:pt x="82" y="111"/>
                  </a:cubicBezTo>
                  <a:cubicBezTo>
                    <a:pt x="109" y="107"/>
                    <a:pt x="109" y="107"/>
                    <a:pt x="109" y="107"/>
                  </a:cubicBezTo>
                  <a:lnTo>
                    <a:pt x="72" y="162"/>
                  </a:lnTo>
                  <a:close/>
                </a:path>
              </a:pathLst>
            </a:custGeom>
            <a:solidFill>
              <a:srgbClr val="A2C02F"/>
            </a:solidFill>
            <a:ln>
              <a:noFill/>
            </a:ln>
          </p:spPr>
          <p:txBody>
            <a:bodyPr vert="horz" wrap="square" lIns="91440" tIns="45720" rIns="91440" bIns="45720" numCol="1" anchor="t" anchorCtr="0" compatLnSpc="1">
              <a:prstTxWarp prst="textNoShape">
                <a:avLst/>
              </a:prstTxWarp>
            </a:bodyPr>
            <a:lstStyle/>
            <a:p>
              <a:endParaRPr lang="et-EE"/>
            </a:p>
          </p:txBody>
        </p:sp>
        <p:graphicFrame>
          <p:nvGraphicFramePr>
            <p:cNvPr id="24" name="Content Placeholder 4">
              <a:extLst>
                <a:ext uri="{FF2B5EF4-FFF2-40B4-BE49-F238E27FC236}">
                  <a16:creationId xmlns:a16="http://schemas.microsoft.com/office/drawing/2014/main" id="{7A326549-9D23-BE06-7FB7-807906D21677}"/>
                </a:ext>
              </a:extLst>
            </p:cNvPr>
            <p:cNvGraphicFramePr>
              <a:graphicFrameLocks/>
            </p:cNvGraphicFramePr>
            <p:nvPr/>
          </p:nvGraphicFramePr>
          <p:xfrm>
            <a:off x="7902119" y="3671914"/>
            <a:ext cx="5014164" cy="468000"/>
          </p:xfrm>
          <a:graphic>
            <a:graphicData uri="http://schemas.openxmlformats.org/drawingml/2006/table">
              <a:tbl>
                <a:tblPr firstRow="1" bandRow="1">
                  <a:tableStyleId>{5C22544A-7EE6-4342-B048-85BDC9FD1C3A}</a:tableStyleId>
                </a:tblPr>
                <a:tblGrid>
                  <a:gridCol w="417847">
                    <a:extLst>
                      <a:ext uri="{9D8B030D-6E8A-4147-A177-3AD203B41FA5}">
                        <a16:colId xmlns:a16="http://schemas.microsoft.com/office/drawing/2014/main" val="2957976364"/>
                      </a:ext>
                    </a:extLst>
                  </a:gridCol>
                  <a:gridCol w="417847">
                    <a:extLst>
                      <a:ext uri="{9D8B030D-6E8A-4147-A177-3AD203B41FA5}">
                        <a16:colId xmlns:a16="http://schemas.microsoft.com/office/drawing/2014/main" val="239186789"/>
                      </a:ext>
                    </a:extLst>
                  </a:gridCol>
                  <a:gridCol w="417847">
                    <a:extLst>
                      <a:ext uri="{9D8B030D-6E8A-4147-A177-3AD203B41FA5}">
                        <a16:colId xmlns:a16="http://schemas.microsoft.com/office/drawing/2014/main" val="2297659680"/>
                      </a:ext>
                    </a:extLst>
                  </a:gridCol>
                  <a:gridCol w="417847">
                    <a:extLst>
                      <a:ext uri="{9D8B030D-6E8A-4147-A177-3AD203B41FA5}">
                        <a16:colId xmlns:a16="http://schemas.microsoft.com/office/drawing/2014/main" val="1836321624"/>
                      </a:ext>
                    </a:extLst>
                  </a:gridCol>
                  <a:gridCol w="417847">
                    <a:extLst>
                      <a:ext uri="{9D8B030D-6E8A-4147-A177-3AD203B41FA5}">
                        <a16:colId xmlns:a16="http://schemas.microsoft.com/office/drawing/2014/main" val="2361842150"/>
                      </a:ext>
                    </a:extLst>
                  </a:gridCol>
                  <a:gridCol w="417847">
                    <a:extLst>
                      <a:ext uri="{9D8B030D-6E8A-4147-A177-3AD203B41FA5}">
                        <a16:colId xmlns:a16="http://schemas.microsoft.com/office/drawing/2014/main" val="3331409945"/>
                      </a:ext>
                    </a:extLst>
                  </a:gridCol>
                  <a:gridCol w="417847">
                    <a:extLst>
                      <a:ext uri="{9D8B030D-6E8A-4147-A177-3AD203B41FA5}">
                        <a16:colId xmlns:a16="http://schemas.microsoft.com/office/drawing/2014/main" val="1907623769"/>
                      </a:ext>
                    </a:extLst>
                  </a:gridCol>
                  <a:gridCol w="417847">
                    <a:extLst>
                      <a:ext uri="{9D8B030D-6E8A-4147-A177-3AD203B41FA5}">
                        <a16:colId xmlns:a16="http://schemas.microsoft.com/office/drawing/2014/main" val="665091575"/>
                      </a:ext>
                    </a:extLst>
                  </a:gridCol>
                  <a:gridCol w="417847">
                    <a:extLst>
                      <a:ext uri="{9D8B030D-6E8A-4147-A177-3AD203B41FA5}">
                        <a16:colId xmlns:a16="http://schemas.microsoft.com/office/drawing/2014/main" val="1948326628"/>
                      </a:ext>
                    </a:extLst>
                  </a:gridCol>
                  <a:gridCol w="417847">
                    <a:extLst>
                      <a:ext uri="{9D8B030D-6E8A-4147-A177-3AD203B41FA5}">
                        <a16:colId xmlns:a16="http://schemas.microsoft.com/office/drawing/2014/main" val="2508508268"/>
                      </a:ext>
                    </a:extLst>
                  </a:gridCol>
                  <a:gridCol w="417847">
                    <a:extLst>
                      <a:ext uri="{9D8B030D-6E8A-4147-A177-3AD203B41FA5}">
                        <a16:colId xmlns:a16="http://schemas.microsoft.com/office/drawing/2014/main" val="3216317577"/>
                      </a:ext>
                    </a:extLst>
                  </a:gridCol>
                  <a:gridCol w="417847">
                    <a:extLst>
                      <a:ext uri="{9D8B030D-6E8A-4147-A177-3AD203B41FA5}">
                        <a16:colId xmlns:a16="http://schemas.microsoft.com/office/drawing/2014/main" val="1532207620"/>
                      </a:ext>
                    </a:extLst>
                  </a:gridCol>
                </a:tblGrid>
                <a:tr h="468000">
                  <a:tc>
                    <a:txBody>
                      <a:bodyPr/>
                      <a:lstStyle/>
                      <a:p>
                        <a:pPr algn="r"/>
                        <a:r>
                          <a:rPr lang="et-EE" sz="900">
                            <a:solidFill>
                              <a:schemeClr val="tx1"/>
                            </a:solidFill>
                            <a:latin typeface="+mj-lt"/>
                          </a:rPr>
                          <a:t>Jaan</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Veeb</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Märts</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Apr</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Mai</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Juuni</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Juuli</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Aug</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Sept</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Okt</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a:solidFill>
                              <a:schemeClr val="tx1"/>
                            </a:solidFill>
                            <a:latin typeface="+mj-lt"/>
                          </a:rPr>
                          <a:t>Nov</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900" dirty="0">
                            <a:solidFill>
                              <a:schemeClr val="tx1"/>
                            </a:solidFill>
                            <a:latin typeface="+mj-lt"/>
                          </a:rPr>
                          <a:t>Dets</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4286093746"/>
                    </a:ext>
                  </a:extLst>
                </a:tr>
              </a:tbl>
            </a:graphicData>
          </a:graphic>
        </p:graphicFrame>
      </p:grpSp>
      <p:sp>
        <p:nvSpPr>
          <p:cNvPr id="25" name="Text Placeholder 5">
            <a:extLst>
              <a:ext uri="{FF2B5EF4-FFF2-40B4-BE49-F238E27FC236}">
                <a16:creationId xmlns:a16="http://schemas.microsoft.com/office/drawing/2014/main" id="{BCA06870-19EE-997E-27B2-2164146A4C08}"/>
              </a:ext>
            </a:extLst>
          </p:cNvPr>
          <p:cNvSpPr txBox="1">
            <a:spLocks/>
          </p:cNvSpPr>
          <p:nvPr/>
        </p:nvSpPr>
        <p:spPr>
          <a:xfrm>
            <a:off x="6256200" y="6274536"/>
            <a:ext cx="5676900" cy="336814"/>
          </a:xfrm>
          <a:prstGeom prst="rect">
            <a:avLst/>
          </a:prstGeom>
        </p:spPr>
        <p:txBody>
          <a:bodyPr vert="horz" lIns="81644" tIns="41475" rIns="82951" bIns="41475" rtlCol="0" anchor="t">
            <a:noAutofit/>
          </a:bodyPr>
          <a:lstStyle>
            <a:lvl1pPr marL="0" indent="0" algn="l" defTabSz="964693" rtl="0" eaLnBrk="1" latinLnBrk="0" hangingPunct="1">
              <a:lnSpc>
                <a:spcPct val="100000"/>
              </a:lnSpc>
              <a:spcBef>
                <a:spcPts val="600"/>
              </a:spcBef>
              <a:spcAft>
                <a:spcPts val="0"/>
              </a:spcAft>
              <a:buFontTx/>
              <a:buNone/>
              <a:tabLst/>
              <a:defRPr sz="1400" b="1" kern="1200">
                <a:solidFill>
                  <a:schemeClr val="tx1"/>
                </a:solidFill>
                <a:latin typeface="+mn-lt"/>
                <a:ea typeface="+mn-ea"/>
                <a:cs typeface="+mn-cs"/>
              </a:defRPr>
            </a:lvl1pPr>
            <a:lvl2pPr marL="268258" indent="-134922" algn="l" defTabSz="964693" rtl="0" eaLnBrk="1" latinLnBrk="0" hangingPunct="1">
              <a:lnSpc>
                <a:spcPct val="100000"/>
              </a:lnSpc>
              <a:spcBef>
                <a:spcPts val="600"/>
              </a:spcBef>
              <a:buFont typeface="System Font Regular"/>
              <a:buChar char="-"/>
              <a:tabLst/>
              <a:defRPr sz="1200" kern="1200">
                <a:solidFill>
                  <a:schemeClr val="tx1"/>
                </a:solidFill>
                <a:latin typeface="+mn-lt"/>
                <a:ea typeface="+mn-ea"/>
                <a:cs typeface="+mn-cs"/>
              </a:defRPr>
            </a:lvl2pPr>
            <a:lvl3pPr marL="403154" indent="-136785" algn="l" defTabSz="964693" rtl="0" eaLnBrk="1" latinLnBrk="0" hangingPunct="1">
              <a:lnSpc>
                <a:spcPct val="100000"/>
              </a:lnSpc>
              <a:spcBef>
                <a:spcPts val="600"/>
              </a:spcBef>
              <a:buFont typeface="System Font Regular"/>
              <a:buChar char="-"/>
              <a:tabLst/>
              <a:defRPr sz="1100" kern="1200">
                <a:solidFill>
                  <a:schemeClr val="tx1"/>
                </a:solidFill>
                <a:latin typeface="+mn-lt"/>
                <a:ea typeface="+mn-ea"/>
                <a:cs typeface="+mn-cs"/>
              </a:defRPr>
            </a:lvl3pPr>
            <a:lvl4pPr marL="1155592" indent="-253975" algn="l" defTabSz="964693" rtl="0" eaLnBrk="1" latinLnBrk="0" hangingPunct="1">
              <a:lnSpc>
                <a:spcPct val="90000"/>
              </a:lnSpc>
              <a:spcBef>
                <a:spcPts val="528"/>
              </a:spcBef>
              <a:buFont typeface="System Font Regular"/>
              <a:buChar char="-"/>
              <a:tabLst/>
              <a:defRPr sz="1101" kern="1200">
                <a:solidFill>
                  <a:schemeClr val="tx1"/>
                </a:solidFill>
                <a:latin typeface="+mn-lt"/>
                <a:ea typeface="+mn-ea"/>
                <a:cs typeface="+mn-cs"/>
              </a:defRPr>
            </a:lvl4pPr>
            <a:lvl5pPr marL="1466712" indent="-253975" algn="l" defTabSz="964693" rtl="0" eaLnBrk="1" latinLnBrk="0" hangingPunct="1">
              <a:lnSpc>
                <a:spcPct val="90000"/>
              </a:lnSpc>
              <a:spcBef>
                <a:spcPts val="528"/>
              </a:spcBef>
              <a:buFont typeface="System Font Regular"/>
              <a:buChar char="-"/>
              <a:tabLst/>
              <a:defRPr sz="1050" kern="1200">
                <a:solidFill>
                  <a:schemeClr val="tx1"/>
                </a:solidFill>
                <a:latin typeface="+mn-lt"/>
                <a:ea typeface="+mn-ea"/>
                <a:cs typeface="+mn-cs"/>
              </a:defRPr>
            </a:lvl5pPr>
            <a:lvl6pPr marL="2652905"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6pPr>
            <a:lvl7pPr marL="3135252"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7pPr>
            <a:lvl8pPr marL="3617598"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8pPr>
            <a:lvl9pPr marL="4099945"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9pPr>
          </a:lstStyle>
          <a:p>
            <a:pPr algn="ctr" defTabSz="875169">
              <a:spcBef>
                <a:spcPts val="544"/>
              </a:spcBef>
              <a:defRPr/>
            </a:pPr>
            <a:r>
              <a:rPr lang="et-EE" sz="1100" b="0" i="1">
                <a:solidFill>
                  <a:srgbClr val="000000"/>
                </a:solidFill>
                <a:latin typeface="+mj-lt"/>
              </a:rPr>
              <a:t>Graafiku eeldused: 2019 tuule- ja päikeseandmed, meretuuliku mudeli Vestas V236-15MW ning maismaa tuuliku mudeli V150-4,2 MW </a:t>
            </a:r>
            <a:r>
              <a:rPr lang="en-US" sz="1100" b="0" i="1" err="1">
                <a:solidFill>
                  <a:srgbClr val="000000"/>
                </a:solidFill>
                <a:latin typeface="+mj-lt"/>
              </a:rPr>
              <a:t>võimsu</a:t>
            </a:r>
            <a:r>
              <a:rPr lang="et-EE" sz="1100" b="0" i="1" err="1">
                <a:solidFill>
                  <a:srgbClr val="000000"/>
                </a:solidFill>
                <a:latin typeface="+mj-lt"/>
              </a:rPr>
              <a:t>skõverad</a:t>
            </a:r>
            <a:r>
              <a:rPr lang="et-EE" sz="1100" b="0" i="1">
                <a:solidFill>
                  <a:srgbClr val="000000"/>
                </a:solidFill>
                <a:latin typeface="+mj-lt"/>
              </a:rPr>
              <a:t>   </a:t>
            </a:r>
            <a:endParaRPr lang="et-EE" sz="1100" b="0" i="1">
              <a:solidFill>
                <a:srgbClr val="000000"/>
              </a:solidFill>
              <a:latin typeface="+mj-lt"/>
              <a:cs typeface="Calibri Light"/>
            </a:endParaRPr>
          </a:p>
        </p:txBody>
      </p:sp>
      <p:graphicFrame>
        <p:nvGraphicFramePr>
          <p:cNvPr id="26" name="Chart 25">
            <a:extLst>
              <a:ext uri="{FF2B5EF4-FFF2-40B4-BE49-F238E27FC236}">
                <a16:creationId xmlns:a16="http://schemas.microsoft.com/office/drawing/2014/main" id="{1A550638-12E1-C32C-69C2-5A7C231E3177}"/>
              </a:ext>
            </a:extLst>
          </p:cNvPr>
          <p:cNvGraphicFramePr>
            <a:graphicFrameLocks/>
          </p:cNvGraphicFramePr>
          <p:nvPr/>
        </p:nvGraphicFramePr>
        <p:xfrm>
          <a:off x="6180056" y="2336986"/>
          <a:ext cx="5829188" cy="3834065"/>
        </p:xfrm>
        <a:graphic>
          <a:graphicData uri="http://schemas.openxmlformats.org/drawingml/2006/chart">
            <c:chart xmlns:c="http://schemas.openxmlformats.org/drawingml/2006/chart" xmlns:r="http://schemas.openxmlformats.org/officeDocument/2006/relationships" r:id="rId6"/>
          </a:graphicData>
        </a:graphic>
      </p:graphicFrame>
      <p:pic>
        <p:nvPicPr>
          <p:cNvPr id="27" name="Picture 26">
            <a:extLst>
              <a:ext uri="{FF2B5EF4-FFF2-40B4-BE49-F238E27FC236}">
                <a16:creationId xmlns:a16="http://schemas.microsoft.com/office/drawing/2014/main" id="{D9A1B91C-BA02-C1C6-99E9-23C9E3FB0576}"/>
              </a:ext>
            </a:extLst>
          </p:cNvPr>
          <p:cNvPicPr>
            <a:picLocks noChangeAspect="1"/>
          </p:cNvPicPr>
          <p:nvPr/>
        </p:nvPicPr>
        <p:blipFill>
          <a:blip r:embed="rId7">
            <a:biLevel thresh="75000"/>
            <a:extLst>
              <a:ext uri="{28A0092B-C50C-407E-A947-70E740481C1C}">
                <a14:useLocalDpi xmlns:a14="http://schemas.microsoft.com/office/drawing/2010/main"/>
              </a:ext>
            </a:extLst>
          </a:blip>
          <a:stretch>
            <a:fillRect/>
          </a:stretch>
        </p:blipFill>
        <p:spPr>
          <a:xfrm>
            <a:off x="9221740" y="4692984"/>
            <a:ext cx="422981" cy="422981"/>
          </a:xfrm>
          <a:prstGeom prst="rect">
            <a:avLst/>
          </a:prstGeom>
        </p:spPr>
      </p:pic>
      <p:grpSp>
        <p:nvGrpSpPr>
          <p:cNvPr id="28" name="Group 27">
            <a:extLst>
              <a:ext uri="{FF2B5EF4-FFF2-40B4-BE49-F238E27FC236}">
                <a16:creationId xmlns:a16="http://schemas.microsoft.com/office/drawing/2014/main" id="{D0178DA3-0B3D-F61A-A172-7959E449B0BB}"/>
              </a:ext>
            </a:extLst>
          </p:cNvPr>
          <p:cNvGrpSpPr/>
          <p:nvPr/>
        </p:nvGrpSpPr>
        <p:grpSpPr>
          <a:xfrm>
            <a:off x="7294754" y="3733293"/>
            <a:ext cx="684930" cy="668076"/>
            <a:chOff x="1680484" y="3408888"/>
            <a:chExt cx="684930" cy="668076"/>
          </a:xfrm>
        </p:grpSpPr>
        <p:pic>
          <p:nvPicPr>
            <p:cNvPr id="29" name="Picture 28" descr="Icon&#10;&#10;Description automatically generated">
              <a:extLst>
                <a:ext uri="{FF2B5EF4-FFF2-40B4-BE49-F238E27FC236}">
                  <a16:creationId xmlns:a16="http://schemas.microsoft.com/office/drawing/2014/main" id="{3D1E667E-7CD2-4CF8-B874-31667A4C2933}"/>
                </a:ext>
              </a:extLst>
            </p:cNvPr>
            <p:cNvPicPr>
              <a:picLocks noChangeAspect="1"/>
            </p:cNvPicPr>
            <p:nvPr/>
          </p:nvPicPr>
          <p:blipFill>
            <a:blip r:embed="rId8"/>
            <a:stretch>
              <a:fillRect/>
            </a:stretch>
          </p:blipFill>
          <p:spPr>
            <a:xfrm>
              <a:off x="1680484" y="3408888"/>
              <a:ext cx="422981" cy="501387"/>
            </a:xfrm>
            <a:prstGeom prst="rect">
              <a:avLst/>
            </a:prstGeom>
          </p:spPr>
        </p:pic>
        <p:pic>
          <p:nvPicPr>
            <p:cNvPr id="30" name="Picture 29" descr="Icon&#10;&#10;Description automatically generated">
              <a:extLst>
                <a:ext uri="{FF2B5EF4-FFF2-40B4-BE49-F238E27FC236}">
                  <a16:creationId xmlns:a16="http://schemas.microsoft.com/office/drawing/2014/main" id="{78B6380E-1832-8493-7707-FFA93A03016A}"/>
                </a:ext>
              </a:extLst>
            </p:cNvPr>
            <p:cNvPicPr>
              <a:picLocks noChangeAspect="1"/>
            </p:cNvPicPr>
            <p:nvPr/>
          </p:nvPicPr>
          <p:blipFill>
            <a:blip r:embed="rId8"/>
            <a:stretch>
              <a:fillRect/>
            </a:stretch>
          </p:blipFill>
          <p:spPr>
            <a:xfrm>
              <a:off x="1942433" y="3575577"/>
              <a:ext cx="422981" cy="501387"/>
            </a:xfrm>
            <a:prstGeom prst="rect">
              <a:avLst/>
            </a:prstGeom>
          </p:spPr>
        </p:pic>
      </p:grpSp>
      <p:grpSp>
        <p:nvGrpSpPr>
          <p:cNvPr id="31" name="Group 30">
            <a:extLst>
              <a:ext uri="{FF2B5EF4-FFF2-40B4-BE49-F238E27FC236}">
                <a16:creationId xmlns:a16="http://schemas.microsoft.com/office/drawing/2014/main" id="{14C88C79-243D-F365-A99E-FDDE6BFC5399}"/>
              </a:ext>
            </a:extLst>
          </p:cNvPr>
          <p:cNvGrpSpPr/>
          <p:nvPr/>
        </p:nvGrpSpPr>
        <p:grpSpPr>
          <a:xfrm>
            <a:off x="8304514" y="2663643"/>
            <a:ext cx="1128717" cy="847552"/>
            <a:chOff x="1601975" y="1958648"/>
            <a:chExt cx="1128717" cy="847552"/>
          </a:xfrm>
        </p:grpSpPr>
        <p:pic>
          <p:nvPicPr>
            <p:cNvPr id="32" name="Picture 31" descr="Icon&#10;&#10;Description automatically generated">
              <a:extLst>
                <a:ext uri="{FF2B5EF4-FFF2-40B4-BE49-F238E27FC236}">
                  <a16:creationId xmlns:a16="http://schemas.microsoft.com/office/drawing/2014/main" id="{D6DAA621-5278-6242-FC24-F7018FBF335B}"/>
                </a:ext>
              </a:extLst>
            </p:cNvPr>
            <p:cNvPicPr>
              <a:picLocks noChangeAspect="1"/>
            </p:cNvPicPr>
            <p:nvPr/>
          </p:nvPicPr>
          <p:blipFill>
            <a:blip r:embed="rId8"/>
            <a:stretch>
              <a:fillRect/>
            </a:stretch>
          </p:blipFill>
          <p:spPr>
            <a:xfrm>
              <a:off x="1680484" y="2060563"/>
              <a:ext cx="422981" cy="501387"/>
            </a:xfrm>
            <a:prstGeom prst="rect">
              <a:avLst/>
            </a:prstGeom>
          </p:spPr>
        </p:pic>
        <p:pic>
          <p:nvPicPr>
            <p:cNvPr id="33" name="Picture 32" descr="Icon&#10;&#10;Description automatically generated">
              <a:extLst>
                <a:ext uri="{FF2B5EF4-FFF2-40B4-BE49-F238E27FC236}">
                  <a16:creationId xmlns:a16="http://schemas.microsoft.com/office/drawing/2014/main" id="{B055119A-2DEC-5094-57F1-BD0B365483C3}"/>
                </a:ext>
              </a:extLst>
            </p:cNvPr>
            <p:cNvPicPr>
              <a:picLocks noChangeAspect="1"/>
            </p:cNvPicPr>
            <p:nvPr/>
          </p:nvPicPr>
          <p:blipFill>
            <a:blip r:embed="rId8"/>
            <a:stretch>
              <a:fillRect/>
            </a:stretch>
          </p:blipFill>
          <p:spPr>
            <a:xfrm>
              <a:off x="2009096" y="1958648"/>
              <a:ext cx="422981" cy="501387"/>
            </a:xfrm>
            <a:prstGeom prst="rect">
              <a:avLst/>
            </a:prstGeom>
          </p:spPr>
        </p:pic>
        <p:pic>
          <p:nvPicPr>
            <p:cNvPr id="34" name="Picture 33" descr="A black background with wavy lines&#10;&#10;Description automatically generated">
              <a:extLst>
                <a:ext uri="{FF2B5EF4-FFF2-40B4-BE49-F238E27FC236}">
                  <a16:creationId xmlns:a16="http://schemas.microsoft.com/office/drawing/2014/main" id="{62A9E1F3-EA5C-49D1-B905-C3D9119A531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01975" y="2539915"/>
              <a:ext cx="1128717" cy="266285"/>
            </a:xfrm>
            <a:prstGeom prst="rect">
              <a:avLst/>
            </a:prstGeom>
          </p:spPr>
        </p:pic>
      </p:grpSp>
      <p:graphicFrame>
        <p:nvGraphicFramePr>
          <p:cNvPr id="35" name="Content Placeholder 4">
            <a:extLst>
              <a:ext uri="{FF2B5EF4-FFF2-40B4-BE49-F238E27FC236}">
                <a16:creationId xmlns:a16="http://schemas.microsoft.com/office/drawing/2014/main" id="{DACD55BF-412C-FEEB-5DB4-5225FE717DE7}"/>
              </a:ext>
            </a:extLst>
          </p:cNvPr>
          <p:cNvGraphicFramePr>
            <a:graphicFrameLocks/>
          </p:cNvGraphicFramePr>
          <p:nvPr/>
        </p:nvGraphicFramePr>
        <p:xfrm>
          <a:off x="6842974" y="5430697"/>
          <a:ext cx="5014164" cy="458340"/>
        </p:xfrm>
        <a:graphic>
          <a:graphicData uri="http://schemas.openxmlformats.org/drawingml/2006/table">
            <a:tbl>
              <a:tblPr firstRow="1" bandRow="1">
                <a:tableStyleId>{5C22544A-7EE6-4342-B048-85BDC9FD1C3A}</a:tableStyleId>
              </a:tblPr>
              <a:tblGrid>
                <a:gridCol w="417847">
                  <a:extLst>
                    <a:ext uri="{9D8B030D-6E8A-4147-A177-3AD203B41FA5}">
                      <a16:colId xmlns:a16="http://schemas.microsoft.com/office/drawing/2014/main" val="2957976364"/>
                    </a:ext>
                  </a:extLst>
                </a:gridCol>
                <a:gridCol w="417847">
                  <a:extLst>
                    <a:ext uri="{9D8B030D-6E8A-4147-A177-3AD203B41FA5}">
                      <a16:colId xmlns:a16="http://schemas.microsoft.com/office/drawing/2014/main" val="239186789"/>
                    </a:ext>
                  </a:extLst>
                </a:gridCol>
                <a:gridCol w="417847">
                  <a:extLst>
                    <a:ext uri="{9D8B030D-6E8A-4147-A177-3AD203B41FA5}">
                      <a16:colId xmlns:a16="http://schemas.microsoft.com/office/drawing/2014/main" val="2297659680"/>
                    </a:ext>
                  </a:extLst>
                </a:gridCol>
                <a:gridCol w="417847">
                  <a:extLst>
                    <a:ext uri="{9D8B030D-6E8A-4147-A177-3AD203B41FA5}">
                      <a16:colId xmlns:a16="http://schemas.microsoft.com/office/drawing/2014/main" val="1836321624"/>
                    </a:ext>
                  </a:extLst>
                </a:gridCol>
                <a:gridCol w="417847">
                  <a:extLst>
                    <a:ext uri="{9D8B030D-6E8A-4147-A177-3AD203B41FA5}">
                      <a16:colId xmlns:a16="http://schemas.microsoft.com/office/drawing/2014/main" val="2361842150"/>
                    </a:ext>
                  </a:extLst>
                </a:gridCol>
                <a:gridCol w="417847">
                  <a:extLst>
                    <a:ext uri="{9D8B030D-6E8A-4147-A177-3AD203B41FA5}">
                      <a16:colId xmlns:a16="http://schemas.microsoft.com/office/drawing/2014/main" val="3331409945"/>
                    </a:ext>
                  </a:extLst>
                </a:gridCol>
                <a:gridCol w="417847">
                  <a:extLst>
                    <a:ext uri="{9D8B030D-6E8A-4147-A177-3AD203B41FA5}">
                      <a16:colId xmlns:a16="http://schemas.microsoft.com/office/drawing/2014/main" val="1907623769"/>
                    </a:ext>
                  </a:extLst>
                </a:gridCol>
                <a:gridCol w="417847">
                  <a:extLst>
                    <a:ext uri="{9D8B030D-6E8A-4147-A177-3AD203B41FA5}">
                      <a16:colId xmlns:a16="http://schemas.microsoft.com/office/drawing/2014/main" val="665091575"/>
                    </a:ext>
                  </a:extLst>
                </a:gridCol>
                <a:gridCol w="417847">
                  <a:extLst>
                    <a:ext uri="{9D8B030D-6E8A-4147-A177-3AD203B41FA5}">
                      <a16:colId xmlns:a16="http://schemas.microsoft.com/office/drawing/2014/main" val="1948326628"/>
                    </a:ext>
                  </a:extLst>
                </a:gridCol>
                <a:gridCol w="417847">
                  <a:extLst>
                    <a:ext uri="{9D8B030D-6E8A-4147-A177-3AD203B41FA5}">
                      <a16:colId xmlns:a16="http://schemas.microsoft.com/office/drawing/2014/main" val="2508508268"/>
                    </a:ext>
                  </a:extLst>
                </a:gridCol>
                <a:gridCol w="417847">
                  <a:extLst>
                    <a:ext uri="{9D8B030D-6E8A-4147-A177-3AD203B41FA5}">
                      <a16:colId xmlns:a16="http://schemas.microsoft.com/office/drawing/2014/main" val="3216317577"/>
                    </a:ext>
                  </a:extLst>
                </a:gridCol>
                <a:gridCol w="417847">
                  <a:extLst>
                    <a:ext uri="{9D8B030D-6E8A-4147-A177-3AD203B41FA5}">
                      <a16:colId xmlns:a16="http://schemas.microsoft.com/office/drawing/2014/main" val="1532207620"/>
                    </a:ext>
                  </a:extLst>
                </a:gridCol>
              </a:tblGrid>
              <a:tr h="458340">
                <a:tc>
                  <a:txBody>
                    <a:bodyPr/>
                    <a:lstStyle/>
                    <a:p>
                      <a:pPr algn="r"/>
                      <a:r>
                        <a:rPr lang="et-EE" sz="1200" b="0">
                          <a:solidFill>
                            <a:schemeClr val="tx1"/>
                          </a:solidFill>
                          <a:latin typeface="+mn-lt"/>
                        </a:rPr>
                        <a:t>Jaan</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1200" b="0">
                          <a:solidFill>
                            <a:schemeClr val="tx1"/>
                          </a:solidFill>
                          <a:latin typeface="+mn-lt"/>
                        </a:rPr>
                        <a:t>Veeb</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1200" b="0">
                          <a:solidFill>
                            <a:schemeClr val="tx1"/>
                          </a:solidFill>
                          <a:latin typeface="+mn-lt"/>
                        </a:rPr>
                        <a:t>Märts</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1200" b="0">
                          <a:solidFill>
                            <a:schemeClr val="tx1"/>
                          </a:solidFill>
                          <a:latin typeface="+mn-lt"/>
                        </a:rPr>
                        <a:t>Apr</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1200" b="0">
                          <a:solidFill>
                            <a:schemeClr val="tx1"/>
                          </a:solidFill>
                          <a:latin typeface="+mn-lt"/>
                        </a:rPr>
                        <a:t>Mai</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1200" b="0">
                          <a:solidFill>
                            <a:schemeClr val="tx1"/>
                          </a:solidFill>
                          <a:latin typeface="+mn-lt"/>
                        </a:rPr>
                        <a:t>Juuni</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1200" b="0">
                          <a:solidFill>
                            <a:schemeClr val="tx1"/>
                          </a:solidFill>
                          <a:latin typeface="+mn-lt"/>
                        </a:rPr>
                        <a:t>Juuli</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1200" b="0">
                          <a:solidFill>
                            <a:schemeClr val="tx1"/>
                          </a:solidFill>
                          <a:latin typeface="+mn-lt"/>
                        </a:rPr>
                        <a:t>Aug</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1200" b="0">
                          <a:solidFill>
                            <a:schemeClr val="tx1"/>
                          </a:solidFill>
                          <a:latin typeface="+mn-lt"/>
                        </a:rPr>
                        <a:t>Sept</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1200" b="0">
                          <a:solidFill>
                            <a:schemeClr val="tx1"/>
                          </a:solidFill>
                          <a:latin typeface="+mn-lt"/>
                        </a:rPr>
                        <a:t>Okt</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1200" b="0">
                          <a:solidFill>
                            <a:schemeClr val="tx1"/>
                          </a:solidFill>
                          <a:latin typeface="+mn-lt"/>
                        </a:rPr>
                        <a:t>Nov</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tc>
                  <a:txBody>
                    <a:bodyPr/>
                    <a:lstStyle/>
                    <a:p>
                      <a:pPr algn="r"/>
                      <a:r>
                        <a:rPr lang="et-EE" sz="1200" b="0" dirty="0">
                          <a:solidFill>
                            <a:schemeClr val="tx1"/>
                          </a:solidFill>
                          <a:latin typeface="+mn-lt"/>
                        </a:rPr>
                        <a:t>Dets</a:t>
                      </a:r>
                    </a:p>
                  </a:txBody>
                  <a:tcPr marL="45720" marR="4572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5F5F5"/>
                    </a:solidFill>
                  </a:tcPr>
                </a:tc>
                <a:extLst>
                  <a:ext uri="{0D108BD9-81ED-4DB2-BD59-A6C34878D82A}">
                    <a16:rowId xmlns:a16="http://schemas.microsoft.com/office/drawing/2014/main" val="4286093746"/>
                  </a:ext>
                </a:extLst>
              </a:tr>
            </a:tbl>
          </a:graphicData>
        </a:graphic>
      </p:graphicFrame>
    </p:spTree>
    <p:extLst>
      <p:ext uri="{BB962C8B-B14F-4D97-AF65-F5344CB8AC3E}">
        <p14:creationId xmlns:p14="http://schemas.microsoft.com/office/powerpoint/2010/main" val="23968836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lt 1">
            <a:extLst>
              <a:ext uri="{FF2B5EF4-FFF2-40B4-BE49-F238E27FC236}">
                <a16:creationId xmlns:a16="http://schemas.microsoft.com/office/drawing/2014/main" id="{1A12FB82-2D75-0CFE-6C8F-528A8CFC3A66}"/>
              </a:ext>
            </a:extLst>
          </p:cNvPr>
          <p:cNvPicPr>
            <a:picLocks noChangeAspect="1"/>
          </p:cNvPicPr>
          <p:nvPr/>
        </p:nvPicPr>
        <p:blipFill>
          <a:blip r:embed="rId2"/>
          <a:stretch>
            <a:fillRect/>
          </a:stretch>
        </p:blipFill>
        <p:spPr>
          <a:xfrm>
            <a:off x="786862" y="5741821"/>
            <a:ext cx="1972014" cy="744983"/>
          </a:xfrm>
          <a:prstGeom prst="rect">
            <a:avLst/>
          </a:prstGeom>
        </p:spPr>
      </p:pic>
      <p:sp>
        <p:nvSpPr>
          <p:cNvPr id="4" name="Pealkiri 1">
            <a:extLst>
              <a:ext uri="{FF2B5EF4-FFF2-40B4-BE49-F238E27FC236}">
                <a16:creationId xmlns:a16="http://schemas.microsoft.com/office/drawing/2014/main" id="{35031071-04CB-181D-7C9F-087CE8A12FD5}"/>
              </a:ext>
            </a:extLst>
          </p:cNvPr>
          <p:cNvSpPr txBox="1">
            <a:spLocks/>
          </p:cNvSpPr>
          <p:nvPr/>
        </p:nvSpPr>
        <p:spPr>
          <a:xfrm>
            <a:off x="405697" y="468938"/>
            <a:ext cx="9025138" cy="533004"/>
          </a:xfrm>
          <a:prstGeom prst="rect">
            <a:avLst/>
          </a:prstGeom>
        </p:spPr>
        <p:txBody>
          <a:bodyPr>
            <a:normAutofit fontScale="8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t-EE"/>
              <a:t>Tasakaalus tootmisportfell on soodsaim</a:t>
            </a:r>
          </a:p>
        </p:txBody>
      </p:sp>
      <p:sp>
        <p:nvSpPr>
          <p:cNvPr id="5" name="TextBox 4">
            <a:extLst>
              <a:ext uri="{FF2B5EF4-FFF2-40B4-BE49-F238E27FC236}">
                <a16:creationId xmlns:a16="http://schemas.microsoft.com/office/drawing/2014/main" id="{28A8232F-976D-0A28-01C6-79125CB00DB2}"/>
              </a:ext>
            </a:extLst>
          </p:cNvPr>
          <p:cNvSpPr txBox="1"/>
          <p:nvPr/>
        </p:nvSpPr>
        <p:spPr>
          <a:xfrm>
            <a:off x="151873" y="4378099"/>
            <a:ext cx="6378097" cy="1049652"/>
          </a:xfrm>
          <a:prstGeom prst="rect">
            <a:avLst/>
          </a:prstGeom>
        </p:spPr>
        <p:txBody>
          <a:bodyPr vert="horz" wrap="square" lIns="82951" tIns="41475" rIns="82951" bIns="41475" rtlCol="0" anchor="t">
            <a:normAutofit/>
          </a:bodyPr>
          <a:lstStyle/>
          <a:p>
            <a:pPr algn="l"/>
            <a:r>
              <a:rPr lang="et-EE" sz="1000" i="1"/>
              <a:t>Allikas: Aurora Research</a:t>
            </a:r>
          </a:p>
          <a:p>
            <a:pPr algn="l"/>
            <a:r>
              <a:rPr lang="et-EE" sz="1000" b="1" i="1"/>
              <a:t>Stsenaariumite eeldused:</a:t>
            </a:r>
            <a:endParaRPr lang="et-EE" sz="1000" b="1" i="1">
              <a:cs typeface="Calibri"/>
            </a:endParaRPr>
          </a:p>
          <a:p>
            <a:r>
              <a:rPr lang="et-EE" sz="1000" i="1" err="1"/>
              <a:t>Hybrid</a:t>
            </a:r>
            <a:r>
              <a:rPr lang="et-EE" sz="1000" i="1"/>
              <a:t>: 2480 MW päikeseparke, 2680 MW maismaa tuuleparke, 0 MW meretuuleparke</a:t>
            </a:r>
            <a:endParaRPr lang="et-EE" sz="1000" i="1">
              <a:cs typeface="Calibri"/>
            </a:endParaRPr>
          </a:p>
          <a:p>
            <a:r>
              <a:rPr lang="et-EE" sz="1000" i="1"/>
              <a:t>Offshore: 1480 MW päikeseparke, 680 MW maismaa tuuleparke, 1700 MW meretuuleparke</a:t>
            </a:r>
          </a:p>
          <a:p>
            <a:r>
              <a:rPr lang="et-EE" sz="1000" i="1" err="1"/>
              <a:t>Combined</a:t>
            </a:r>
            <a:r>
              <a:rPr lang="et-EE" sz="1000" i="1"/>
              <a:t>: 1480 MW päikeseparke, 2000 MW maismaa tuuleparke, 1000 MW meretuuleparke</a:t>
            </a:r>
            <a:endParaRPr lang="et-EE" sz="1000" i="1">
              <a:cs typeface="Calibri"/>
            </a:endParaRPr>
          </a:p>
        </p:txBody>
      </p:sp>
      <p:sp>
        <p:nvSpPr>
          <p:cNvPr id="6" name="TextBox 5">
            <a:extLst>
              <a:ext uri="{FF2B5EF4-FFF2-40B4-BE49-F238E27FC236}">
                <a16:creationId xmlns:a16="http://schemas.microsoft.com/office/drawing/2014/main" id="{B1A86BC5-F201-0FE8-5F70-324BE0A61D30}"/>
              </a:ext>
            </a:extLst>
          </p:cNvPr>
          <p:cNvSpPr txBox="1"/>
          <p:nvPr/>
        </p:nvSpPr>
        <p:spPr>
          <a:xfrm>
            <a:off x="6664959" y="1389313"/>
            <a:ext cx="5207001" cy="5134739"/>
          </a:xfrm>
          <a:prstGeom prst="rect">
            <a:avLst/>
          </a:prstGeom>
          <a:noFill/>
        </p:spPr>
        <p:txBody>
          <a:bodyPr wrap="square" lIns="0" tIns="0" rIns="0" bIns="0" rtlCol="0" anchor="t">
            <a:spAutoFit/>
          </a:bodyPr>
          <a:lstStyle/>
          <a:p>
            <a:pPr defTabSz="457200">
              <a:buClr>
                <a:srgbClr val="A2C02F"/>
              </a:buClr>
            </a:pPr>
            <a:r>
              <a:rPr lang="en-US" sz="2000" b="1" err="1">
                <a:solidFill>
                  <a:srgbClr val="000000"/>
                </a:solidFill>
                <a:latin typeface="Calibri Light"/>
                <a:ea typeface="Times New Roman" panose="02020603050405020304" pitchFamily="18" charset="0"/>
                <a:cs typeface="Calibri Light"/>
              </a:rPr>
              <a:t>Välisekspertide</a:t>
            </a:r>
            <a:r>
              <a:rPr lang="en-US" sz="2000" b="1">
                <a:solidFill>
                  <a:srgbClr val="000000"/>
                </a:solidFill>
                <a:latin typeface="Calibri Light"/>
                <a:ea typeface="Times New Roman" panose="02020603050405020304" pitchFamily="18" charset="0"/>
                <a:cs typeface="Calibri Light"/>
              </a:rPr>
              <a:t> </a:t>
            </a:r>
            <a:r>
              <a:rPr lang="en-US" sz="2000" b="1" err="1">
                <a:solidFill>
                  <a:srgbClr val="000000"/>
                </a:solidFill>
                <a:latin typeface="Calibri Light"/>
                <a:ea typeface="Times New Roman" panose="02020603050405020304" pitchFamily="18" charset="0"/>
                <a:cs typeface="Calibri Light"/>
              </a:rPr>
              <a:t>prognoos</a:t>
            </a:r>
            <a:endParaRPr lang="en-US" sz="2000" b="1">
              <a:solidFill>
                <a:srgbClr val="000000"/>
              </a:solidFill>
              <a:latin typeface="Calibri Light"/>
              <a:ea typeface="Times New Roman" panose="02020603050405020304" pitchFamily="18" charset="0"/>
              <a:cs typeface="Calibri Light"/>
            </a:endParaRPr>
          </a:p>
          <a:p>
            <a:pPr defTabSz="457200">
              <a:buClr>
                <a:srgbClr val="A2C02F"/>
              </a:buClr>
            </a:pPr>
            <a:endParaRPr lang="en-US" sz="2000" b="1">
              <a:solidFill>
                <a:srgbClr val="000000"/>
              </a:solidFill>
              <a:latin typeface="Calibri Light"/>
              <a:ea typeface="Times New Roman" panose="02020603050405020304" pitchFamily="18" charset="0"/>
              <a:cs typeface="Calibri Light"/>
            </a:endParaRPr>
          </a:p>
          <a:p>
            <a:pPr defTabSz="457200">
              <a:buClr>
                <a:srgbClr val="A2C02F"/>
              </a:buClr>
            </a:pPr>
            <a:r>
              <a:rPr lang="en-US" b="1" err="1">
                <a:solidFill>
                  <a:srgbClr val="000000"/>
                </a:solidFill>
                <a:latin typeface="Calibri Light"/>
                <a:ea typeface="Times New Roman" panose="02020603050405020304" pitchFamily="18" charset="0"/>
                <a:cs typeface="Calibri Light"/>
              </a:rPr>
              <a:t>Eesti</a:t>
            </a:r>
            <a:r>
              <a:rPr lang="en-US" b="1">
                <a:solidFill>
                  <a:srgbClr val="000000"/>
                </a:solidFill>
                <a:latin typeface="Calibri Light"/>
                <a:ea typeface="Times New Roman" panose="02020603050405020304" pitchFamily="18" charset="0"/>
                <a:cs typeface="Calibri Light"/>
              </a:rPr>
              <a:t> </a:t>
            </a:r>
            <a:r>
              <a:rPr lang="en-US" b="1" err="1">
                <a:solidFill>
                  <a:srgbClr val="000000"/>
                </a:solidFill>
                <a:latin typeface="Calibri Light"/>
                <a:ea typeface="Times New Roman" panose="02020603050405020304" pitchFamily="18" charset="0"/>
                <a:cs typeface="Calibri Light"/>
              </a:rPr>
              <a:t>keskmine</a:t>
            </a:r>
            <a:r>
              <a:rPr lang="en-US" b="1">
                <a:solidFill>
                  <a:srgbClr val="000000"/>
                </a:solidFill>
                <a:latin typeface="Calibri Light"/>
                <a:ea typeface="Times New Roman" panose="02020603050405020304" pitchFamily="18" charset="0"/>
                <a:cs typeface="Calibri Light"/>
              </a:rPr>
              <a:t> </a:t>
            </a:r>
            <a:r>
              <a:rPr lang="en-US" b="1" err="1">
                <a:solidFill>
                  <a:srgbClr val="000000"/>
                </a:solidFill>
                <a:latin typeface="Calibri Light"/>
                <a:ea typeface="Times New Roman" panose="02020603050405020304" pitchFamily="18" charset="0"/>
                <a:cs typeface="Calibri Light"/>
              </a:rPr>
              <a:t>elektrihind</a:t>
            </a:r>
            <a:r>
              <a:rPr lang="en-US" b="1">
                <a:solidFill>
                  <a:srgbClr val="000000"/>
                </a:solidFill>
                <a:latin typeface="Calibri Light"/>
                <a:ea typeface="Times New Roman" panose="02020603050405020304" pitchFamily="18" charset="0"/>
                <a:cs typeface="Calibri Light"/>
              </a:rPr>
              <a:t> 2030. </a:t>
            </a:r>
            <a:r>
              <a:rPr lang="en-US" b="1" err="1">
                <a:solidFill>
                  <a:srgbClr val="000000"/>
                </a:solidFill>
                <a:latin typeface="Calibri Light"/>
                <a:ea typeface="Times New Roman" panose="02020603050405020304" pitchFamily="18" charset="0"/>
                <a:cs typeface="Calibri Light"/>
              </a:rPr>
              <a:t>aastal</a:t>
            </a:r>
            <a:r>
              <a:rPr lang="en-US" b="1">
                <a:solidFill>
                  <a:srgbClr val="000000"/>
                </a:solidFill>
                <a:latin typeface="Calibri Light"/>
                <a:ea typeface="Times New Roman" panose="02020603050405020304" pitchFamily="18" charset="0"/>
                <a:cs typeface="Calibri Light"/>
              </a:rPr>
              <a:t> </a:t>
            </a:r>
            <a:r>
              <a:rPr lang="en-US" b="1" err="1">
                <a:solidFill>
                  <a:srgbClr val="000000"/>
                </a:solidFill>
                <a:latin typeface="Calibri Light"/>
                <a:ea typeface="Times New Roman" panose="02020603050405020304" pitchFamily="18" charset="0"/>
                <a:cs typeface="Calibri Light"/>
              </a:rPr>
              <a:t>erinevate</a:t>
            </a:r>
            <a:r>
              <a:rPr lang="en-US" b="1">
                <a:solidFill>
                  <a:srgbClr val="000000"/>
                </a:solidFill>
                <a:latin typeface="Calibri Light"/>
                <a:ea typeface="Times New Roman" panose="02020603050405020304" pitchFamily="18" charset="0"/>
                <a:cs typeface="Calibri Light"/>
              </a:rPr>
              <a:t> </a:t>
            </a:r>
            <a:r>
              <a:rPr lang="en-US" b="1" err="1">
                <a:solidFill>
                  <a:srgbClr val="000000"/>
                </a:solidFill>
                <a:latin typeface="Calibri Light"/>
                <a:ea typeface="Times New Roman" panose="02020603050405020304" pitchFamily="18" charset="0"/>
                <a:cs typeface="Calibri Light"/>
              </a:rPr>
              <a:t>taastuvelektri</a:t>
            </a:r>
            <a:r>
              <a:rPr lang="en-US" b="1">
                <a:solidFill>
                  <a:srgbClr val="000000"/>
                </a:solidFill>
                <a:latin typeface="Calibri Light"/>
                <a:ea typeface="Times New Roman" panose="02020603050405020304" pitchFamily="18" charset="0"/>
                <a:cs typeface="Calibri Light"/>
              </a:rPr>
              <a:t> </a:t>
            </a:r>
            <a:r>
              <a:rPr lang="en-US" b="1" err="1">
                <a:solidFill>
                  <a:srgbClr val="000000"/>
                </a:solidFill>
                <a:latin typeface="Calibri Light"/>
                <a:ea typeface="Times New Roman" panose="02020603050405020304" pitchFamily="18" charset="0"/>
                <a:cs typeface="Calibri Light"/>
              </a:rPr>
              <a:t>portfellide</a:t>
            </a:r>
            <a:r>
              <a:rPr lang="en-US" b="1">
                <a:solidFill>
                  <a:srgbClr val="000000"/>
                </a:solidFill>
                <a:latin typeface="Calibri Light"/>
                <a:ea typeface="Times New Roman" panose="02020603050405020304" pitchFamily="18" charset="0"/>
                <a:cs typeface="Calibri Light"/>
              </a:rPr>
              <a:t> </a:t>
            </a:r>
            <a:r>
              <a:rPr lang="en-US" b="1" err="1">
                <a:solidFill>
                  <a:srgbClr val="000000"/>
                </a:solidFill>
                <a:latin typeface="Calibri Light"/>
                <a:ea typeface="Times New Roman" panose="02020603050405020304" pitchFamily="18" charset="0"/>
                <a:cs typeface="Calibri Light"/>
              </a:rPr>
              <a:t>puhul</a:t>
            </a:r>
            <a:r>
              <a:rPr lang="en-US" b="1">
                <a:solidFill>
                  <a:srgbClr val="000000"/>
                </a:solidFill>
                <a:latin typeface="Calibri Light"/>
                <a:ea typeface="Times New Roman" panose="02020603050405020304" pitchFamily="18" charset="0"/>
                <a:cs typeface="Calibri Light"/>
              </a:rPr>
              <a:t>:</a:t>
            </a:r>
            <a:br>
              <a:rPr lang="en-US">
                <a:latin typeface="Calibri Light" panose="020F0302020204030204" pitchFamily="34" charset="0"/>
                <a:ea typeface="Times New Roman" panose="02020603050405020304" pitchFamily="18" charset="0"/>
                <a:cs typeface="Calibri Light" panose="020F0302020204030204" pitchFamily="34" charset="0"/>
              </a:rPr>
            </a:br>
            <a:endParaRPr lang="en-US" sz="700">
              <a:solidFill>
                <a:srgbClr val="000000"/>
              </a:solidFill>
              <a:latin typeface="Calibri Light" panose="020F0302020204030204" pitchFamily="34" charset="0"/>
              <a:ea typeface="Times New Roman" panose="02020603050405020304" pitchFamily="18" charset="0"/>
              <a:cs typeface="Calibri Light" panose="020F0302020204030204" pitchFamily="34" charset="0"/>
            </a:endParaRPr>
          </a:p>
          <a:p>
            <a:pPr marL="285750" indent="-285750" defTabSz="457200">
              <a:spcAft>
                <a:spcPts val="1000"/>
              </a:spcAft>
              <a:buFont typeface="Arial" panose="020B0604020202020204" pitchFamily="34" charset="0"/>
              <a:buChar char="•"/>
            </a:pPr>
            <a:r>
              <a:rPr lang="en-US" err="1">
                <a:solidFill>
                  <a:srgbClr val="000000"/>
                </a:solidFill>
                <a:latin typeface="Calibri Light"/>
                <a:ea typeface="Times New Roman" panose="02020603050405020304" pitchFamily="18" charset="0"/>
                <a:cs typeface="Calibri Light"/>
              </a:rPr>
              <a:t>Kõige</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soodsam</a:t>
            </a:r>
            <a:r>
              <a:rPr lang="en-US">
                <a:solidFill>
                  <a:srgbClr val="000000"/>
                </a:solidFill>
                <a:latin typeface="Calibri Light"/>
                <a:ea typeface="Times New Roman" panose="02020603050405020304" pitchFamily="18" charset="0"/>
                <a:cs typeface="Calibri Light"/>
              </a:rPr>
              <a:t> on </a:t>
            </a:r>
            <a:r>
              <a:rPr lang="en-US" err="1">
                <a:solidFill>
                  <a:srgbClr val="000000"/>
                </a:solidFill>
                <a:latin typeface="Calibri Light"/>
                <a:ea typeface="Times New Roman" panose="02020603050405020304" pitchFamily="18" charset="0"/>
                <a:cs typeface="Calibri Light"/>
              </a:rPr>
              <a:t>tasakaalus</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portfell</a:t>
            </a:r>
            <a:r>
              <a:rPr lang="en-US">
                <a:solidFill>
                  <a:srgbClr val="000000"/>
                </a:solidFill>
                <a:latin typeface="Calibri Light"/>
                <a:ea typeface="Times New Roman" panose="02020603050405020304" pitchFamily="18" charset="0"/>
                <a:cs typeface="Calibri Light"/>
              </a:rPr>
              <a:t>, mis </a:t>
            </a:r>
            <a:r>
              <a:rPr lang="en-US" err="1">
                <a:solidFill>
                  <a:srgbClr val="000000"/>
                </a:solidFill>
                <a:latin typeface="Calibri Light"/>
                <a:ea typeface="Times New Roman" panose="02020603050405020304" pitchFamily="18" charset="0"/>
                <a:cs typeface="Calibri Light"/>
              </a:rPr>
              <a:t>sisaldab</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nii</a:t>
            </a:r>
            <a:r>
              <a:rPr lang="en-US">
                <a:solidFill>
                  <a:srgbClr val="000000"/>
                </a:solidFill>
                <a:latin typeface="Calibri Light"/>
                <a:ea typeface="Times New Roman" panose="02020603050405020304" pitchFamily="18" charset="0"/>
                <a:cs typeface="Calibri Light"/>
              </a:rPr>
              <a:t> mere, </a:t>
            </a:r>
            <a:r>
              <a:rPr lang="en-US" err="1">
                <a:solidFill>
                  <a:srgbClr val="000000"/>
                </a:solidFill>
                <a:latin typeface="Calibri Light"/>
                <a:ea typeface="Times New Roman" panose="02020603050405020304" pitchFamily="18" charset="0"/>
                <a:cs typeface="Calibri Light"/>
              </a:rPr>
              <a:t>maismaa</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kui</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päikseparke</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roheline</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joon</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graafikul</a:t>
            </a:r>
            <a:r>
              <a:rPr lang="en-US">
                <a:solidFill>
                  <a:srgbClr val="000000"/>
                </a:solidFill>
                <a:latin typeface="Calibri Light"/>
                <a:ea typeface="Times New Roman" panose="02020603050405020304" pitchFamily="18" charset="0"/>
                <a:cs typeface="Calibri Light"/>
              </a:rPr>
              <a:t>)</a:t>
            </a:r>
            <a:endParaRPr lang="en-US">
              <a:solidFill>
                <a:srgbClr val="000000"/>
              </a:solidFill>
              <a:latin typeface="Calibri Light" panose="020F0302020204030204" pitchFamily="34" charset="0"/>
              <a:ea typeface="Times New Roman" panose="02020603050405020304" pitchFamily="18" charset="0"/>
              <a:cs typeface="Calibri Light" panose="020F0302020204030204" pitchFamily="34" charset="0"/>
            </a:endParaRPr>
          </a:p>
          <a:p>
            <a:pPr marL="285750" indent="-285750" defTabSz="457200">
              <a:spcAft>
                <a:spcPts val="1000"/>
              </a:spcAft>
              <a:buFont typeface="Arial" panose="020B0604020202020204" pitchFamily="34" charset="0"/>
              <a:buChar char="•"/>
            </a:pPr>
            <a:r>
              <a:rPr lang="en-US" err="1">
                <a:solidFill>
                  <a:srgbClr val="000000"/>
                </a:solidFill>
                <a:latin typeface="Calibri Light"/>
                <a:ea typeface="Times New Roman" panose="02020603050405020304" pitchFamily="18" charset="0"/>
                <a:cs typeface="Calibri Light"/>
              </a:rPr>
              <a:t>Stsenaarium</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kus</a:t>
            </a:r>
            <a:r>
              <a:rPr lang="en-US">
                <a:solidFill>
                  <a:srgbClr val="000000"/>
                </a:solidFill>
                <a:latin typeface="Calibri Light"/>
                <a:ea typeface="Times New Roman" panose="02020603050405020304" pitchFamily="18" charset="0"/>
                <a:cs typeface="Calibri Light"/>
              </a:rPr>
              <a:t> on </a:t>
            </a:r>
            <a:r>
              <a:rPr lang="en-US" err="1">
                <a:solidFill>
                  <a:srgbClr val="000000"/>
                </a:solidFill>
                <a:latin typeface="Calibri Light"/>
                <a:ea typeface="Times New Roman" panose="02020603050405020304" pitchFamily="18" charset="0"/>
                <a:cs typeface="Calibri Light"/>
              </a:rPr>
              <a:t>nii</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maismaa</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kui</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meretuulepargid</a:t>
            </a:r>
            <a:r>
              <a:rPr lang="en-US">
                <a:solidFill>
                  <a:srgbClr val="000000"/>
                </a:solidFill>
                <a:latin typeface="Calibri Light"/>
                <a:ea typeface="Times New Roman" panose="02020603050405020304" pitchFamily="18" charset="0"/>
                <a:cs typeface="Calibri Light"/>
              </a:rPr>
              <a:t> on </a:t>
            </a:r>
            <a:r>
              <a:rPr lang="en-US" err="1">
                <a:solidFill>
                  <a:srgbClr val="000000"/>
                </a:solidFill>
                <a:latin typeface="Calibri Light"/>
                <a:ea typeface="Times New Roman" panose="02020603050405020304" pitchFamily="18" charset="0"/>
                <a:cs typeface="Calibri Light"/>
              </a:rPr>
              <a:t>soodsaim</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tulenevalt</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sellest</a:t>
            </a:r>
            <a:r>
              <a:rPr lang="en-US">
                <a:solidFill>
                  <a:srgbClr val="000000"/>
                </a:solidFill>
                <a:latin typeface="Calibri Light"/>
                <a:ea typeface="Times New Roman" panose="02020603050405020304" pitchFamily="18" charset="0"/>
                <a:cs typeface="Calibri Light"/>
              </a:rPr>
              <a:t>, et </a:t>
            </a:r>
            <a:r>
              <a:rPr lang="en-US" err="1">
                <a:solidFill>
                  <a:srgbClr val="000000"/>
                </a:solidFill>
                <a:latin typeface="Calibri Light"/>
                <a:ea typeface="Times New Roman" panose="02020603050405020304" pitchFamily="18" charset="0"/>
                <a:cs typeface="Calibri Light"/>
              </a:rPr>
              <a:t>suurem</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toodang</a:t>
            </a:r>
            <a:r>
              <a:rPr lang="en-US">
                <a:solidFill>
                  <a:srgbClr val="000000"/>
                </a:solidFill>
                <a:latin typeface="Calibri Light"/>
                <a:ea typeface="Times New Roman" panose="02020603050405020304" pitchFamily="18" charset="0"/>
                <a:cs typeface="Calibri Light"/>
              </a:rPr>
              <a:t> 1. ja 4. </a:t>
            </a:r>
            <a:r>
              <a:rPr lang="en-US" err="1">
                <a:solidFill>
                  <a:srgbClr val="000000"/>
                </a:solidFill>
                <a:latin typeface="Calibri Light"/>
                <a:ea typeface="Times New Roman" panose="02020603050405020304" pitchFamily="18" charset="0"/>
                <a:cs typeface="Calibri Light"/>
              </a:rPr>
              <a:t>kvartalis</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asendab</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teiste</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stsenaariumitega</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võrreldes</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rohkem</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kõige</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kallimat</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ehk</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fossiilset</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energiat</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ning</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seeläbi</a:t>
            </a:r>
            <a:r>
              <a:rPr lang="en-US">
                <a:solidFill>
                  <a:srgbClr val="000000"/>
                </a:solidFill>
                <a:latin typeface="Calibri Light"/>
                <a:ea typeface="Times New Roman" panose="02020603050405020304" pitchFamily="18" charset="0"/>
                <a:cs typeface="Calibri Light"/>
              </a:rPr>
              <a:t> on ka </a:t>
            </a:r>
            <a:r>
              <a:rPr lang="en-US" err="1">
                <a:solidFill>
                  <a:srgbClr val="000000"/>
                </a:solidFill>
                <a:latin typeface="Calibri Light"/>
                <a:ea typeface="Times New Roman" panose="02020603050405020304" pitchFamily="18" charset="0"/>
                <a:cs typeface="Calibri Light"/>
              </a:rPr>
              <a:t>madalaima</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keskkonnajalajäljega</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stsenaarium</a:t>
            </a:r>
            <a:r>
              <a:rPr lang="en-US">
                <a:solidFill>
                  <a:srgbClr val="000000"/>
                </a:solidFill>
                <a:latin typeface="Calibri Light"/>
                <a:ea typeface="Times New Roman" panose="02020603050405020304" pitchFamily="18" charset="0"/>
                <a:cs typeface="Calibri Light"/>
              </a:rPr>
              <a:t>)</a:t>
            </a:r>
          </a:p>
          <a:p>
            <a:pPr marL="285750" indent="-285750" defTabSz="457200">
              <a:spcAft>
                <a:spcPts val="1000"/>
              </a:spcAft>
              <a:buFont typeface="Arial" panose="020B0604020202020204" pitchFamily="34" charset="0"/>
              <a:buChar char="•"/>
            </a:pPr>
            <a:r>
              <a:rPr lang="en-US" err="1">
                <a:solidFill>
                  <a:srgbClr val="000000"/>
                </a:solidFill>
                <a:latin typeface="Calibri Light"/>
                <a:ea typeface="Times New Roman" panose="02020603050405020304" pitchFamily="18" charset="0"/>
                <a:cs typeface="Calibri Light"/>
              </a:rPr>
              <a:t>Maismaa</a:t>
            </a:r>
            <a:r>
              <a:rPr lang="en-US">
                <a:solidFill>
                  <a:srgbClr val="000000"/>
                </a:solidFill>
                <a:latin typeface="Calibri Light"/>
                <a:ea typeface="Times New Roman" panose="02020603050405020304" pitchFamily="18" charset="0"/>
                <a:cs typeface="Calibri Light"/>
              </a:rPr>
              <a:t>- ja </a:t>
            </a:r>
            <a:r>
              <a:rPr lang="en-US" err="1">
                <a:solidFill>
                  <a:srgbClr val="000000"/>
                </a:solidFill>
                <a:latin typeface="Calibri Light"/>
                <a:ea typeface="Times New Roman" panose="02020603050405020304" pitchFamily="18" charset="0"/>
                <a:cs typeface="Calibri Light"/>
              </a:rPr>
              <a:t>meretuuleparkide</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portfell</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koos</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päikeseparkidega</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viiks</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Eesti</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elektritootmise</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süsinikuintensiivsuse</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taseme</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alla</a:t>
            </a:r>
            <a:r>
              <a:rPr lang="en-US">
                <a:solidFill>
                  <a:srgbClr val="000000"/>
                </a:solidFill>
                <a:latin typeface="Calibri Light"/>
                <a:ea typeface="Times New Roman" panose="02020603050405020304" pitchFamily="18" charset="0"/>
                <a:cs typeface="Calibri Light"/>
              </a:rPr>
              <a:t> 40 gCO</a:t>
            </a:r>
            <a:r>
              <a:rPr lang="en-US" baseline="-25000">
                <a:solidFill>
                  <a:srgbClr val="000000"/>
                </a:solidFill>
                <a:latin typeface="Calibri Light"/>
                <a:ea typeface="Times New Roman" panose="02020603050405020304" pitchFamily="18" charset="0"/>
                <a:cs typeface="Calibri Light"/>
              </a:rPr>
              <a:t>2</a:t>
            </a:r>
            <a:r>
              <a:rPr lang="en-US">
                <a:solidFill>
                  <a:srgbClr val="000000"/>
                </a:solidFill>
                <a:latin typeface="Calibri Light"/>
                <a:ea typeface="Times New Roman" panose="02020603050405020304" pitchFamily="18" charset="0"/>
                <a:cs typeface="Calibri Light"/>
              </a:rPr>
              <a:t>/kWh </a:t>
            </a:r>
            <a:r>
              <a:rPr lang="en-US" err="1">
                <a:solidFill>
                  <a:srgbClr val="000000"/>
                </a:solidFill>
                <a:latin typeface="Calibri Light"/>
                <a:ea typeface="Times New Roman" panose="02020603050405020304" pitchFamily="18" charset="0"/>
                <a:cs typeface="Calibri Light"/>
              </a:rPr>
              <a:t>ehk</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võrreldavaks</a:t>
            </a:r>
            <a:r>
              <a:rPr lang="en-US">
                <a:solidFill>
                  <a:srgbClr val="000000"/>
                </a:solidFill>
                <a:latin typeface="Calibri Light"/>
                <a:ea typeface="Times New Roman" panose="02020603050405020304" pitchFamily="18" charset="0"/>
                <a:cs typeface="Calibri Light"/>
              </a:rPr>
              <a:t> </a:t>
            </a:r>
            <a:r>
              <a:rPr lang="en-US" err="1">
                <a:solidFill>
                  <a:srgbClr val="000000"/>
                </a:solidFill>
                <a:latin typeface="Calibri Light"/>
                <a:ea typeface="Times New Roman" panose="02020603050405020304" pitchFamily="18" charset="0"/>
                <a:cs typeface="Calibri Light"/>
              </a:rPr>
              <a:t>Põhjamaadega</a:t>
            </a:r>
            <a:endParaRPr lang="et-EE">
              <a:solidFill>
                <a:srgbClr val="000000"/>
              </a:solidFill>
              <a:latin typeface="Calibri Light"/>
              <a:ea typeface="Calibri" panose="020F0502020204030204" pitchFamily="34" charset="0"/>
              <a:cs typeface="Calibri Light"/>
            </a:endParaRPr>
          </a:p>
        </p:txBody>
      </p:sp>
      <p:pic>
        <p:nvPicPr>
          <p:cNvPr id="7" name="Picture 6" descr="A logo with a sun and a hill&#10;&#10;Description automatically generated">
            <a:extLst>
              <a:ext uri="{FF2B5EF4-FFF2-40B4-BE49-F238E27FC236}">
                <a16:creationId xmlns:a16="http://schemas.microsoft.com/office/drawing/2014/main" id="{F8DDE1AA-ECB6-AC62-823B-B3FD59DB6A7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68459" y="871769"/>
            <a:ext cx="2238898" cy="517544"/>
          </a:xfrm>
          <a:prstGeom prst="rect">
            <a:avLst/>
          </a:prstGeom>
        </p:spPr>
      </p:pic>
      <p:grpSp>
        <p:nvGrpSpPr>
          <p:cNvPr id="8" name="Group 7">
            <a:extLst>
              <a:ext uri="{FF2B5EF4-FFF2-40B4-BE49-F238E27FC236}">
                <a16:creationId xmlns:a16="http://schemas.microsoft.com/office/drawing/2014/main" id="{F970278C-1C89-4DEF-0873-CCFB534DD145}"/>
              </a:ext>
            </a:extLst>
          </p:cNvPr>
          <p:cNvGrpSpPr/>
          <p:nvPr/>
        </p:nvGrpSpPr>
        <p:grpSpPr>
          <a:xfrm>
            <a:off x="288726" y="1282835"/>
            <a:ext cx="6273268" cy="2701247"/>
            <a:chOff x="46998" y="1152661"/>
            <a:chExt cx="12192000" cy="5249833"/>
          </a:xfrm>
        </p:grpSpPr>
        <p:pic>
          <p:nvPicPr>
            <p:cNvPr id="9" name="Picture 8">
              <a:extLst>
                <a:ext uri="{FF2B5EF4-FFF2-40B4-BE49-F238E27FC236}">
                  <a16:creationId xmlns:a16="http://schemas.microsoft.com/office/drawing/2014/main" id="{526D7143-5110-8717-C8A1-AA07BABE1269}"/>
                </a:ext>
              </a:extLst>
            </p:cNvPr>
            <p:cNvPicPr>
              <a:picLocks noChangeAspect="1"/>
            </p:cNvPicPr>
            <p:nvPr/>
          </p:nvPicPr>
          <p:blipFill>
            <a:blip r:embed="rId4"/>
            <a:stretch>
              <a:fillRect/>
            </a:stretch>
          </p:blipFill>
          <p:spPr>
            <a:xfrm>
              <a:off x="46998" y="1152661"/>
              <a:ext cx="12192000" cy="5249833"/>
            </a:xfrm>
            <a:prstGeom prst="rect">
              <a:avLst/>
            </a:prstGeom>
          </p:spPr>
        </p:pic>
        <p:pic>
          <p:nvPicPr>
            <p:cNvPr id="10" name="Picture 9">
              <a:extLst>
                <a:ext uri="{FF2B5EF4-FFF2-40B4-BE49-F238E27FC236}">
                  <a16:creationId xmlns:a16="http://schemas.microsoft.com/office/drawing/2014/main" id="{2CD59B8B-A924-627F-B8F2-33103B3DAA67}"/>
                </a:ext>
              </a:extLst>
            </p:cNvPr>
            <p:cNvPicPr>
              <a:picLocks noChangeAspect="1"/>
            </p:cNvPicPr>
            <p:nvPr/>
          </p:nvPicPr>
          <p:blipFill rotWithShape="1">
            <a:blip r:embed="rId4"/>
            <a:srcRect l="50162" t="50897" r="3660" b="39731"/>
            <a:stretch/>
          </p:blipFill>
          <p:spPr>
            <a:xfrm>
              <a:off x="5390524" y="3821775"/>
              <a:ext cx="5629902" cy="492008"/>
            </a:xfrm>
            <a:prstGeom prst="rect">
              <a:avLst/>
            </a:prstGeom>
          </p:spPr>
        </p:pic>
        <p:pic>
          <p:nvPicPr>
            <p:cNvPr id="11" name="Picture 10">
              <a:extLst>
                <a:ext uri="{FF2B5EF4-FFF2-40B4-BE49-F238E27FC236}">
                  <a16:creationId xmlns:a16="http://schemas.microsoft.com/office/drawing/2014/main" id="{E7C569C2-59D4-BC27-7189-AD474E42E113}"/>
                </a:ext>
              </a:extLst>
            </p:cNvPr>
            <p:cNvPicPr>
              <a:picLocks noChangeAspect="1"/>
            </p:cNvPicPr>
            <p:nvPr/>
          </p:nvPicPr>
          <p:blipFill rotWithShape="1">
            <a:blip r:embed="rId4"/>
            <a:srcRect l="50162" t="50897" r="3660" b="39731"/>
            <a:stretch/>
          </p:blipFill>
          <p:spPr>
            <a:xfrm>
              <a:off x="6226636" y="3135976"/>
              <a:ext cx="5629902" cy="492009"/>
            </a:xfrm>
            <a:prstGeom prst="rect">
              <a:avLst/>
            </a:prstGeom>
          </p:spPr>
        </p:pic>
        <p:pic>
          <p:nvPicPr>
            <p:cNvPr id="12" name="Picture 11">
              <a:extLst>
                <a:ext uri="{FF2B5EF4-FFF2-40B4-BE49-F238E27FC236}">
                  <a16:creationId xmlns:a16="http://schemas.microsoft.com/office/drawing/2014/main" id="{FA22D8E0-B096-897B-8733-BCA6D93689E5}"/>
                </a:ext>
              </a:extLst>
            </p:cNvPr>
            <p:cNvPicPr>
              <a:picLocks noChangeAspect="1"/>
            </p:cNvPicPr>
            <p:nvPr/>
          </p:nvPicPr>
          <p:blipFill rotWithShape="1">
            <a:blip r:embed="rId4"/>
            <a:srcRect l="50162" t="50897" r="11160" b="39731"/>
            <a:stretch/>
          </p:blipFill>
          <p:spPr>
            <a:xfrm>
              <a:off x="7141038" y="2802600"/>
              <a:ext cx="4715502" cy="492009"/>
            </a:xfrm>
            <a:prstGeom prst="rect">
              <a:avLst/>
            </a:prstGeom>
          </p:spPr>
        </p:pic>
        <p:pic>
          <p:nvPicPr>
            <p:cNvPr id="13" name="Picture 12">
              <a:extLst>
                <a:ext uri="{FF2B5EF4-FFF2-40B4-BE49-F238E27FC236}">
                  <a16:creationId xmlns:a16="http://schemas.microsoft.com/office/drawing/2014/main" id="{723FC02F-0854-3B89-3DF5-015EFA695C48}"/>
                </a:ext>
              </a:extLst>
            </p:cNvPr>
            <p:cNvPicPr>
              <a:picLocks noChangeAspect="1"/>
            </p:cNvPicPr>
            <p:nvPr/>
          </p:nvPicPr>
          <p:blipFill rotWithShape="1">
            <a:blip r:embed="rId4"/>
            <a:srcRect l="58666" t="50897" r="645" b="39731"/>
            <a:stretch/>
          </p:blipFill>
          <p:spPr>
            <a:xfrm>
              <a:off x="7216140" y="2464145"/>
              <a:ext cx="4960620" cy="492008"/>
            </a:xfrm>
            <a:prstGeom prst="rect">
              <a:avLst/>
            </a:prstGeom>
          </p:spPr>
        </p:pic>
        <p:pic>
          <p:nvPicPr>
            <p:cNvPr id="14" name="Picture 13">
              <a:extLst>
                <a:ext uri="{FF2B5EF4-FFF2-40B4-BE49-F238E27FC236}">
                  <a16:creationId xmlns:a16="http://schemas.microsoft.com/office/drawing/2014/main" id="{0F20AB8D-607C-3AE1-1000-41C22315297C}"/>
                </a:ext>
              </a:extLst>
            </p:cNvPr>
            <p:cNvPicPr>
              <a:picLocks noChangeAspect="1"/>
            </p:cNvPicPr>
            <p:nvPr/>
          </p:nvPicPr>
          <p:blipFill rotWithShape="1">
            <a:blip r:embed="rId4"/>
            <a:srcRect l="50412" t="50897" r="645" b="39731"/>
            <a:stretch/>
          </p:blipFill>
          <p:spPr>
            <a:xfrm>
              <a:off x="6192529" y="3475951"/>
              <a:ext cx="5966975" cy="492008"/>
            </a:xfrm>
            <a:prstGeom prst="rect">
              <a:avLst/>
            </a:prstGeom>
          </p:spPr>
        </p:pic>
        <p:pic>
          <p:nvPicPr>
            <p:cNvPr id="15" name="Picture 14">
              <a:extLst>
                <a:ext uri="{FF2B5EF4-FFF2-40B4-BE49-F238E27FC236}">
                  <a16:creationId xmlns:a16="http://schemas.microsoft.com/office/drawing/2014/main" id="{E5A7BC59-303B-55A0-9C44-83698615C821}"/>
                </a:ext>
              </a:extLst>
            </p:cNvPr>
            <p:cNvPicPr>
              <a:picLocks noChangeAspect="1"/>
            </p:cNvPicPr>
            <p:nvPr/>
          </p:nvPicPr>
          <p:blipFill rotWithShape="1">
            <a:blip r:embed="rId4"/>
            <a:srcRect l="58666" t="50897" r="645" b="39731"/>
            <a:stretch/>
          </p:blipFill>
          <p:spPr>
            <a:xfrm>
              <a:off x="7216140" y="2121629"/>
              <a:ext cx="4960620" cy="492008"/>
            </a:xfrm>
            <a:prstGeom prst="rect">
              <a:avLst/>
            </a:prstGeom>
          </p:spPr>
        </p:pic>
        <p:pic>
          <p:nvPicPr>
            <p:cNvPr id="16" name="Picture 15">
              <a:extLst>
                <a:ext uri="{FF2B5EF4-FFF2-40B4-BE49-F238E27FC236}">
                  <a16:creationId xmlns:a16="http://schemas.microsoft.com/office/drawing/2014/main" id="{645C2195-C613-56D2-3BDB-1F86D44E8A60}"/>
                </a:ext>
              </a:extLst>
            </p:cNvPr>
            <p:cNvPicPr>
              <a:picLocks noChangeAspect="1"/>
            </p:cNvPicPr>
            <p:nvPr/>
          </p:nvPicPr>
          <p:blipFill rotWithShape="1">
            <a:blip r:embed="rId4"/>
            <a:srcRect l="58666" t="50897" r="645" b="39731"/>
            <a:stretch/>
          </p:blipFill>
          <p:spPr>
            <a:xfrm>
              <a:off x="7216140" y="1778256"/>
              <a:ext cx="4960620" cy="492008"/>
            </a:xfrm>
            <a:prstGeom prst="rect">
              <a:avLst/>
            </a:prstGeom>
          </p:spPr>
        </p:pic>
        <p:pic>
          <p:nvPicPr>
            <p:cNvPr id="17" name="Picture 16">
              <a:extLst>
                <a:ext uri="{FF2B5EF4-FFF2-40B4-BE49-F238E27FC236}">
                  <a16:creationId xmlns:a16="http://schemas.microsoft.com/office/drawing/2014/main" id="{66C354DD-27E3-5E67-CB4D-561A0BE38B66}"/>
                </a:ext>
              </a:extLst>
            </p:cNvPr>
            <p:cNvPicPr>
              <a:picLocks noChangeAspect="1"/>
            </p:cNvPicPr>
            <p:nvPr/>
          </p:nvPicPr>
          <p:blipFill rotWithShape="1">
            <a:blip r:embed="rId4"/>
            <a:srcRect l="50162" t="50897" r="48349" b="39731"/>
            <a:stretch/>
          </p:blipFill>
          <p:spPr>
            <a:xfrm>
              <a:off x="6033890" y="3472656"/>
              <a:ext cx="181498" cy="492008"/>
            </a:xfrm>
            <a:prstGeom prst="rect">
              <a:avLst/>
            </a:prstGeom>
          </p:spPr>
        </p:pic>
        <p:sp>
          <p:nvSpPr>
            <p:cNvPr id="18" name="Rectangle 17">
              <a:extLst>
                <a:ext uri="{FF2B5EF4-FFF2-40B4-BE49-F238E27FC236}">
                  <a16:creationId xmlns:a16="http://schemas.microsoft.com/office/drawing/2014/main" id="{BB68FF3A-AEEE-DDDE-6C36-66E0ECE3B39A}"/>
                </a:ext>
              </a:extLst>
            </p:cNvPr>
            <p:cNvSpPr/>
            <p:nvPr/>
          </p:nvSpPr>
          <p:spPr>
            <a:xfrm>
              <a:off x="7129790" y="1211580"/>
              <a:ext cx="4803130" cy="716168"/>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t-EE"/>
            </a:p>
          </p:txBody>
        </p:sp>
      </p:grpSp>
    </p:spTree>
    <p:extLst>
      <p:ext uri="{BB962C8B-B14F-4D97-AF65-F5344CB8AC3E}">
        <p14:creationId xmlns:p14="http://schemas.microsoft.com/office/powerpoint/2010/main" val="11422126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lt 1">
            <a:extLst>
              <a:ext uri="{FF2B5EF4-FFF2-40B4-BE49-F238E27FC236}">
                <a16:creationId xmlns:a16="http://schemas.microsoft.com/office/drawing/2014/main" id="{1A12FB82-2D75-0CFE-6C8F-528A8CFC3A66}"/>
              </a:ext>
            </a:extLst>
          </p:cNvPr>
          <p:cNvPicPr>
            <a:picLocks noChangeAspect="1"/>
          </p:cNvPicPr>
          <p:nvPr/>
        </p:nvPicPr>
        <p:blipFill>
          <a:blip r:embed="rId2"/>
          <a:stretch>
            <a:fillRect/>
          </a:stretch>
        </p:blipFill>
        <p:spPr>
          <a:xfrm>
            <a:off x="9877049" y="268560"/>
            <a:ext cx="1972014" cy="744983"/>
          </a:xfrm>
          <a:prstGeom prst="rect">
            <a:avLst/>
          </a:prstGeom>
        </p:spPr>
      </p:pic>
      <p:sp>
        <p:nvSpPr>
          <p:cNvPr id="4" name="Pealkiri 1">
            <a:extLst>
              <a:ext uri="{FF2B5EF4-FFF2-40B4-BE49-F238E27FC236}">
                <a16:creationId xmlns:a16="http://schemas.microsoft.com/office/drawing/2014/main" id="{4784A8C8-94E4-F489-1493-49F2EC36C0BB}"/>
              </a:ext>
            </a:extLst>
          </p:cNvPr>
          <p:cNvSpPr txBox="1">
            <a:spLocks/>
          </p:cNvSpPr>
          <p:nvPr/>
        </p:nvSpPr>
        <p:spPr>
          <a:xfrm>
            <a:off x="408817" y="420602"/>
            <a:ext cx="9025138" cy="533004"/>
          </a:xfrm>
          <a:prstGeom prst="rect">
            <a:avLst/>
          </a:prstGeom>
        </p:spPr>
        <p:txBody>
          <a:bodyPr>
            <a:normAutofit fontScale="8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err="1"/>
              <a:t>Meretuulepark</a:t>
            </a:r>
            <a:r>
              <a:rPr lang="en-US"/>
              <a:t> </a:t>
            </a:r>
            <a:r>
              <a:rPr lang="en-US" err="1"/>
              <a:t>võimaldab</a:t>
            </a:r>
            <a:r>
              <a:rPr lang="en-US"/>
              <a:t> </a:t>
            </a:r>
            <a:r>
              <a:rPr lang="en-US" err="1"/>
              <a:t>tuua</a:t>
            </a:r>
            <a:r>
              <a:rPr lang="en-US"/>
              <a:t> </a:t>
            </a:r>
            <a:r>
              <a:rPr lang="en-US" err="1"/>
              <a:t>tööstuseid</a:t>
            </a:r>
            <a:endParaRPr lang="et-EE"/>
          </a:p>
        </p:txBody>
      </p:sp>
      <p:sp>
        <p:nvSpPr>
          <p:cNvPr id="5" name="Text Placeholder 5">
            <a:extLst>
              <a:ext uri="{FF2B5EF4-FFF2-40B4-BE49-F238E27FC236}">
                <a16:creationId xmlns:a16="http://schemas.microsoft.com/office/drawing/2014/main" id="{2BB245B7-B148-D89C-CBE6-6AD631D91001}"/>
              </a:ext>
            </a:extLst>
          </p:cNvPr>
          <p:cNvSpPr txBox="1">
            <a:spLocks/>
          </p:cNvSpPr>
          <p:nvPr/>
        </p:nvSpPr>
        <p:spPr>
          <a:xfrm>
            <a:off x="408817" y="1156610"/>
            <a:ext cx="8784154" cy="502097"/>
          </a:xfrm>
          <a:prstGeom prst="rect">
            <a:avLst/>
          </a:prstGeom>
        </p:spPr>
        <p:txBody>
          <a:bodyPr vert="horz" lIns="81644" tIns="41475" rIns="82951" bIns="41475" rtlCol="0">
            <a:noAutofit/>
          </a:bodyPr>
          <a:lstStyle>
            <a:lvl1pPr marL="0" indent="0" algn="l" defTabSz="964693" rtl="0" eaLnBrk="1" latinLnBrk="0" hangingPunct="1">
              <a:lnSpc>
                <a:spcPct val="100000"/>
              </a:lnSpc>
              <a:spcBef>
                <a:spcPts val="600"/>
              </a:spcBef>
              <a:spcAft>
                <a:spcPts val="0"/>
              </a:spcAft>
              <a:buFontTx/>
              <a:buNone/>
              <a:tabLst/>
              <a:defRPr sz="1400" b="1" kern="1200">
                <a:solidFill>
                  <a:schemeClr val="tx1"/>
                </a:solidFill>
                <a:latin typeface="+mn-lt"/>
                <a:ea typeface="+mn-ea"/>
                <a:cs typeface="+mn-cs"/>
              </a:defRPr>
            </a:lvl1pPr>
            <a:lvl2pPr marL="268258" indent="-134922" algn="l" defTabSz="964693" rtl="0" eaLnBrk="1" latinLnBrk="0" hangingPunct="1">
              <a:lnSpc>
                <a:spcPct val="100000"/>
              </a:lnSpc>
              <a:spcBef>
                <a:spcPts val="600"/>
              </a:spcBef>
              <a:buFont typeface="System Font Regular"/>
              <a:buChar char="-"/>
              <a:tabLst/>
              <a:defRPr sz="1200" kern="1200">
                <a:solidFill>
                  <a:schemeClr val="tx1"/>
                </a:solidFill>
                <a:latin typeface="+mn-lt"/>
                <a:ea typeface="+mn-ea"/>
                <a:cs typeface="+mn-cs"/>
              </a:defRPr>
            </a:lvl2pPr>
            <a:lvl3pPr marL="403154" indent="-136785" algn="l" defTabSz="964693" rtl="0" eaLnBrk="1" latinLnBrk="0" hangingPunct="1">
              <a:lnSpc>
                <a:spcPct val="100000"/>
              </a:lnSpc>
              <a:spcBef>
                <a:spcPts val="600"/>
              </a:spcBef>
              <a:buFont typeface="System Font Regular"/>
              <a:buChar char="-"/>
              <a:tabLst/>
              <a:defRPr sz="1100" kern="1200">
                <a:solidFill>
                  <a:schemeClr val="tx1"/>
                </a:solidFill>
                <a:latin typeface="+mn-lt"/>
                <a:ea typeface="+mn-ea"/>
                <a:cs typeface="+mn-cs"/>
              </a:defRPr>
            </a:lvl3pPr>
            <a:lvl4pPr marL="1155592" indent="-253975" algn="l" defTabSz="964693" rtl="0" eaLnBrk="1" latinLnBrk="0" hangingPunct="1">
              <a:lnSpc>
                <a:spcPct val="90000"/>
              </a:lnSpc>
              <a:spcBef>
                <a:spcPts val="528"/>
              </a:spcBef>
              <a:buFont typeface="System Font Regular"/>
              <a:buChar char="-"/>
              <a:tabLst/>
              <a:defRPr sz="1101" kern="1200">
                <a:solidFill>
                  <a:schemeClr val="tx1"/>
                </a:solidFill>
                <a:latin typeface="+mn-lt"/>
                <a:ea typeface="+mn-ea"/>
                <a:cs typeface="+mn-cs"/>
              </a:defRPr>
            </a:lvl4pPr>
            <a:lvl5pPr marL="1466712" indent="-253975" algn="l" defTabSz="964693" rtl="0" eaLnBrk="1" latinLnBrk="0" hangingPunct="1">
              <a:lnSpc>
                <a:spcPct val="90000"/>
              </a:lnSpc>
              <a:spcBef>
                <a:spcPts val="528"/>
              </a:spcBef>
              <a:buFont typeface="System Font Regular"/>
              <a:buChar char="-"/>
              <a:tabLst/>
              <a:defRPr sz="1050" kern="1200">
                <a:solidFill>
                  <a:schemeClr val="tx1"/>
                </a:solidFill>
                <a:latin typeface="+mn-lt"/>
                <a:ea typeface="+mn-ea"/>
                <a:cs typeface="+mn-cs"/>
              </a:defRPr>
            </a:lvl5pPr>
            <a:lvl6pPr marL="2652905"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6pPr>
            <a:lvl7pPr marL="3135252"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7pPr>
            <a:lvl8pPr marL="3617598"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8pPr>
            <a:lvl9pPr marL="4099945"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9pPr>
          </a:lstStyle>
          <a:p>
            <a:r>
              <a:rPr lang="en-US" sz="1800" err="1"/>
              <a:t>Eesti</a:t>
            </a:r>
            <a:r>
              <a:rPr lang="en-US" sz="1800"/>
              <a:t> </a:t>
            </a:r>
            <a:r>
              <a:rPr lang="en-US" sz="1800" err="1"/>
              <a:t>ukse</a:t>
            </a:r>
            <a:r>
              <a:rPr lang="en-US" sz="1800"/>
              <a:t> </a:t>
            </a:r>
            <a:r>
              <a:rPr lang="en-US" sz="1800" err="1"/>
              <a:t>taga</a:t>
            </a:r>
            <a:r>
              <a:rPr lang="en-US" sz="1800"/>
              <a:t> </a:t>
            </a:r>
            <a:r>
              <a:rPr lang="en-US" sz="1800" err="1"/>
              <a:t>ootavad</a:t>
            </a:r>
            <a:r>
              <a:rPr lang="en-US" sz="1800"/>
              <a:t> </a:t>
            </a:r>
            <a:r>
              <a:rPr lang="en-US" sz="1800" err="1"/>
              <a:t>energiamahukad</a:t>
            </a:r>
            <a:r>
              <a:rPr lang="en-US" sz="1800"/>
              <a:t> </a:t>
            </a:r>
            <a:r>
              <a:rPr lang="en-US" sz="1800" err="1"/>
              <a:t>investeeringud</a:t>
            </a:r>
            <a:r>
              <a:rPr lang="en-US" sz="1800"/>
              <a:t>: ca 5 </a:t>
            </a:r>
            <a:r>
              <a:rPr lang="en-US" sz="1800" err="1"/>
              <a:t>miljardit</a:t>
            </a:r>
            <a:r>
              <a:rPr lang="en-US" sz="1800"/>
              <a:t> </a:t>
            </a:r>
            <a:r>
              <a:rPr lang="en-US" sz="1800" err="1"/>
              <a:t>eurot</a:t>
            </a:r>
            <a:endParaRPr lang="et-EE" sz="1800"/>
          </a:p>
        </p:txBody>
      </p:sp>
      <p:pic>
        <p:nvPicPr>
          <p:cNvPr id="6" name="Content Placeholder 9">
            <a:extLst>
              <a:ext uri="{FF2B5EF4-FFF2-40B4-BE49-F238E27FC236}">
                <a16:creationId xmlns:a16="http://schemas.microsoft.com/office/drawing/2014/main" id="{EDE17709-2298-3CCE-C7B4-B2A2C46D588D}"/>
              </a:ext>
            </a:extLst>
          </p:cNvPr>
          <p:cNvPicPr>
            <a:picLocks noChangeAspect="1"/>
          </p:cNvPicPr>
          <p:nvPr/>
        </p:nvPicPr>
        <p:blipFill>
          <a:blip r:embed="rId3"/>
          <a:stretch>
            <a:fillRect/>
          </a:stretch>
        </p:blipFill>
        <p:spPr>
          <a:xfrm>
            <a:off x="408817" y="1733313"/>
            <a:ext cx="5629902" cy="2160854"/>
          </a:xfrm>
          <a:prstGeom prst="rect">
            <a:avLst/>
          </a:prstGeom>
        </p:spPr>
      </p:pic>
      <p:sp>
        <p:nvSpPr>
          <p:cNvPr id="8" name="TextBox 7">
            <a:extLst>
              <a:ext uri="{FF2B5EF4-FFF2-40B4-BE49-F238E27FC236}">
                <a16:creationId xmlns:a16="http://schemas.microsoft.com/office/drawing/2014/main" id="{AFFB90C3-99AC-618B-7B72-3E6C07B1475F}"/>
              </a:ext>
            </a:extLst>
          </p:cNvPr>
          <p:cNvSpPr txBox="1"/>
          <p:nvPr/>
        </p:nvSpPr>
        <p:spPr>
          <a:xfrm>
            <a:off x="6351549" y="1645779"/>
            <a:ext cx="5578454" cy="3077766"/>
          </a:xfrm>
          <a:prstGeom prst="rect">
            <a:avLst/>
          </a:prstGeom>
          <a:noFill/>
        </p:spPr>
        <p:txBody>
          <a:bodyPr wrap="square" rtlCol="0" anchor="b">
            <a:spAutoFit/>
          </a:bodyPr>
          <a:lstStyle/>
          <a:p>
            <a:r>
              <a:rPr lang="et-EE" err="1">
                <a:latin typeface="Calibri Light" panose="020F0302020204030204" pitchFamily="34" charset="0"/>
                <a:cs typeface="Calibri Light" panose="020F0302020204030204" pitchFamily="34" charset="0"/>
              </a:rPr>
              <a:t>EASi</a:t>
            </a:r>
            <a:r>
              <a:rPr lang="et-EE">
                <a:latin typeface="Calibri Light" panose="020F0302020204030204" pitchFamily="34" charset="0"/>
                <a:cs typeface="Calibri Light" panose="020F0302020204030204" pitchFamily="34" charset="0"/>
              </a:rPr>
              <a:t> ja </a:t>
            </a:r>
            <a:r>
              <a:rPr lang="et-EE" err="1">
                <a:latin typeface="Calibri Light" panose="020F0302020204030204" pitchFamily="34" charset="0"/>
                <a:cs typeface="Calibri Light" panose="020F0302020204030204" pitchFamily="34" charset="0"/>
              </a:rPr>
              <a:t>Kredexi</a:t>
            </a:r>
            <a:r>
              <a:rPr lang="et-EE">
                <a:latin typeface="Calibri Light" panose="020F0302020204030204" pitchFamily="34" charset="0"/>
                <a:cs typeface="Calibri Light" panose="020F0302020204030204" pitchFamily="34" charset="0"/>
              </a:rPr>
              <a:t> ühendorganisatsioon analüüsis kaheksat võimaliku projekti näiteks akutootmises, autotööstustes, vesiniku ja e-kütuste tootmises. </a:t>
            </a:r>
            <a:r>
              <a:rPr lang="et-EE" b="1">
                <a:latin typeface="Calibri Light" panose="020F0302020204030204" pitchFamily="34" charset="0"/>
                <a:cs typeface="Calibri Light" panose="020F0302020204030204" pitchFamily="34" charset="0"/>
              </a:rPr>
              <a:t>Nende projektide elektrivajadus on 5</a:t>
            </a:r>
            <a:r>
              <a:rPr lang="en-US" b="1">
                <a:latin typeface="Calibri Light" panose="020F0302020204030204" pitchFamily="34" charset="0"/>
                <a:cs typeface="Calibri Light" panose="020F0302020204030204" pitchFamily="34" charset="0"/>
              </a:rPr>
              <a:t>,</a:t>
            </a:r>
            <a:r>
              <a:rPr lang="et-EE" b="1">
                <a:latin typeface="Calibri Light" panose="020F0302020204030204" pitchFamily="34" charset="0"/>
                <a:cs typeface="Calibri Light" panose="020F0302020204030204" pitchFamily="34" charset="0"/>
              </a:rPr>
              <a:t>8 </a:t>
            </a:r>
            <a:r>
              <a:rPr lang="et-EE" b="1" err="1">
                <a:latin typeface="Calibri Light" panose="020F0302020204030204" pitchFamily="34" charset="0"/>
                <a:cs typeface="Calibri Light" panose="020F0302020204030204" pitchFamily="34" charset="0"/>
              </a:rPr>
              <a:t>TWh</a:t>
            </a:r>
            <a:r>
              <a:rPr lang="et-EE" b="1">
                <a:latin typeface="Calibri Light" panose="020F0302020204030204" pitchFamily="34" charset="0"/>
                <a:cs typeface="Calibri Light" panose="020F0302020204030204" pitchFamily="34" charset="0"/>
              </a:rPr>
              <a:t>-d, mis on 73% tänasest Eesti elektrienergia tarbimisest </a:t>
            </a:r>
            <a:r>
              <a:rPr lang="et-EE">
                <a:latin typeface="Calibri Light" panose="020F0302020204030204" pitchFamily="34" charset="0"/>
                <a:cs typeface="Calibri Light" panose="020F0302020204030204" pitchFamily="34" charset="0"/>
              </a:rPr>
              <a:t>ning on selge</a:t>
            </a:r>
            <a:r>
              <a:rPr lang="en-US">
                <a:latin typeface="Calibri Light" panose="020F0302020204030204" pitchFamily="34" charset="0"/>
                <a:cs typeface="Calibri Light" panose="020F0302020204030204" pitchFamily="34" charset="0"/>
              </a:rPr>
              <a:t>,</a:t>
            </a:r>
            <a:r>
              <a:rPr lang="et-EE">
                <a:latin typeface="Calibri Light" panose="020F0302020204030204" pitchFamily="34" charset="0"/>
                <a:cs typeface="Calibri Light" panose="020F0302020204030204" pitchFamily="34" charset="0"/>
              </a:rPr>
              <a:t> et ilma lisandu</a:t>
            </a:r>
            <a:r>
              <a:rPr lang="en-US">
                <a:latin typeface="Calibri Light" panose="020F0302020204030204" pitchFamily="34" charset="0"/>
                <a:cs typeface="Calibri Light" panose="020F0302020204030204" pitchFamily="34" charset="0"/>
              </a:rPr>
              <a:t>v</a:t>
            </a:r>
            <a:r>
              <a:rPr lang="et-EE">
                <a:latin typeface="Calibri Light" panose="020F0302020204030204" pitchFamily="34" charset="0"/>
                <a:cs typeface="Calibri Light" panose="020F0302020204030204" pitchFamily="34" charset="0"/>
              </a:rPr>
              <a:t>a elektritootmisvõimekuseta neid investeeringuid Eestisse ei t</a:t>
            </a:r>
            <a:r>
              <a:rPr lang="en-US">
                <a:latin typeface="Calibri Light" panose="020F0302020204030204" pitchFamily="34" charset="0"/>
                <a:cs typeface="Calibri Light" panose="020F0302020204030204" pitchFamily="34" charset="0"/>
              </a:rPr>
              <a:t>ule. </a:t>
            </a:r>
            <a:r>
              <a:rPr lang="et-EE">
                <a:latin typeface="Calibri Light" panose="020F0302020204030204" pitchFamily="34" charset="0"/>
                <a:cs typeface="Calibri Light" panose="020F0302020204030204" pitchFamily="34" charset="0"/>
              </a:rPr>
              <a:t>Iga tööstus annab riigieelarvesse igal tegutsemisaastal nii (kümnetesse) miljonitesse ulatuvat maksutulu kui ka lisandväärtust SKT-</a:t>
            </a:r>
            <a:r>
              <a:rPr lang="et-EE" err="1">
                <a:latin typeface="Calibri Light" panose="020F0302020204030204" pitchFamily="34" charset="0"/>
                <a:cs typeface="Calibri Light" panose="020F0302020204030204" pitchFamily="34" charset="0"/>
              </a:rPr>
              <a:t>sse</a:t>
            </a:r>
            <a:r>
              <a:rPr lang="et-EE">
                <a:latin typeface="Calibri Light" panose="020F0302020204030204" pitchFamily="34" charset="0"/>
                <a:cs typeface="Calibri Light" panose="020F0302020204030204" pitchFamily="34" charset="0"/>
              </a:rPr>
              <a:t>.</a:t>
            </a:r>
          </a:p>
          <a:p>
            <a:pPr algn="l"/>
            <a:endParaRPr lang="en-US" sz="1600" b="1">
              <a:latin typeface="Calibri Light" panose="020F0302020204030204" pitchFamily="34" charset="0"/>
              <a:ea typeface="Calibri Light" panose="020F0302020204030204" pitchFamily="34" charset="0"/>
              <a:cs typeface="Calibri Light" panose="020F0302020204030204" pitchFamily="34" charset="0"/>
            </a:endParaRPr>
          </a:p>
          <a:p>
            <a:pPr algn="l"/>
            <a:endParaRPr lang="et-EE" sz="1600" b="1">
              <a:latin typeface="Calibri Light" panose="020F0302020204030204" pitchFamily="34" charset="0"/>
              <a:ea typeface="Calibri Light" panose="020F0302020204030204" pitchFamily="34" charset="0"/>
              <a:cs typeface="Calibri Light" panose="020F0302020204030204" pitchFamily="34" charset="0"/>
            </a:endParaRPr>
          </a:p>
        </p:txBody>
      </p:sp>
      <p:graphicFrame>
        <p:nvGraphicFramePr>
          <p:cNvPr id="3" name="Table 8">
            <a:extLst>
              <a:ext uri="{FF2B5EF4-FFF2-40B4-BE49-F238E27FC236}">
                <a16:creationId xmlns:a16="http://schemas.microsoft.com/office/drawing/2014/main" id="{D42D13B2-51EE-6A3E-7248-A66D06E41246}"/>
              </a:ext>
            </a:extLst>
          </p:cNvPr>
          <p:cNvGraphicFramePr>
            <a:graphicFrameLocks noGrp="1"/>
          </p:cNvGraphicFramePr>
          <p:nvPr>
            <p:extLst>
              <p:ext uri="{D42A27DB-BD31-4B8C-83A1-F6EECF244321}">
                <p14:modId xmlns:p14="http://schemas.microsoft.com/office/powerpoint/2010/main" val="589349360"/>
              </p:ext>
            </p:extLst>
          </p:nvPr>
        </p:nvGraphicFramePr>
        <p:xfrm>
          <a:off x="443964" y="4501061"/>
          <a:ext cx="5661766" cy="1200329"/>
        </p:xfrm>
        <a:graphic>
          <a:graphicData uri="http://schemas.openxmlformats.org/drawingml/2006/table">
            <a:tbl>
              <a:tblPr/>
              <a:tblGrid>
                <a:gridCol w="1360840">
                  <a:extLst>
                    <a:ext uri="{9D8B030D-6E8A-4147-A177-3AD203B41FA5}">
                      <a16:colId xmlns:a16="http://schemas.microsoft.com/office/drawing/2014/main" val="2181956496"/>
                    </a:ext>
                  </a:extLst>
                </a:gridCol>
                <a:gridCol w="2385671">
                  <a:extLst>
                    <a:ext uri="{9D8B030D-6E8A-4147-A177-3AD203B41FA5}">
                      <a16:colId xmlns:a16="http://schemas.microsoft.com/office/drawing/2014/main" val="4242241856"/>
                    </a:ext>
                  </a:extLst>
                </a:gridCol>
                <a:gridCol w="856825">
                  <a:extLst>
                    <a:ext uri="{9D8B030D-6E8A-4147-A177-3AD203B41FA5}">
                      <a16:colId xmlns:a16="http://schemas.microsoft.com/office/drawing/2014/main" val="2806913561"/>
                    </a:ext>
                  </a:extLst>
                </a:gridCol>
                <a:gridCol w="1058430">
                  <a:extLst>
                    <a:ext uri="{9D8B030D-6E8A-4147-A177-3AD203B41FA5}">
                      <a16:colId xmlns:a16="http://schemas.microsoft.com/office/drawing/2014/main" val="521643089"/>
                    </a:ext>
                  </a:extLst>
                </a:gridCol>
              </a:tblGrid>
              <a:tr h="482342">
                <a:tc gridSpan="2">
                  <a:txBody>
                    <a:bodyPr/>
                    <a:lstStyle/>
                    <a:p>
                      <a:pPr algn="ctr" fontAlgn="ctr"/>
                      <a:r>
                        <a:rPr lang="en-US" sz="1200" b="1" i="0" u="none" strike="noStrike">
                          <a:solidFill>
                            <a:srgbClr val="FFFFFF"/>
                          </a:solidFill>
                          <a:effectLst/>
                          <a:latin typeface="Calibri" panose="020F0502020204030204" pitchFamily="34" charset="0"/>
                        </a:rPr>
                        <a:t>MERETUULEPARGI MAJANDUSLIK MÕJU</a:t>
                      </a:r>
                      <a:endParaRPr lang="et-EE" sz="1200" b="1" i="0" u="none" strike="noStrike">
                        <a:solidFill>
                          <a:srgbClr val="FFFFFF"/>
                        </a:solidFill>
                        <a:effectLst/>
                        <a:latin typeface="Calibri" panose="020F0502020204030204" pitchFamily="34" charset="0"/>
                      </a:endParaRPr>
                    </a:p>
                  </a:txBody>
                  <a:tcPr marL="5760" marR="5760" marT="5760" marB="0" anchor="ctr">
                    <a:lnL>
                      <a:noFill/>
                    </a:lnL>
                    <a:lnR>
                      <a:noFill/>
                    </a:lnR>
                    <a:lnT>
                      <a:noFill/>
                    </a:lnT>
                    <a:lnB>
                      <a:noFill/>
                    </a:lnB>
                    <a:solidFill>
                      <a:srgbClr val="A2C02F"/>
                    </a:solidFill>
                  </a:tcPr>
                </a:tc>
                <a:tc hMerge="1">
                  <a:txBody>
                    <a:bodyPr/>
                    <a:lstStyle/>
                    <a:p>
                      <a:pPr algn="ctr" fontAlgn="ctr"/>
                      <a:r>
                        <a:rPr lang="et-EE" sz="1100" b="1" i="0" u="none" strike="noStrike">
                          <a:solidFill>
                            <a:srgbClr val="FFFFFF"/>
                          </a:solidFill>
                          <a:effectLst/>
                          <a:latin typeface="Calibri" panose="020F0502020204030204" pitchFamily="34" charset="0"/>
                        </a:rPr>
                        <a:t> </a:t>
                      </a:r>
                    </a:p>
                  </a:txBody>
                  <a:tcPr marL="6350" marR="6350" marT="6350" marB="0" anchor="ctr">
                    <a:lnL>
                      <a:noFill/>
                    </a:lnL>
                    <a:lnR>
                      <a:noFill/>
                    </a:lnR>
                    <a:lnT>
                      <a:noFill/>
                    </a:lnT>
                    <a:lnB>
                      <a:noFill/>
                    </a:lnB>
                    <a:solidFill>
                      <a:srgbClr val="A2C02F"/>
                    </a:solidFill>
                  </a:tcPr>
                </a:tc>
                <a:tc>
                  <a:txBody>
                    <a:bodyPr/>
                    <a:lstStyle/>
                    <a:p>
                      <a:pPr algn="ctr" fontAlgn="ctr"/>
                      <a:r>
                        <a:rPr lang="et-EE" sz="1200" b="1" i="0" u="none" strike="noStrike">
                          <a:solidFill>
                            <a:srgbClr val="FFFFFF"/>
                          </a:solidFill>
                          <a:effectLst/>
                          <a:latin typeface="Calibri" panose="020F0502020204030204" pitchFamily="34" charset="0"/>
                        </a:rPr>
                        <a:t>Ehituse ajal</a:t>
                      </a:r>
                    </a:p>
                  </a:txBody>
                  <a:tcPr marL="5760" marR="5760" marT="5760" marB="0" anchor="ctr">
                    <a:lnL>
                      <a:noFill/>
                    </a:lnL>
                    <a:lnR>
                      <a:noFill/>
                    </a:lnR>
                    <a:lnT>
                      <a:noFill/>
                    </a:lnT>
                    <a:lnB>
                      <a:noFill/>
                    </a:lnB>
                    <a:solidFill>
                      <a:srgbClr val="A2C02F"/>
                    </a:solidFill>
                  </a:tcPr>
                </a:tc>
                <a:tc>
                  <a:txBody>
                    <a:bodyPr/>
                    <a:lstStyle/>
                    <a:p>
                      <a:pPr algn="ctr" fontAlgn="ctr"/>
                      <a:r>
                        <a:rPr lang="et-EE" sz="1200" b="1" i="0" u="none" strike="noStrike">
                          <a:solidFill>
                            <a:srgbClr val="FFFFFF"/>
                          </a:solidFill>
                          <a:effectLst/>
                          <a:latin typeface="Calibri" panose="020F0502020204030204" pitchFamily="34" charset="0"/>
                        </a:rPr>
                        <a:t>Opereerimis</a:t>
                      </a:r>
                      <a:r>
                        <a:rPr lang="en-US" sz="1200" b="1" i="0" u="none" strike="noStrike">
                          <a:solidFill>
                            <a:srgbClr val="FFFFFF"/>
                          </a:solidFill>
                          <a:effectLst/>
                          <a:latin typeface="Calibri" panose="020F0502020204030204" pitchFamily="34" charset="0"/>
                        </a:rPr>
                        <a:t>-</a:t>
                      </a:r>
                      <a:r>
                        <a:rPr lang="et-EE" sz="1200" b="1" i="0" u="none" strike="noStrike">
                          <a:solidFill>
                            <a:srgbClr val="FFFFFF"/>
                          </a:solidFill>
                          <a:effectLst/>
                          <a:latin typeface="Calibri" panose="020F0502020204030204" pitchFamily="34" charset="0"/>
                        </a:rPr>
                        <a:t>perioodil</a:t>
                      </a:r>
                    </a:p>
                  </a:txBody>
                  <a:tcPr marL="5760" marR="5760" marT="5760" marB="0" anchor="ctr">
                    <a:lnL>
                      <a:noFill/>
                    </a:lnL>
                    <a:lnR>
                      <a:noFill/>
                    </a:lnR>
                    <a:lnT>
                      <a:noFill/>
                    </a:lnT>
                    <a:lnB>
                      <a:noFill/>
                    </a:lnB>
                    <a:solidFill>
                      <a:srgbClr val="A2C02F"/>
                    </a:solidFill>
                  </a:tcPr>
                </a:tc>
                <a:extLst>
                  <a:ext uri="{0D108BD9-81ED-4DB2-BD59-A6C34878D82A}">
                    <a16:rowId xmlns:a16="http://schemas.microsoft.com/office/drawing/2014/main" val="2403926797"/>
                  </a:ext>
                </a:extLst>
              </a:tr>
              <a:tr h="241172">
                <a:tc rowSpan="2">
                  <a:txBody>
                    <a:bodyPr/>
                    <a:lstStyle/>
                    <a:p>
                      <a:pPr algn="l" fontAlgn="b"/>
                      <a:r>
                        <a:rPr lang="et-EE" sz="1000" b="0" i="0" u="none" strike="noStrike">
                          <a:solidFill>
                            <a:srgbClr val="000000"/>
                          </a:solidFill>
                          <a:effectLst/>
                          <a:latin typeface="Calibri" panose="020F0502020204030204" pitchFamily="34" charset="0"/>
                        </a:rPr>
                        <a:t>1000</a:t>
                      </a:r>
                      <a:r>
                        <a:rPr lang="en-US" sz="1000" b="0" i="0" u="none" strike="noStrike">
                          <a:solidFill>
                            <a:srgbClr val="000000"/>
                          </a:solidFill>
                          <a:effectLst/>
                          <a:latin typeface="Calibri" panose="020F0502020204030204" pitchFamily="34" charset="0"/>
                        </a:rPr>
                        <a:t> </a:t>
                      </a:r>
                      <a:r>
                        <a:rPr lang="et-EE" sz="1000" b="0" i="0" u="none" strike="noStrike">
                          <a:solidFill>
                            <a:srgbClr val="000000"/>
                          </a:solidFill>
                          <a:effectLst/>
                          <a:latin typeface="Calibri" panose="020F0502020204030204" pitchFamily="34" charset="0"/>
                        </a:rPr>
                        <a:t>MW meretuulepark</a:t>
                      </a:r>
                    </a:p>
                  </a:txBody>
                  <a:tcPr marL="5760" marR="5760" marT="576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pt-BR" sz="1000" b="0" i="0" u="none" strike="noStrike">
                          <a:solidFill>
                            <a:srgbClr val="000000"/>
                          </a:solidFill>
                          <a:effectLst/>
                          <a:latin typeface="Calibri" panose="020F0502020204030204" pitchFamily="34" charset="0"/>
                        </a:rPr>
                        <a:t>lisandväärtus aastas, mEUR/a</a:t>
                      </a:r>
                    </a:p>
                  </a:txBody>
                  <a:tcPr marL="5760" marR="5760" marT="5760" marB="0" anchor="b">
                    <a:lnL>
                      <a:noFill/>
                    </a:lnL>
                    <a:lnR>
                      <a:noFill/>
                    </a:lnR>
                    <a:lnT>
                      <a:noFill/>
                    </a:lnT>
                    <a:lnB>
                      <a:noFill/>
                    </a:lnB>
                  </a:tcPr>
                </a:tc>
                <a:tc>
                  <a:txBody>
                    <a:bodyPr/>
                    <a:lstStyle/>
                    <a:p>
                      <a:pPr algn="r" fontAlgn="b"/>
                      <a:r>
                        <a:rPr lang="et-EE" sz="1000" b="0" i="0" u="none" strike="noStrike">
                          <a:solidFill>
                            <a:srgbClr val="000000"/>
                          </a:solidFill>
                          <a:effectLst/>
                          <a:latin typeface="Calibri" panose="020F0502020204030204" pitchFamily="34" charset="0"/>
                        </a:rPr>
                        <a:t>704</a:t>
                      </a:r>
                    </a:p>
                  </a:txBody>
                  <a:tcPr marL="5760" marR="5760" marT="5760" marB="0" anchor="b">
                    <a:lnL>
                      <a:noFill/>
                    </a:lnL>
                    <a:lnR>
                      <a:noFill/>
                    </a:lnR>
                    <a:lnT>
                      <a:noFill/>
                    </a:lnT>
                    <a:lnB>
                      <a:noFill/>
                    </a:lnB>
                  </a:tcPr>
                </a:tc>
                <a:tc>
                  <a:txBody>
                    <a:bodyPr/>
                    <a:lstStyle/>
                    <a:p>
                      <a:pPr algn="r" fontAlgn="b"/>
                      <a:r>
                        <a:rPr lang="et-EE" sz="1000" b="0" i="0" u="none" strike="noStrike">
                          <a:solidFill>
                            <a:srgbClr val="000000"/>
                          </a:solidFill>
                          <a:effectLst/>
                          <a:latin typeface="Calibri" panose="020F0502020204030204" pitchFamily="34" charset="0"/>
                        </a:rPr>
                        <a:t>547</a:t>
                      </a:r>
                    </a:p>
                  </a:txBody>
                  <a:tcPr marL="5760" marR="5760" marT="5760" marB="0" anchor="b">
                    <a:lnL>
                      <a:noFill/>
                    </a:lnL>
                    <a:lnR>
                      <a:noFill/>
                    </a:lnR>
                    <a:lnT>
                      <a:noFill/>
                    </a:lnT>
                    <a:lnB>
                      <a:noFill/>
                    </a:lnB>
                  </a:tcPr>
                </a:tc>
                <a:extLst>
                  <a:ext uri="{0D108BD9-81ED-4DB2-BD59-A6C34878D82A}">
                    <a16:rowId xmlns:a16="http://schemas.microsoft.com/office/drawing/2014/main" val="1327552236"/>
                  </a:ext>
                </a:extLst>
              </a:tr>
              <a:tr h="235643">
                <a:tc vMerge="1">
                  <a:txBody>
                    <a:bodyPr/>
                    <a:lstStyle/>
                    <a:p>
                      <a:endParaRPr lang="et-EE"/>
                    </a:p>
                  </a:txBody>
                  <a:tcPr/>
                </a:tc>
                <a:tc>
                  <a:txBody>
                    <a:bodyPr/>
                    <a:lstStyle/>
                    <a:p>
                      <a:pPr algn="l" fontAlgn="b"/>
                      <a:r>
                        <a:rPr lang="et-EE" sz="1000" b="0" i="0" u="none" strike="noStrike">
                          <a:solidFill>
                            <a:srgbClr val="000000"/>
                          </a:solidFill>
                          <a:effectLst/>
                          <a:latin typeface="Calibri" panose="020F0502020204030204" pitchFamily="34" charset="0"/>
                        </a:rPr>
                        <a:t>Valitsussektori tulud, mEUR/a</a:t>
                      </a:r>
                    </a:p>
                  </a:txBody>
                  <a:tcPr marL="5760" marR="5760" marT="576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t-EE" sz="1000" b="0" i="0" u="none" strike="noStrike">
                          <a:solidFill>
                            <a:srgbClr val="000000"/>
                          </a:solidFill>
                          <a:effectLst/>
                          <a:latin typeface="Calibri" panose="020F0502020204030204" pitchFamily="34" charset="0"/>
                        </a:rPr>
                        <a:t>138</a:t>
                      </a:r>
                    </a:p>
                  </a:txBody>
                  <a:tcPr marL="5760" marR="5760" marT="576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t-EE" sz="1000" b="0" i="0" u="none" strike="noStrike">
                          <a:solidFill>
                            <a:srgbClr val="000000"/>
                          </a:solidFill>
                          <a:effectLst/>
                          <a:latin typeface="Calibri" panose="020F0502020204030204" pitchFamily="34" charset="0"/>
                        </a:rPr>
                        <a:t>117</a:t>
                      </a:r>
                    </a:p>
                  </a:txBody>
                  <a:tcPr marL="5760" marR="5760" marT="5760"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42046736"/>
                  </a:ext>
                </a:extLst>
              </a:tr>
              <a:tr h="241172">
                <a:tc>
                  <a:txBody>
                    <a:bodyPr/>
                    <a:lstStyle/>
                    <a:p>
                      <a:pPr algn="l" fontAlgn="b"/>
                      <a:r>
                        <a:rPr lang="et-EE" sz="1000" b="0" i="0" u="none" strike="noStrike">
                          <a:solidFill>
                            <a:srgbClr val="000000"/>
                          </a:solidFill>
                          <a:effectLst/>
                          <a:latin typeface="Calibri" panose="020F0502020204030204" pitchFamily="34" charset="0"/>
                        </a:rPr>
                        <a:t>Kokku</a:t>
                      </a:r>
                    </a:p>
                  </a:txBody>
                  <a:tcPr marL="5760" marR="5760" marT="576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sv-SE" sz="1000" b="0" i="0" u="none" strike="noStrike">
                          <a:solidFill>
                            <a:srgbClr val="000000"/>
                          </a:solidFill>
                          <a:effectLst/>
                          <a:latin typeface="Calibri" panose="020F0502020204030204" pitchFamily="34" charset="0"/>
                        </a:rPr>
                        <a:t>SKP kasv aastas, % SKP (2022)</a:t>
                      </a:r>
                    </a:p>
                  </a:txBody>
                  <a:tcPr marL="5760" marR="5760" marT="576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alibri" panose="020F0502020204030204" pitchFamily="34" charset="0"/>
                        </a:rPr>
                        <a:t>2</a:t>
                      </a:r>
                      <a:r>
                        <a:rPr lang="et-EE" sz="1000" b="0" i="0" u="none" strike="noStrike">
                          <a:solidFill>
                            <a:srgbClr val="000000"/>
                          </a:solidFill>
                          <a:effectLst/>
                          <a:latin typeface="Calibri" panose="020F0502020204030204" pitchFamily="34" charset="0"/>
                        </a:rPr>
                        <a:t>%</a:t>
                      </a:r>
                    </a:p>
                  </a:txBody>
                  <a:tcPr marL="5760" marR="5760" marT="576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t-EE" sz="1000" b="0" i="0" u="none" strike="noStrike" dirty="0">
                          <a:solidFill>
                            <a:srgbClr val="000000"/>
                          </a:solidFill>
                          <a:effectLst/>
                          <a:latin typeface="Calibri" panose="020F0502020204030204" pitchFamily="34" charset="0"/>
                        </a:rPr>
                        <a:t>1</a:t>
                      </a:r>
                      <a:r>
                        <a:rPr lang="en-US" sz="1000" b="0" i="0" u="none" strike="noStrike" dirty="0">
                          <a:solidFill>
                            <a:srgbClr val="000000"/>
                          </a:solidFill>
                          <a:effectLst/>
                          <a:latin typeface="Calibri" panose="020F0502020204030204" pitchFamily="34" charset="0"/>
                        </a:rPr>
                        <a:t>,5</a:t>
                      </a:r>
                      <a:r>
                        <a:rPr lang="et-EE" sz="1000" b="0" i="0" u="none" strike="noStrike" dirty="0">
                          <a:solidFill>
                            <a:srgbClr val="000000"/>
                          </a:solidFill>
                          <a:effectLst/>
                          <a:latin typeface="Calibri" panose="020F0502020204030204" pitchFamily="34" charset="0"/>
                        </a:rPr>
                        <a:t>%</a:t>
                      </a:r>
                    </a:p>
                  </a:txBody>
                  <a:tcPr marL="5760" marR="5760" marT="576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14735019"/>
                  </a:ext>
                </a:extLst>
              </a:tr>
            </a:tbl>
          </a:graphicData>
        </a:graphic>
      </p:graphicFrame>
      <p:sp>
        <p:nvSpPr>
          <p:cNvPr id="10" name="TextBox 9">
            <a:extLst>
              <a:ext uri="{FF2B5EF4-FFF2-40B4-BE49-F238E27FC236}">
                <a16:creationId xmlns:a16="http://schemas.microsoft.com/office/drawing/2014/main" id="{34692E60-2F08-5CA4-B936-AFB790963D4C}"/>
              </a:ext>
            </a:extLst>
          </p:cNvPr>
          <p:cNvSpPr txBox="1"/>
          <p:nvPr/>
        </p:nvSpPr>
        <p:spPr>
          <a:xfrm>
            <a:off x="6368489" y="4501061"/>
            <a:ext cx="5480574" cy="1477328"/>
          </a:xfrm>
          <a:prstGeom prst="rect">
            <a:avLst/>
          </a:prstGeom>
          <a:solidFill>
            <a:schemeClr val="accent1"/>
          </a:solidFill>
        </p:spPr>
        <p:txBody>
          <a:bodyPr wrap="square">
            <a:spAutoFit/>
          </a:bodyPr>
          <a:lstStyle/>
          <a:p>
            <a:r>
              <a:rPr lang="et-EE" sz="1800">
                <a:solidFill>
                  <a:schemeClr val="bg1"/>
                </a:solidFill>
                <a:latin typeface="+mj-lt"/>
              </a:rPr>
              <a:t>Meretuulepargi lisandväärtus oleks juba esimese opereerimise kümnendi jooksul </a:t>
            </a:r>
            <a:r>
              <a:rPr lang="en-US" b="1">
                <a:solidFill>
                  <a:schemeClr val="bg1"/>
                </a:solidFill>
                <a:latin typeface="+mj-lt"/>
              </a:rPr>
              <a:t>5,5</a:t>
            </a:r>
            <a:r>
              <a:rPr lang="et-EE" sz="1800" b="1">
                <a:solidFill>
                  <a:schemeClr val="bg1"/>
                </a:solidFill>
                <a:latin typeface="+mj-lt"/>
              </a:rPr>
              <a:t> miljardit eurot </a:t>
            </a:r>
            <a:r>
              <a:rPr lang="et-EE" sz="1800">
                <a:solidFill>
                  <a:schemeClr val="bg1"/>
                </a:solidFill>
                <a:latin typeface="+mj-lt"/>
              </a:rPr>
              <a:t>ja valitsussektori otsesed tulud </a:t>
            </a:r>
            <a:r>
              <a:rPr lang="en-US" b="1">
                <a:solidFill>
                  <a:schemeClr val="bg1"/>
                </a:solidFill>
                <a:latin typeface="+mj-lt"/>
              </a:rPr>
              <a:t>1</a:t>
            </a:r>
            <a:r>
              <a:rPr lang="et-EE" sz="1800" b="1">
                <a:solidFill>
                  <a:schemeClr val="bg1"/>
                </a:solidFill>
                <a:latin typeface="+mj-lt"/>
              </a:rPr>
              <a:t>,</a:t>
            </a:r>
            <a:r>
              <a:rPr lang="en-US" sz="1800" b="1">
                <a:solidFill>
                  <a:schemeClr val="bg1"/>
                </a:solidFill>
                <a:latin typeface="+mj-lt"/>
              </a:rPr>
              <a:t>2</a:t>
            </a:r>
            <a:r>
              <a:rPr lang="et-EE" sz="1800" b="1">
                <a:solidFill>
                  <a:schemeClr val="bg1"/>
                </a:solidFill>
                <a:latin typeface="+mj-lt"/>
              </a:rPr>
              <a:t> miljardit eurot</a:t>
            </a:r>
            <a:r>
              <a:rPr lang="et-EE" sz="1800">
                <a:solidFill>
                  <a:schemeClr val="bg1"/>
                </a:solidFill>
                <a:latin typeface="+mj-lt"/>
              </a:rPr>
              <a:t>. Meretuulepargi eluiga on 30-40 aastat.</a:t>
            </a:r>
            <a:r>
              <a:rPr lang="en-US" sz="1800">
                <a:solidFill>
                  <a:schemeClr val="bg1"/>
                </a:solidFill>
                <a:latin typeface="+mj-lt"/>
              </a:rPr>
              <a:t> </a:t>
            </a:r>
            <a:r>
              <a:rPr lang="et-EE" sz="1800">
                <a:solidFill>
                  <a:schemeClr val="bg1"/>
                </a:solidFill>
                <a:latin typeface="+mj-lt"/>
              </a:rPr>
              <a:t>Sellele lisandub energiamahuka tööstuse lisandväärtus.</a:t>
            </a:r>
          </a:p>
        </p:txBody>
      </p:sp>
      <p:sp>
        <p:nvSpPr>
          <p:cNvPr id="11" name="TextBox 10">
            <a:extLst>
              <a:ext uri="{FF2B5EF4-FFF2-40B4-BE49-F238E27FC236}">
                <a16:creationId xmlns:a16="http://schemas.microsoft.com/office/drawing/2014/main" id="{23B0F8D6-5DE6-81A6-69C2-97B593AC4EA8}"/>
              </a:ext>
            </a:extLst>
          </p:cNvPr>
          <p:cNvSpPr txBox="1"/>
          <p:nvPr/>
        </p:nvSpPr>
        <p:spPr>
          <a:xfrm>
            <a:off x="376817" y="5916094"/>
            <a:ext cx="3040243" cy="276999"/>
          </a:xfrm>
          <a:prstGeom prst="rect">
            <a:avLst/>
          </a:prstGeom>
          <a:noFill/>
        </p:spPr>
        <p:txBody>
          <a:bodyPr wrap="square">
            <a:spAutoFit/>
          </a:bodyPr>
          <a:lstStyle/>
          <a:p>
            <a:r>
              <a:rPr lang="en-US" sz="1200" err="1"/>
              <a:t>Allikas</a:t>
            </a:r>
            <a:r>
              <a:rPr lang="en-US" sz="1200"/>
              <a:t>: Taastuvenergia </a:t>
            </a:r>
            <a:r>
              <a:rPr lang="en-US" sz="1200" err="1"/>
              <a:t>koda</a:t>
            </a:r>
            <a:endParaRPr lang="et-EE" sz="1200"/>
          </a:p>
        </p:txBody>
      </p:sp>
    </p:spTree>
    <p:extLst>
      <p:ext uri="{BB962C8B-B14F-4D97-AF65-F5344CB8AC3E}">
        <p14:creationId xmlns:p14="http://schemas.microsoft.com/office/powerpoint/2010/main" val="26318066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lt 1">
            <a:extLst>
              <a:ext uri="{FF2B5EF4-FFF2-40B4-BE49-F238E27FC236}">
                <a16:creationId xmlns:a16="http://schemas.microsoft.com/office/drawing/2014/main" id="{1A12FB82-2D75-0CFE-6C8F-528A8CFC3A66}"/>
              </a:ext>
            </a:extLst>
          </p:cNvPr>
          <p:cNvPicPr>
            <a:picLocks noChangeAspect="1"/>
          </p:cNvPicPr>
          <p:nvPr/>
        </p:nvPicPr>
        <p:blipFill>
          <a:blip r:embed="rId2"/>
          <a:stretch>
            <a:fillRect/>
          </a:stretch>
        </p:blipFill>
        <p:spPr>
          <a:xfrm>
            <a:off x="9783717" y="103698"/>
            <a:ext cx="1972014" cy="744983"/>
          </a:xfrm>
          <a:prstGeom prst="rect">
            <a:avLst/>
          </a:prstGeom>
        </p:spPr>
      </p:pic>
      <p:pic>
        <p:nvPicPr>
          <p:cNvPr id="3" name="Picture 2">
            <a:extLst>
              <a:ext uri="{FF2B5EF4-FFF2-40B4-BE49-F238E27FC236}">
                <a16:creationId xmlns:a16="http://schemas.microsoft.com/office/drawing/2014/main" id="{31454EE0-C5C6-2511-958B-335DDD0E76E4}"/>
              </a:ext>
            </a:extLst>
          </p:cNvPr>
          <p:cNvPicPr>
            <a:picLocks noChangeAspect="1"/>
          </p:cNvPicPr>
          <p:nvPr/>
        </p:nvPicPr>
        <p:blipFill>
          <a:blip r:embed="rId3"/>
          <a:stretch>
            <a:fillRect/>
          </a:stretch>
        </p:blipFill>
        <p:spPr>
          <a:xfrm>
            <a:off x="476965" y="3221913"/>
            <a:ext cx="1062229" cy="3252928"/>
          </a:xfrm>
          <a:prstGeom prst="rect">
            <a:avLst/>
          </a:prstGeom>
        </p:spPr>
      </p:pic>
      <p:pic>
        <p:nvPicPr>
          <p:cNvPr id="5" name="Picture 4">
            <a:extLst>
              <a:ext uri="{FF2B5EF4-FFF2-40B4-BE49-F238E27FC236}">
                <a16:creationId xmlns:a16="http://schemas.microsoft.com/office/drawing/2014/main" id="{BC4A5676-4AA8-66CA-FE18-9951B2A28292}"/>
              </a:ext>
            </a:extLst>
          </p:cNvPr>
          <p:cNvPicPr>
            <a:picLocks noChangeAspect="1"/>
          </p:cNvPicPr>
          <p:nvPr/>
        </p:nvPicPr>
        <p:blipFill rotWithShape="1">
          <a:blip r:embed="rId4"/>
          <a:srcRect t="4238" r="9542"/>
          <a:stretch/>
        </p:blipFill>
        <p:spPr>
          <a:xfrm>
            <a:off x="1378186" y="921302"/>
            <a:ext cx="10419224" cy="5551419"/>
          </a:xfrm>
          <a:prstGeom prst="rect">
            <a:avLst/>
          </a:prstGeom>
        </p:spPr>
      </p:pic>
      <p:pic>
        <p:nvPicPr>
          <p:cNvPr id="8" name="Picture 7">
            <a:extLst>
              <a:ext uri="{FF2B5EF4-FFF2-40B4-BE49-F238E27FC236}">
                <a16:creationId xmlns:a16="http://schemas.microsoft.com/office/drawing/2014/main" id="{1FD751BB-3D56-7E86-EDD6-FE260618A3A1}"/>
              </a:ext>
            </a:extLst>
          </p:cNvPr>
          <p:cNvPicPr>
            <a:picLocks noChangeAspect="1"/>
          </p:cNvPicPr>
          <p:nvPr/>
        </p:nvPicPr>
        <p:blipFill>
          <a:blip r:embed="rId3"/>
          <a:stretch>
            <a:fillRect/>
          </a:stretch>
        </p:blipFill>
        <p:spPr>
          <a:xfrm>
            <a:off x="476966" y="917154"/>
            <a:ext cx="3592967" cy="3995451"/>
          </a:xfrm>
          <a:prstGeom prst="rect">
            <a:avLst/>
          </a:prstGeom>
        </p:spPr>
      </p:pic>
      <p:graphicFrame>
        <p:nvGraphicFramePr>
          <p:cNvPr id="9" name="Chart 8">
            <a:extLst>
              <a:ext uri="{FF2B5EF4-FFF2-40B4-BE49-F238E27FC236}">
                <a16:creationId xmlns:a16="http://schemas.microsoft.com/office/drawing/2014/main" id="{DCDBB46F-085C-4286-E6F2-CBF565A45B56}"/>
              </a:ext>
            </a:extLst>
          </p:cNvPr>
          <p:cNvGraphicFramePr>
            <a:graphicFrameLocks/>
          </p:cNvGraphicFramePr>
          <p:nvPr/>
        </p:nvGraphicFramePr>
        <p:xfrm>
          <a:off x="8072526" y="2107591"/>
          <a:ext cx="3863135" cy="2353395"/>
        </p:xfrm>
        <a:graphic>
          <a:graphicData uri="http://schemas.openxmlformats.org/drawingml/2006/chart">
            <c:chart xmlns:c="http://schemas.openxmlformats.org/drawingml/2006/chart" xmlns:r="http://schemas.openxmlformats.org/officeDocument/2006/relationships" r:id="rId5"/>
          </a:graphicData>
        </a:graphic>
      </p:graphicFrame>
      <p:sp>
        <p:nvSpPr>
          <p:cNvPr id="10" name="Title 1">
            <a:extLst>
              <a:ext uri="{FF2B5EF4-FFF2-40B4-BE49-F238E27FC236}">
                <a16:creationId xmlns:a16="http://schemas.microsoft.com/office/drawing/2014/main" id="{FFCAFE16-AF0E-2F0D-4780-C1F3DC2F0FAF}"/>
              </a:ext>
            </a:extLst>
          </p:cNvPr>
          <p:cNvSpPr txBox="1">
            <a:spLocks/>
          </p:cNvSpPr>
          <p:nvPr/>
        </p:nvSpPr>
        <p:spPr>
          <a:xfrm>
            <a:off x="372955" y="229122"/>
            <a:ext cx="11424455" cy="5732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t-EE" sz="3600"/>
              <a:t>Taastuvenergia arendamise väljakutsed</a:t>
            </a:r>
          </a:p>
        </p:txBody>
      </p:sp>
      <p:sp>
        <p:nvSpPr>
          <p:cNvPr id="11" name="Slide Number Placeholder 3">
            <a:extLst>
              <a:ext uri="{FF2B5EF4-FFF2-40B4-BE49-F238E27FC236}">
                <a16:creationId xmlns:a16="http://schemas.microsoft.com/office/drawing/2014/main" id="{9AF716B6-7A47-5883-8FBD-E3E76408B4A5}"/>
              </a:ext>
            </a:extLst>
          </p:cNvPr>
          <p:cNvSpPr>
            <a:spLocks noGrp="1"/>
          </p:cNvSpPr>
          <p:nvPr>
            <p:ph type="sldNum" sz="quarter" idx="12"/>
          </p:nvPr>
        </p:nvSpPr>
        <p:spPr>
          <a:xfrm>
            <a:off x="8610600" y="6356350"/>
            <a:ext cx="2743200" cy="365125"/>
          </a:xfrm>
        </p:spPr>
        <p:txBody>
          <a:bodyPr/>
          <a:lstStyle/>
          <a:p>
            <a:pPr defTabSz="414772"/>
            <a:fld id="{F3F250AB-27C9-4843-B305-22ABF7AC8460}" type="slidenum">
              <a:rPr lang="en-EE">
                <a:latin typeface="Calibri" panose="020F0502020204030204"/>
              </a:rPr>
              <a:pPr defTabSz="414772"/>
              <a:t>13</a:t>
            </a:fld>
            <a:endParaRPr lang="en-EE">
              <a:latin typeface="Calibri" panose="020F0502020204030204"/>
            </a:endParaRPr>
          </a:p>
        </p:txBody>
      </p:sp>
      <p:graphicFrame>
        <p:nvGraphicFramePr>
          <p:cNvPr id="13" name="Chart 12">
            <a:extLst>
              <a:ext uri="{FF2B5EF4-FFF2-40B4-BE49-F238E27FC236}">
                <a16:creationId xmlns:a16="http://schemas.microsoft.com/office/drawing/2014/main" id="{EADFFB67-4AEF-E4E6-B290-EE0288A63F9C}"/>
              </a:ext>
            </a:extLst>
          </p:cNvPr>
          <p:cNvGraphicFramePr>
            <a:graphicFrameLocks/>
          </p:cNvGraphicFramePr>
          <p:nvPr/>
        </p:nvGraphicFramePr>
        <p:xfrm>
          <a:off x="7242158" y="4924482"/>
          <a:ext cx="5219432" cy="1824912"/>
        </p:xfrm>
        <a:graphic>
          <a:graphicData uri="http://schemas.openxmlformats.org/drawingml/2006/chart">
            <c:chart xmlns:c="http://schemas.openxmlformats.org/drawingml/2006/chart" xmlns:r="http://schemas.openxmlformats.org/officeDocument/2006/relationships" r:id="rId6"/>
          </a:graphicData>
        </a:graphic>
      </p:graphicFrame>
      <p:grpSp>
        <p:nvGrpSpPr>
          <p:cNvPr id="15" name="Group 14">
            <a:extLst>
              <a:ext uri="{FF2B5EF4-FFF2-40B4-BE49-F238E27FC236}">
                <a16:creationId xmlns:a16="http://schemas.microsoft.com/office/drawing/2014/main" id="{03A26ED7-299A-71E9-76AE-858ECCA3B30C}"/>
              </a:ext>
            </a:extLst>
          </p:cNvPr>
          <p:cNvGrpSpPr/>
          <p:nvPr/>
        </p:nvGrpSpPr>
        <p:grpSpPr>
          <a:xfrm>
            <a:off x="9354148" y="5396311"/>
            <a:ext cx="648853" cy="216765"/>
            <a:chOff x="10196678" y="3312986"/>
            <a:chExt cx="715259" cy="238950"/>
          </a:xfrm>
        </p:grpSpPr>
        <p:pic>
          <p:nvPicPr>
            <p:cNvPr id="16" name="Picture 15">
              <a:extLst>
                <a:ext uri="{FF2B5EF4-FFF2-40B4-BE49-F238E27FC236}">
                  <a16:creationId xmlns:a16="http://schemas.microsoft.com/office/drawing/2014/main" id="{1AC7B67E-4600-948B-127B-58D153B13331}"/>
                </a:ext>
              </a:extLst>
            </p:cNvPr>
            <p:cNvPicPr>
              <a:picLocks noChangeAspect="1"/>
            </p:cNvPicPr>
            <p:nvPr/>
          </p:nvPicPr>
          <p:blipFill>
            <a:blip r:embed="rId7"/>
            <a:stretch>
              <a:fillRect/>
            </a:stretch>
          </p:blipFill>
          <p:spPr>
            <a:xfrm>
              <a:off x="10196678" y="3329042"/>
              <a:ext cx="222894" cy="222894"/>
            </a:xfrm>
            <a:prstGeom prst="rect">
              <a:avLst/>
            </a:prstGeom>
          </p:spPr>
        </p:pic>
        <p:pic>
          <p:nvPicPr>
            <p:cNvPr id="17" name="Picture 16">
              <a:extLst>
                <a:ext uri="{FF2B5EF4-FFF2-40B4-BE49-F238E27FC236}">
                  <a16:creationId xmlns:a16="http://schemas.microsoft.com/office/drawing/2014/main" id="{7CDE3CFE-4542-E324-6E41-8A3D06EB95C7}"/>
                </a:ext>
              </a:extLst>
            </p:cNvPr>
            <p:cNvPicPr>
              <a:picLocks noChangeAspect="1"/>
            </p:cNvPicPr>
            <p:nvPr/>
          </p:nvPicPr>
          <p:blipFill>
            <a:blip r:embed="rId8"/>
            <a:stretch>
              <a:fillRect/>
            </a:stretch>
          </p:blipFill>
          <p:spPr>
            <a:xfrm>
              <a:off x="10442980" y="3319625"/>
              <a:ext cx="227231" cy="227231"/>
            </a:xfrm>
            <a:prstGeom prst="rect">
              <a:avLst/>
            </a:prstGeom>
          </p:spPr>
        </p:pic>
        <p:pic>
          <p:nvPicPr>
            <p:cNvPr id="18" name="Picture 17">
              <a:extLst>
                <a:ext uri="{FF2B5EF4-FFF2-40B4-BE49-F238E27FC236}">
                  <a16:creationId xmlns:a16="http://schemas.microsoft.com/office/drawing/2014/main" id="{DF723257-A233-F2E5-2E89-436019EF6E38}"/>
                </a:ext>
              </a:extLst>
            </p:cNvPr>
            <p:cNvPicPr>
              <a:picLocks noChangeAspect="1"/>
            </p:cNvPicPr>
            <p:nvPr/>
          </p:nvPicPr>
          <p:blipFill>
            <a:blip r:embed="rId9"/>
            <a:stretch>
              <a:fillRect/>
            </a:stretch>
          </p:blipFill>
          <p:spPr>
            <a:xfrm>
              <a:off x="10672987" y="3312986"/>
              <a:ext cx="238950" cy="238950"/>
            </a:xfrm>
            <a:prstGeom prst="rect">
              <a:avLst/>
            </a:prstGeom>
          </p:spPr>
        </p:pic>
      </p:grpSp>
      <p:grpSp>
        <p:nvGrpSpPr>
          <p:cNvPr id="19" name="Group 18">
            <a:extLst>
              <a:ext uri="{FF2B5EF4-FFF2-40B4-BE49-F238E27FC236}">
                <a16:creationId xmlns:a16="http://schemas.microsoft.com/office/drawing/2014/main" id="{B703ED7D-0E21-2A51-141C-7C65EC51197F}"/>
              </a:ext>
            </a:extLst>
          </p:cNvPr>
          <p:cNvGrpSpPr/>
          <p:nvPr/>
        </p:nvGrpSpPr>
        <p:grpSpPr>
          <a:xfrm>
            <a:off x="9010720" y="5395123"/>
            <a:ext cx="358083" cy="365421"/>
            <a:chOff x="5424003" y="3264620"/>
            <a:chExt cx="456615" cy="446977"/>
          </a:xfrm>
        </p:grpSpPr>
        <p:sp>
          <p:nvSpPr>
            <p:cNvPr id="20" name="Oval 19">
              <a:extLst>
                <a:ext uri="{FF2B5EF4-FFF2-40B4-BE49-F238E27FC236}">
                  <a16:creationId xmlns:a16="http://schemas.microsoft.com/office/drawing/2014/main" id="{6162190E-156D-6A26-C77B-9A5CEE508E62}"/>
                </a:ext>
              </a:extLst>
            </p:cNvPr>
            <p:cNvSpPr/>
            <p:nvPr/>
          </p:nvSpPr>
          <p:spPr>
            <a:xfrm>
              <a:off x="5429983" y="3264620"/>
              <a:ext cx="433007" cy="446977"/>
            </a:xfrm>
            <a:prstGeom prst="ellipse">
              <a:avLst/>
            </a:prstGeom>
            <a:solidFill>
              <a:srgbClr val="FFA300"/>
            </a:solidFill>
            <a:ln>
              <a:solidFill>
                <a:srgbClr val="FFA3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951" tIns="41475" rIns="82951" bIns="41475"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414772"/>
              <a:endParaRPr lang="et-EE" sz="1089" b="1">
                <a:solidFill>
                  <a:srgbClr val="FFFFFF"/>
                </a:solidFill>
                <a:latin typeface="Calibri" panose="020F0502020204030204"/>
              </a:endParaRPr>
            </a:p>
          </p:txBody>
        </p:sp>
        <p:sp>
          <p:nvSpPr>
            <p:cNvPr id="21" name="TextBox 20">
              <a:extLst>
                <a:ext uri="{FF2B5EF4-FFF2-40B4-BE49-F238E27FC236}">
                  <a16:creationId xmlns:a16="http://schemas.microsoft.com/office/drawing/2014/main" id="{93334015-5EE3-C06F-AE8E-65D80F344FDB}"/>
                </a:ext>
              </a:extLst>
            </p:cNvPr>
            <p:cNvSpPr txBox="1"/>
            <p:nvPr/>
          </p:nvSpPr>
          <p:spPr>
            <a:xfrm>
              <a:off x="5424003" y="3337623"/>
              <a:ext cx="456615" cy="182322"/>
            </a:xfrm>
            <a:prstGeom prst="rect">
              <a:avLst/>
            </a:prstGeom>
          </p:spPr>
          <p:txBody>
            <a:bodyPr vert="horz" wrap="square" lIns="82951" tIns="41475" rIns="82951" bIns="41475" rtlCol="0" anchor="t">
              <a:noAutofit/>
            </a:bodyPr>
            <a:lstStyle/>
            <a:p>
              <a:pPr defTabSz="414772"/>
              <a:r>
                <a:rPr lang="en-US" sz="1089" b="1">
                  <a:solidFill>
                    <a:srgbClr val="FFFFFF"/>
                  </a:solidFill>
                  <a:latin typeface="Calibri" panose="020F0502020204030204"/>
                </a:rPr>
                <a:t>9,5</a:t>
              </a:r>
              <a:endParaRPr lang="et-EE" sz="1089" b="1">
                <a:solidFill>
                  <a:srgbClr val="FFFFFF"/>
                </a:solidFill>
                <a:latin typeface="Calibri" panose="020F0502020204030204"/>
              </a:endParaRPr>
            </a:p>
          </p:txBody>
        </p:sp>
      </p:grpSp>
      <p:grpSp>
        <p:nvGrpSpPr>
          <p:cNvPr id="22" name="Group 21">
            <a:extLst>
              <a:ext uri="{FF2B5EF4-FFF2-40B4-BE49-F238E27FC236}">
                <a16:creationId xmlns:a16="http://schemas.microsoft.com/office/drawing/2014/main" id="{38BEB0EE-0B73-2116-7FE1-4F6F989B8C52}"/>
              </a:ext>
            </a:extLst>
          </p:cNvPr>
          <p:cNvGrpSpPr/>
          <p:nvPr/>
        </p:nvGrpSpPr>
        <p:grpSpPr>
          <a:xfrm>
            <a:off x="9480289" y="4978988"/>
            <a:ext cx="369130" cy="330823"/>
            <a:chOff x="6076188" y="2707703"/>
            <a:chExt cx="406908" cy="364681"/>
          </a:xfrm>
        </p:grpSpPr>
        <p:sp>
          <p:nvSpPr>
            <p:cNvPr id="23" name="Oval 22">
              <a:extLst>
                <a:ext uri="{FF2B5EF4-FFF2-40B4-BE49-F238E27FC236}">
                  <a16:creationId xmlns:a16="http://schemas.microsoft.com/office/drawing/2014/main" id="{795842EC-305D-293D-757A-D013474D479A}"/>
                </a:ext>
              </a:extLst>
            </p:cNvPr>
            <p:cNvSpPr/>
            <p:nvPr/>
          </p:nvSpPr>
          <p:spPr>
            <a:xfrm>
              <a:off x="6080891" y="2707703"/>
              <a:ext cx="370201" cy="364681"/>
            </a:xfrm>
            <a:prstGeom prst="ellipse">
              <a:avLst/>
            </a:prstGeom>
            <a:solidFill>
              <a:srgbClr val="E9692D"/>
            </a:solidFill>
            <a:ln>
              <a:solidFill>
                <a:srgbClr val="E9692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951" tIns="41475" rIns="82951" bIns="41475"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414772"/>
              <a:endParaRPr lang="et-EE" sz="1089" b="1">
                <a:solidFill>
                  <a:srgbClr val="FFFFFF"/>
                </a:solidFill>
                <a:latin typeface="Calibri" panose="020F0502020204030204"/>
              </a:endParaRPr>
            </a:p>
          </p:txBody>
        </p:sp>
        <p:sp>
          <p:nvSpPr>
            <p:cNvPr id="24" name="TextBox 23">
              <a:extLst>
                <a:ext uri="{FF2B5EF4-FFF2-40B4-BE49-F238E27FC236}">
                  <a16:creationId xmlns:a16="http://schemas.microsoft.com/office/drawing/2014/main" id="{8DEDA5E0-8C4D-292D-7168-F35517ECBD60}"/>
                </a:ext>
              </a:extLst>
            </p:cNvPr>
            <p:cNvSpPr txBox="1"/>
            <p:nvPr/>
          </p:nvSpPr>
          <p:spPr>
            <a:xfrm>
              <a:off x="6076188" y="2752344"/>
              <a:ext cx="406908" cy="265176"/>
            </a:xfrm>
            <a:prstGeom prst="rect">
              <a:avLst/>
            </a:prstGeom>
          </p:spPr>
          <p:txBody>
            <a:bodyPr vert="horz" wrap="square" lIns="82951" tIns="41475" rIns="82951" bIns="41475" rtlCol="0" anchor="t">
              <a:noAutofit/>
            </a:bodyPr>
            <a:lstStyle/>
            <a:p>
              <a:pPr defTabSz="414772"/>
              <a:r>
                <a:rPr lang="en-US" sz="1089" b="1">
                  <a:solidFill>
                    <a:srgbClr val="FFFFFF"/>
                  </a:solidFill>
                  <a:latin typeface="Calibri" panose="020F0502020204030204"/>
                </a:rPr>
                <a:t>0,8</a:t>
              </a:r>
              <a:endParaRPr lang="et-EE" sz="1089" b="1">
                <a:solidFill>
                  <a:srgbClr val="FFFFFF"/>
                </a:solidFill>
                <a:latin typeface="Calibri" panose="020F0502020204030204"/>
              </a:endParaRPr>
            </a:p>
          </p:txBody>
        </p:sp>
      </p:grpSp>
      <p:graphicFrame>
        <p:nvGraphicFramePr>
          <p:cNvPr id="25" name="Chart 24">
            <a:extLst>
              <a:ext uri="{FF2B5EF4-FFF2-40B4-BE49-F238E27FC236}">
                <a16:creationId xmlns:a16="http://schemas.microsoft.com/office/drawing/2014/main" id="{0CE7A2EC-8C80-623D-8F8F-6A1B5091B621}"/>
              </a:ext>
            </a:extLst>
          </p:cNvPr>
          <p:cNvGraphicFramePr>
            <a:graphicFrameLocks/>
          </p:cNvGraphicFramePr>
          <p:nvPr/>
        </p:nvGraphicFramePr>
        <p:xfrm>
          <a:off x="5023116" y="1563269"/>
          <a:ext cx="5225460" cy="2881907"/>
        </p:xfrm>
        <a:graphic>
          <a:graphicData uri="http://schemas.openxmlformats.org/drawingml/2006/chart">
            <c:chart xmlns:c="http://schemas.openxmlformats.org/drawingml/2006/chart" xmlns:r="http://schemas.openxmlformats.org/officeDocument/2006/relationships" r:id="rId10"/>
          </a:graphicData>
        </a:graphic>
      </p:graphicFrame>
      <p:grpSp>
        <p:nvGrpSpPr>
          <p:cNvPr id="26" name="Group 25">
            <a:extLst>
              <a:ext uri="{FF2B5EF4-FFF2-40B4-BE49-F238E27FC236}">
                <a16:creationId xmlns:a16="http://schemas.microsoft.com/office/drawing/2014/main" id="{E1A3A7C1-9B43-E25F-1064-4AE2307285CD}"/>
              </a:ext>
            </a:extLst>
          </p:cNvPr>
          <p:cNvGrpSpPr/>
          <p:nvPr/>
        </p:nvGrpSpPr>
        <p:grpSpPr>
          <a:xfrm>
            <a:off x="6896617" y="3783400"/>
            <a:ext cx="524728" cy="495555"/>
            <a:chOff x="1688846" y="2306448"/>
            <a:chExt cx="548640" cy="580644"/>
          </a:xfrm>
        </p:grpSpPr>
        <p:sp>
          <p:nvSpPr>
            <p:cNvPr id="27" name="Oval 26">
              <a:extLst>
                <a:ext uri="{FF2B5EF4-FFF2-40B4-BE49-F238E27FC236}">
                  <a16:creationId xmlns:a16="http://schemas.microsoft.com/office/drawing/2014/main" id="{766748BB-6E7C-2EF4-95C3-20EFB595E1DF}"/>
                </a:ext>
              </a:extLst>
            </p:cNvPr>
            <p:cNvSpPr/>
            <p:nvPr/>
          </p:nvSpPr>
          <p:spPr>
            <a:xfrm>
              <a:off x="1688846" y="2306448"/>
              <a:ext cx="548640" cy="580644"/>
            </a:xfrm>
            <a:prstGeom prst="ellipse">
              <a:avLst/>
            </a:prstGeom>
            <a:solidFill>
              <a:srgbClr val="A2C02F"/>
            </a:solidFill>
            <a:ln>
              <a:solidFill>
                <a:srgbClr val="A2C02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951" tIns="41475" rIns="82951" bIns="41475"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414772"/>
              <a:endParaRPr lang="et-EE" sz="1089" b="1">
                <a:solidFill>
                  <a:srgbClr val="FFFFFF"/>
                </a:solidFill>
                <a:latin typeface="Calibri" panose="020F0502020204030204"/>
              </a:endParaRPr>
            </a:p>
          </p:txBody>
        </p:sp>
        <p:sp>
          <p:nvSpPr>
            <p:cNvPr id="28" name="TextBox 3">
              <a:extLst>
                <a:ext uri="{FF2B5EF4-FFF2-40B4-BE49-F238E27FC236}">
                  <a16:creationId xmlns:a16="http://schemas.microsoft.com/office/drawing/2014/main" id="{7DE78227-A65B-E01F-9EA1-1C3AB2DB4B1E}"/>
                </a:ext>
              </a:extLst>
            </p:cNvPr>
            <p:cNvSpPr txBox="1"/>
            <p:nvPr/>
          </p:nvSpPr>
          <p:spPr>
            <a:xfrm>
              <a:off x="1735021" y="2455022"/>
              <a:ext cx="470916" cy="228600"/>
            </a:xfrm>
            <a:prstGeom prst="rect">
              <a:avLst/>
            </a:prstGeom>
          </p:spPr>
          <p:txBody>
            <a:bodyPr vert="horz" wrap="square" lIns="82951" tIns="41475" rIns="82951" bIns="41475"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14772"/>
              <a:r>
                <a:rPr lang="en-US" sz="1089" b="1">
                  <a:solidFill>
                    <a:srgbClr val="FFFFFF"/>
                  </a:solidFill>
                  <a:latin typeface="Calibri" panose="020F0502020204030204"/>
                </a:rPr>
                <a:t>46,2</a:t>
              </a:r>
              <a:endParaRPr lang="et-EE" sz="1089" b="1">
                <a:solidFill>
                  <a:srgbClr val="FFFFFF"/>
                </a:solidFill>
                <a:latin typeface="Calibri" panose="020F0502020204030204"/>
              </a:endParaRPr>
            </a:p>
          </p:txBody>
        </p:sp>
      </p:grpSp>
      <p:grpSp>
        <p:nvGrpSpPr>
          <p:cNvPr id="29" name="Group 28">
            <a:extLst>
              <a:ext uri="{FF2B5EF4-FFF2-40B4-BE49-F238E27FC236}">
                <a16:creationId xmlns:a16="http://schemas.microsoft.com/office/drawing/2014/main" id="{E8C72416-FB0C-E041-DEBB-62389424B629}"/>
              </a:ext>
            </a:extLst>
          </p:cNvPr>
          <p:cNvGrpSpPr/>
          <p:nvPr/>
        </p:nvGrpSpPr>
        <p:grpSpPr>
          <a:xfrm>
            <a:off x="8345539" y="2246938"/>
            <a:ext cx="510146" cy="535031"/>
            <a:chOff x="3951985" y="1323468"/>
            <a:chExt cx="562356" cy="589788"/>
          </a:xfrm>
        </p:grpSpPr>
        <p:sp>
          <p:nvSpPr>
            <p:cNvPr id="30" name="Oval 29">
              <a:extLst>
                <a:ext uri="{FF2B5EF4-FFF2-40B4-BE49-F238E27FC236}">
                  <a16:creationId xmlns:a16="http://schemas.microsoft.com/office/drawing/2014/main" id="{A4A2F4E8-ACE3-3CC8-40D4-200CD0C18144}"/>
                </a:ext>
              </a:extLst>
            </p:cNvPr>
            <p:cNvSpPr/>
            <p:nvPr/>
          </p:nvSpPr>
          <p:spPr>
            <a:xfrm>
              <a:off x="3951985" y="1323468"/>
              <a:ext cx="562356" cy="589788"/>
            </a:xfrm>
            <a:prstGeom prst="ellipse">
              <a:avLst/>
            </a:prstGeom>
            <a:solidFill>
              <a:srgbClr val="92B5E2"/>
            </a:solidFill>
            <a:ln>
              <a:solidFill>
                <a:srgbClr val="92B5E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951" tIns="41475" rIns="82951" bIns="41475"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414772"/>
              <a:endParaRPr lang="et-EE" sz="1089" b="1">
                <a:solidFill>
                  <a:srgbClr val="FFFFFF"/>
                </a:solidFill>
                <a:latin typeface="Calibri" panose="020F0502020204030204"/>
              </a:endParaRPr>
            </a:p>
          </p:txBody>
        </p:sp>
        <p:sp>
          <p:nvSpPr>
            <p:cNvPr id="31" name="TextBox 3">
              <a:extLst>
                <a:ext uri="{FF2B5EF4-FFF2-40B4-BE49-F238E27FC236}">
                  <a16:creationId xmlns:a16="http://schemas.microsoft.com/office/drawing/2014/main" id="{F03922A0-C6F8-921D-B957-8D766C317485}"/>
                </a:ext>
              </a:extLst>
            </p:cNvPr>
            <p:cNvSpPr txBox="1"/>
            <p:nvPr/>
          </p:nvSpPr>
          <p:spPr>
            <a:xfrm>
              <a:off x="4011421" y="1497204"/>
              <a:ext cx="489204" cy="242316"/>
            </a:xfrm>
            <a:prstGeom prst="rect">
              <a:avLst/>
            </a:prstGeom>
          </p:spPr>
          <p:txBody>
            <a:bodyPr vert="horz" wrap="square" lIns="82951" tIns="41475" rIns="82951" bIns="41475"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14772"/>
              <a:r>
                <a:rPr lang="en-US" sz="1089" b="1">
                  <a:solidFill>
                    <a:srgbClr val="FFFFFF"/>
                  </a:solidFill>
                  <a:latin typeface="Calibri" panose="020F0502020204030204"/>
                </a:rPr>
                <a:t>46,9</a:t>
              </a:r>
              <a:endParaRPr lang="et-EE" sz="1089" b="1">
                <a:solidFill>
                  <a:srgbClr val="FFFFFF"/>
                </a:solidFill>
                <a:latin typeface="Calibri" panose="020F0502020204030204"/>
              </a:endParaRPr>
            </a:p>
          </p:txBody>
        </p:sp>
      </p:grpSp>
      <p:grpSp>
        <p:nvGrpSpPr>
          <p:cNvPr id="32" name="Group 31">
            <a:extLst>
              <a:ext uri="{FF2B5EF4-FFF2-40B4-BE49-F238E27FC236}">
                <a16:creationId xmlns:a16="http://schemas.microsoft.com/office/drawing/2014/main" id="{88C28A59-B9A8-FAAE-E5AC-E761E86D4F5E}"/>
              </a:ext>
            </a:extLst>
          </p:cNvPr>
          <p:cNvGrpSpPr/>
          <p:nvPr/>
        </p:nvGrpSpPr>
        <p:grpSpPr>
          <a:xfrm>
            <a:off x="6441009" y="2154380"/>
            <a:ext cx="493556" cy="485261"/>
            <a:chOff x="8797158" y="3268535"/>
            <a:chExt cx="544068" cy="534924"/>
          </a:xfrm>
        </p:grpSpPr>
        <p:sp>
          <p:nvSpPr>
            <p:cNvPr id="33" name="Oval 32">
              <a:extLst>
                <a:ext uri="{FF2B5EF4-FFF2-40B4-BE49-F238E27FC236}">
                  <a16:creationId xmlns:a16="http://schemas.microsoft.com/office/drawing/2014/main" id="{E99DD0E1-28B0-7DBC-F936-D48BDCFE6931}"/>
                </a:ext>
              </a:extLst>
            </p:cNvPr>
            <p:cNvSpPr/>
            <p:nvPr/>
          </p:nvSpPr>
          <p:spPr>
            <a:xfrm>
              <a:off x="8797158" y="3268535"/>
              <a:ext cx="544068" cy="534924"/>
            </a:xfrm>
            <a:prstGeom prst="ellipse">
              <a:avLst/>
            </a:prstGeom>
            <a:solidFill>
              <a:srgbClr val="FFA300"/>
            </a:solidFill>
            <a:ln>
              <a:solidFill>
                <a:srgbClr val="FFA3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951" tIns="41475" rIns="82951" bIns="41475"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414772"/>
              <a:endParaRPr lang="et-EE" sz="1089" b="1">
                <a:solidFill>
                  <a:srgbClr val="FFFFFF"/>
                </a:solidFill>
                <a:latin typeface="Calibri" panose="020F0502020204030204"/>
              </a:endParaRPr>
            </a:p>
          </p:txBody>
        </p:sp>
        <p:sp>
          <p:nvSpPr>
            <p:cNvPr id="34" name="TextBox 33">
              <a:extLst>
                <a:ext uri="{FF2B5EF4-FFF2-40B4-BE49-F238E27FC236}">
                  <a16:creationId xmlns:a16="http://schemas.microsoft.com/office/drawing/2014/main" id="{47AB206E-8FE3-6B16-56D9-6EBDD20FE516}"/>
                </a:ext>
              </a:extLst>
            </p:cNvPr>
            <p:cNvSpPr txBox="1"/>
            <p:nvPr/>
          </p:nvSpPr>
          <p:spPr>
            <a:xfrm>
              <a:off x="8829823" y="3404381"/>
              <a:ext cx="482990" cy="220394"/>
            </a:xfrm>
            <a:prstGeom prst="rect">
              <a:avLst/>
            </a:prstGeom>
          </p:spPr>
          <p:txBody>
            <a:bodyPr vert="horz" wrap="square" lIns="82951" tIns="41475" rIns="82951" bIns="41475" rtlCol="0" anchor="t">
              <a:noAutofit/>
            </a:bodyPr>
            <a:lstStyle/>
            <a:p>
              <a:pPr defTabSz="414772"/>
              <a:r>
                <a:rPr lang="en-US" sz="1089" b="1">
                  <a:solidFill>
                    <a:srgbClr val="FFFFFF"/>
                  </a:solidFill>
                  <a:latin typeface="Calibri" panose="020F0502020204030204"/>
                </a:rPr>
                <a:t>30,0</a:t>
              </a:r>
              <a:endParaRPr lang="et-EE" sz="1089" b="1">
                <a:solidFill>
                  <a:srgbClr val="FFFFFF"/>
                </a:solidFill>
                <a:latin typeface="Calibri" panose="020F0502020204030204"/>
              </a:endParaRPr>
            </a:p>
          </p:txBody>
        </p:sp>
      </p:grpSp>
      <p:grpSp>
        <p:nvGrpSpPr>
          <p:cNvPr id="35" name="Group 34">
            <a:extLst>
              <a:ext uri="{FF2B5EF4-FFF2-40B4-BE49-F238E27FC236}">
                <a16:creationId xmlns:a16="http://schemas.microsoft.com/office/drawing/2014/main" id="{F1930C77-DE10-88C9-DDA0-ED92A8616814}"/>
              </a:ext>
            </a:extLst>
          </p:cNvPr>
          <p:cNvGrpSpPr/>
          <p:nvPr/>
        </p:nvGrpSpPr>
        <p:grpSpPr>
          <a:xfrm>
            <a:off x="7252856" y="1632266"/>
            <a:ext cx="489196" cy="476434"/>
            <a:chOff x="9645747" y="2804160"/>
            <a:chExt cx="539262" cy="525194"/>
          </a:xfrm>
        </p:grpSpPr>
        <p:sp>
          <p:nvSpPr>
            <p:cNvPr id="36" name="Oval 35">
              <a:extLst>
                <a:ext uri="{FF2B5EF4-FFF2-40B4-BE49-F238E27FC236}">
                  <a16:creationId xmlns:a16="http://schemas.microsoft.com/office/drawing/2014/main" id="{3547F492-9F00-1147-7AA5-855105C8B12D}"/>
                </a:ext>
              </a:extLst>
            </p:cNvPr>
            <p:cNvSpPr/>
            <p:nvPr/>
          </p:nvSpPr>
          <p:spPr>
            <a:xfrm>
              <a:off x="9645747" y="2804160"/>
              <a:ext cx="539262" cy="525194"/>
            </a:xfrm>
            <a:prstGeom prst="ellipse">
              <a:avLst/>
            </a:prstGeom>
            <a:solidFill>
              <a:srgbClr val="E9692D"/>
            </a:solidFill>
            <a:ln>
              <a:solidFill>
                <a:srgbClr val="E9692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951" tIns="41475" rIns="82951" bIns="41475"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414772"/>
              <a:endParaRPr lang="et-EE" sz="1089" b="1">
                <a:solidFill>
                  <a:srgbClr val="FFFFFF"/>
                </a:solidFill>
                <a:latin typeface="Calibri" panose="020F0502020204030204"/>
              </a:endParaRPr>
            </a:p>
          </p:txBody>
        </p:sp>
        <p:sp>
          <p:nvSpPr>
            <p:cNvPr id="37" name="TextBox 36">
              <a:extLst>
                <a:ext uri="{FF2B5EF4-FFF2-40B4-BE49-F238E27FC236}">
                  <a16:creationId xmlns:a16="http://schemas.microsoft.com/office/drawing/2014/main" id="{BDD65CCC-4C0F-50F4-F83E-1FD02E5E5669}"/>
                </a:ext>
              </a:extLst>
            </p:cNvPr>
            <p:cNvSpPr txBox="1"/>
            <p:nvPr/>
          </p:nvSpPr>
          <p:spPr>
            <a:xfrm>
              <a:off x="9729802" y="2921742"/>
              <a:ext cx="398585" cy="257908"/>
            </a:xfrm>
            <a:prstGeom prst="rect">
              <a:avLst/>
            </a:prstGeom>
          </p:spPr>
          <p:txBody>
            <a:bodyPr vert="horz" wrap="square" lIns="82951" tIns="41475" rIns="82951" bIns="41475" rtlCol="0" anchor="t">
              <a:noAutofit/>
            </a:bodyPr>
            <a:lstStyle/>
            <a:p>
              <a:pPr defTabSz="414772"/>
              <a:r>
                <a:rPr lang="en-US" sz="1089" b="1">
                  <a:solidFill>
                    <a:srgbClr val="FFFFFF"/>
                  </a:solidFill>
                  <a:latin typeface="Calibri" panose="020F0502020204030204"/>
                </a:rPr>
                <a:t>5,2</a:t>
              </a:r>
              <a:endParaRPr lang="et-EE" sz="1089" b="1">
                <a:solidFill>
                  <a:srgbClr val="FFFFFF"/>
                </a:solidFill>
                <a:latin typeface="Calibri" panose="020F0502020204030204"/>
              </a:endParaRPr>
            </a:p>
          </p:txBody>
        </p:sp>
      </p:grpSp>
      <p:pic>
        <p:nvPicPr>
          <p:cNvPr id="38" name="Picture 37">
            <a:extLst>
              <a:ext uri="{FF2B5EF4-FFF2-40B4-BE49-F238E27FC236}">
                <a16:creationId xmlns:a16="http://schemas.microsoft.com/office/drawing/2014/main" id="{4BB758AC-136F-7EFA-8F90-E5CAEBBB9D60}"/>
              </a:ext>
            </a:extLst>
          </p:cNvPr>
          <p:cNvPicPr>
            <a:picLocks noChangeAspect="1"/>
          </p:cNvPicPr>
          <p:nvPr/>
        </p:nvPicPr>
        <p:blipFill>
          <a:blip r:embed="rId11"/>
          <a:stretch>
            <a:fillRect/>
          </a:stretch>
        </p:blipFill>
        <p:spPr>
          <a:xfrm>
            <a:off x="7323532" y="2424699"/>
            <a:ext cx="570594" cy="570594"/>
          </a:xfrm>
          <a:prstGeom prst="rect">
            <a:avLst/>
          </a:prstGeom>
        </p:spPr>
      </p:pic>
      <p:graphicFrame>
        <p:nvGraphicFramePr>
          <p:cNvPr id="39" name="Chart 38">
            <a:extLst>
              <a:ext uri="{FF2B5EF4-FFF2-40B4-BE49-F238E27FC236}">
                <a16:creationId xmlns:a16="http://schemas.microsoft.com/office/drawing/2014/main" id="{9FE7E600-CB4B-9654-C150-51E4846D00C1}"/>
              </a:ext>
            </a:extLst>
          </p:cNvPr>
          <p:cNvGraphicFramePr>
            <a:graphicFrameLocks/>
          </p:cNvGraphicFramePr>
          <p:nvPr/>
        </p:nvGraphicFramePr>
        <p:xfrm>
          <a:off x="9199849" y="4415421"/>
          <a:ext cx="2201242" cy="888896"/>
        </p:xfrm>
        <a:graphic>
          <a:graphicData uri="http://schemas.openxmlformats.org/drawingml/2006/chart">
            <c:chart xmlns:c="http://schemas.openxmlformats.org/drawingml/2006/chart" xmlns:r="http://schemas.openxmlformats.org/officeDocument/2006/relationships" r:id="rId12"/>
          </a:graphicData>
        </a:graphic>
      </p:graphicFrame>
      <p:grpSp>
        <p:nvGrpSpPr>
          <p:cNvPr id="40" name="Group 39">
            <a:extLst>
              <a:ext uri="{FF2B5EF4-FFF2-40B4-BE49-F238E27FC236}">
                <a16:creationId xmlns:a16="http://schemas.microsoft.com/office/drawing/2014/main" id="{FEBB4E8E-FD4A-078E-497D-1191D9E21D58}"/>
              </a:ext>
            </a:extLst>
          </p:cNvPr>
          <p:cNvGrpSpPr/>
          <p:nvPr/>
        </p:nvGrpSpPr>
        <p:grpSpPr>
          <a:xfrm>
            <a:off x="10258217" y="4972536"/>
            <a:ext cx="331802" cy="262655"/>
            <a:chOff x="1742147" y="2450977"/>
            <a:chExt cx="665158" cy="580644"/>
          </a:xfrm>
        </p:grpSpPr>
        <p:sp>
          <p:nvSpPr>
            <p:cNvPr id="41" name="Oval 40">
              <a:extLst>
                <a:ext uri="{FF2B5EF4-FFF2-40B4-BE49-F238E27FC236}">
                  <a16:creationId xmlns:a16="http://schemas.microsoft.com/office/drawing/2014/main" id="{51F1B6AD-B801-9A4B-5B51-60FAE8D8F46F}"/>
                </a:ext>
              </a:extLst>
            </p:cNvPr>
            <p:cNvSpPr/>
            <p:nvPr/>
          </p:nvSpPr>
          <p:spPr>
            <a:xfrm>
              <a:off x="1779867" y="2450977"/>
              <a:ext cx="548639" cy="580644"/>
            </a:xfrm>
            <a:prstGeom prst="ellipse">
              <a:avLst/>
            </a:prstGeom>
            <a:solidFill>
              <a:srgbClr val="A2C02F"/>
            </a:solidFill>
            <a:ln>
              <a:solidFill>
                <a:srgbClr val="A2C02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951" tIns="41475" rIns="82951" bIns="41475"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414772"/>
              <a:endParaRPr lang="et-EE" sz="907" b="1">
                <a:solidFill>
                  <a:srgbClr val="FFFFFF"/>
                </a:solidFill>
                <a:latin typeface="Calibri" panose="020F0502020204030204"/>
              </a:endParaRPr>
            </a:p>
          </p:txBody>
        </p:sp>
        <p:sp>
          <p:nvSpPr>
            <p:cNvPr id="42" name="TextBox 3">
              <a:extLst>
                <a:ext uri="{FF2B5EF4-FFF2-40B4-BE49-F238E27FC236}">
                  <a16:creationId xmlns:a16="http://schemas.microsoft.com/office/drawing/2014/main" id="{383A6094-D663-5EE6-D4A3-70B92ECC18BA}"/>
                </a:ext>
              </a:extLst>
            </p:cNvPr>
            <p:cNvSpPr txBox="1"/>
            <p:nvPr/>
          </p:nvSpPr>
          <p:spPr>
            <a:xfrm>
              <a:off x="1742147" y="2506170"/>
              <a:ext cx="665158" cy="382824"/>
            </a:xfrm>
            <a:prstGeom prst="rect">
              <a:avLst/>
            </a:prstGeom>
          </p:spPr>
          <p:txBody>
            <a:bodyPr vert="horz" wrap="square" lIns="82951" tIns="41475" rIns="82951" bIns="41475" rtlCol="0" anchor="t">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14772"/>
              <a:r>
                <a:rPr lang="en-US" sz="907" b="1">
                  <a:solidFill>
                    <a:srgbClr val="FFFFFF"/>
                  </a:solidFill>
                  <a:latin typeface="Calibri" panose="020F0502020204030204"/>
                </a:rPr>
                <a:t>2,2</a:t>
              </a:r>
              <a:endParaRPr lang="et-EE" sz="907" b="1">
                <a:solidFill>
                  <a:srgbClr val="FFFFFF"/>
                </a:solidFill>
                <a:latin typeface="Calibri" panose="020F0502020204030204"/>
              </a:endParaRPr>
            </a:p>
          </p:txBody>
        </p:sp>
      </p:grpSp>
      <p:grpSp>
        <p:nvGrpSpPr>
          <p:cNvPr id="43" name="Group 42">
            <a:extLst>
              <a:ext uri="{FF2B5EF4-FFF2-40B4-BE49-F238E27FC236}">
                <a16:creationId xmlns:a16="http://schemas.microsoft.com/office/drawing/2014/main" id="{74287658-70E4-25EB-DA91-8EC84B7BF86F}"/>
              </a:ext>
            </a:extLst>
          </p:cNvPr>
          <p:cNvGrpSpPr/>
          <p:nvPr/>
        </p:nvGrpSpPr>
        <p:grpSpPr>
          <a:xfrm>
            <a:off x="10129182" y="4429670"/>
            <a:ext cx="359452" cy="252517"/>
            <a:chOff x="6054772" y="2727311"/>
            <a:chExt cx="505744" cy="364681"/>
          </a:xfrm>
        </p:grpSpPr>
        <p:sp>
          <p:nvSpPr>
            <p:cNvPr id="44" name="Oval 43">
              <a:extLst>
                <a:ext uri="{FF2B5EF4-FFF2-40B4-BE49-F238E27FC236}">
                  <a16:creationId xmlns:a16="http://schemas.microsoft.com/office/drawing/2014/main" id="{482A3965-641E-1B71-4E58-6FFE7405D076}"/>
                </a:ext>
              </a:extLst>
            </p:cNvPr>
            <p:cNvSpPr/>
            <p:nvPr/>
          </p:nvSpPr>
          <p:spPr>
            <a:xfrm>
              <a:off x="6107864" y="2727311"/>
              <a:ext cx="370201" cy="364681"/>
            </a:xfrm>
            <a:prstGeom prst="ellipse">
              <a:avLst/>
            </a:prstGeom>
            <a:solidFill>
              <a:srgbClr val="E9692D"/>
            </a:solidFill>
            <a:ln>
              <a:solidFill>
                <a:srgbClr val="E9692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2951" tIns="41475" rIns="82951" bIns="41475"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414772"/>
              <a:endParaRPr lang="et-EE" sz="1089" b="1">
                <a:solidFill>
                  <a:srgbClr val="FFFFFF"/>
                </a:solidFill>
                <a:latin typeface="Calibri" panose="020F0502020204030204"/>
              </a:endParaRPr>
            </a:p>
          </p:txBody>
        </p:sp>
        <p:sp>
          <p:nvSpPr>
            <p:cNvPr id="45" name="TextBox 44">
              <a:extLst>
                <a:ext uri="{FF2B5EF4-FFF2-40B4-BE49-F238E27FC236}">
                  <a16:creationId xmlns:a16="http://schemas.microsoft.com/office/drawing/2014/main" id="{A96BD42D-33DE-D3EA-888E-782D3B0C22B1}"/>
                </a:ext>
              </a:extLst>
            </p:cNvPr>
            <p:cNvSpPr txBox="1"/>
            <p:nvPr/>
          </p:nvSpPr>
          <p:spPr>
            <a:xfrm>
              <a:off x="6054772" y="2742070"/>
              <a:ext cx="505744" cy="265176"/>
            </a:xfrm>
            <a:prstGeom prst="rect">
              <a:avLst/>
            </a:prstGeom>
          </p:spPr>
          <p:txBody>
            <a:bodyPr vert="horz" wrap="square" lIns="82951" tIns="41475" rIns="82951" bIns="41475" rtlCol="0" anchor="t">
              <a:noAutofit/>
            </a:bodyPr>
            <a:lstStyle/>
            <a:p>
              <a:pPr defTabSz="414772"/>
              <a:r>
                <a:rPr lang="en-US" sz="907" b="1">
                  <a:solidFill>
                    <a:srgbClr val="FFFFFF"/>
                  </a:solidFill>
                  <a:latin typeface="Calibri" panose="020F0502020204030204"/>
                </a:rPr>
                <a:t>0,2</a:t>
              </a:r>
              <a:endParaRPr lang="et-EE" sz="907" b="1">
                <a:solidFill>
                  <a:srgbClr val="FFFFFF"/>
                </a:solidFill>
                <a:latin typeface="Calibri" panose="020F0502020204030204"/>
              </a:endParaRPr>
            </a:p>
          </p:txBody>
        </p:sp>
      </p:grpSp>
      <p:pic>
        <p:nvPicPr>
          <p:cNvPr id="46" name="Picture 45">
            <a:extLst>
              <a:ext uri="{FF2B5EF4-FFF2-40B4-BE49-F238E27FC236}">
                <a16:creationId xmlns:a16="http://schemas.microsoft.com/office/drawing/2014/main" id="{EDE48A73-C124-978B-E56A-80DDED6CA02B}"/>
              </a:ext>
            </a:extLst>
          </p:cNvPr>
          <p:cNvPicPr>
            <a:picLocks noChangeAspect="1"/>
          </p:cNvPicPr>
          <p:nvPr/>
        </p:nvPicPr>
        <p:blipFill>
          <a:blip r:embed="rId7"/>
          <a:stretch>
            <a:fillRect/>
          </a:stretch>
        </p:blipFill>
        <p:spPr>
          <a:xfrm>
            <a:off x="10232293" y="4692153"/>
            <a:ext cx="164175" cy="164175"/>
          </a:xfrm>
          <a:prstGeom prst="rect">
            <a:avLst/>
          </a:prstGeom>
        </p:spPr>
      </p:pic>
      <p:sp>
        <p:nvSpPr>
          <p:cNvPr id="47" name="Text Placeholder 5">
            <a:extLst>
              <a:ext uri="{FF2B5EF4-FFF2-40B4-BE49-F238E27FC236}">
                <a16:creationId xmlns:a16="http://schemas.microsoft.com/office/drawing/2014/main" id="{22671DFE-9DBD-487F-D695-49C2A50147B7}"/>
              </a:ext>
            </a:extLst>
          </p:cNvPr>
          <p:cNvSpPr txBox="1">
            <a:spLocks/>
          </p:cNvSpPr>
          <p:nvPr/>
        </p:nvSpPr>
        <p:spPr>
          <a:xfrm>
            <a:off x="705080" y="6041764"/>
            <a:ext cx="4171101" cy="332040"/>
          </a:xfrm>
          <a:prstGeom prst="rect">
            <a:avLst/>
          </a:prstGeom>
        </p:spPr>
        <p:txBody>
          <a:bodyPr vert="horz" lIns="81644" tIns="41475" rIns="82951" bIns="41475" rtlCol="0">
            <a:noAutofit/>
          </a:bodyPr>
          <a:lstStyle>
            <a:lvl1pPr marL="0" indent="0" algn="l" defTabSz="964693" rtl="0" eaLnBrk="1" latinLnBrk="0" hangingPunct="1">
              <a:lnSpc>
                <a:spcPct val="100000"/>
              </a:lnSpc>
              <a:spcBef>
                <a:spcPts val="600"/>
              </a:spcBef>
              <a:spcAft>
                <a:spcPts val="0"/>
              </a:spcAft>
              <a:buFontTx/>
              <a:buNone/>
              <a:tabLst/>
              <a:defRPr sz="1400" b="1" kern="1200">
                <a:solidFill>
                  <a:schemeClr val="tx1"/>
                </a:solidFill>
                <a:latin typeface="+mn-lt"/>
                <a:ea typeface="+mn-ea"/>
                <a:cs typeface="+mn-cs"/>
              </a:defRPr>
            </a:lvl1pPr>
            <a:lvl2pPr marL="268258" indent="-134922" algn="l" defTabSz="964693" rtl="0" eaLnBrk="1" latinLnBrk="0" hangingPunct="1">
              <a:lnSpc>
                <a:spcPct val="100000"/>
              </a:lnSpc>
              <a:spcBef>
                <a:spcPts val="600"/>
              </a:spcBef>
              <a:buFont typeface="System Font Regular"/>
              <a:buChar char="-"/>
              <a:tabLst/>
              <a:defRPr sz="1200" kern="1200">
                <a:solidFill>
                  <a:schemeClr val="tx1"/>
                </a:solidFill>
                <a:latin typeface="+mn-lt"/>
                <a:ea typeface="+mn-ea"/>
                <a:cs typeface="+mn-cs"/>
              </a:defRPr>
            </a:lvl2pPr>
            <a:lvl3pPr marL="403154" indent="-136785" algn="l" defTabSz="964693" rtl="0" eaLnBrk="1" latinLnBrk="0" hangingPunct="1">
              <a:lnSpc>
                <a:spcPct val="100000"/>
              </a:lnSpc>
              <a:spcBef>
                <a:spcPts val="600"/>
              </a:spcBef>
              <a:buFont typeface="System Font Regular"/>
              <a:buChar char="-"/>
              <a:tabLst/>
              <a:defRPr sz="1100" kern="1200">
                <a:solidFill>
                  <a:schemeClr val="tx1"/>
                </a:solidFill>
                <a:latin typeface="+mn-lt"/>
                <a:ea typeface="+mn-ea"/>
                <a:cs typeface="+mn-cs"/>
              </a:defRPr>
            </a:lvl3pPr>
            <a:lvl4pPr marL="1155592" indent="-253975" algn="l" defTabSz="964693" rtl="0" eaLnBrk="1" latinLnBrk="0" hangingPunct="1">
              <a:lnSpc>
                <a:spcPct val="90000"/>
              </a:lnSpc>
              <a:spcBef>
                <a:spcPts val="528"/>
              </a:spcBef>
              <a:buFont typeface="System Font Regular"/>
              <a:buChar char="-"/>
              <a:tabLst/>
              <a:defRPr sz="1101" kern="1200">
                <a:solidFill>
                  <a:schemeClr val="tx1"/>
                </a:solidFill>
                <a:latin typeface="+mn-lt"/>
                <a:ea typeface="+mn-ea"/>
                <a:cs typeface="+mn-cs"/>
              </a:defRPr>
            </a:lvl4pPr>
            <a:lvl5pPr marL="1466712" indent="-253975" algn="l" defTabSz="964693" rtl="0" eaLnBrk="1" latinLnBrk="0" hangingPunct="1">
              <a:lnSpc>
                <a:spcPct val="90000"/>
              </a:lnSpc>
              <a:spcBef>
                <a:spcPts val="528"/>
              </a:spcBef>
              <a:buFont typeface="System Font Regular"/>
              <a:buChar char="-"/>
              <a:tabLst/>
              <a:defRPr sz="1050" kern="1200">
                <a:solidFill>
                  <a:schemeClr val="tx1"/>
                </a:solidFill>
                <a:latin typeface="+mn-lt"/>
                <a:ea typeface="+mn-ea"/>
                <a:cs typeface="+mn-cs"/>
              </a:defRPr>
            </a:lvl5pPr>
            <a:lvl6pPr marL="2652905"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6pPr>
            <a:lvl7pPr marL="3135252"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7pPr>
            <a:lvl8pPr marL="3617598"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8pPr>
            <a:lvl9pPr marL="4099945"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9pPr>
          </a:lstStyle>
          <a:p>
            <a:pPr defTabSz="875169">
              <a:spcBef>
                <a:spcPts val="544"/>
              </a:spcBef>
            </a:pPr>
            <a:r>
              <a:rPr lang="et-EE" sz="907" b="0" i="1">
                <a:solidFill>
                  <a:srgbClr val="000000"/>
                </a:solidFill>
                <a:latin typeface="Calibri" panose="020F0502020204030204"/>
              </a:rPr>
              <a:t>Allikas: </a:t>
            </a:r>
            <a:r>
              <a:rPr lang="et-EE" sz="907" b="0" i="1" err="1">
                <a:solidFill>
                  <a:srgbClr val="000000"/>
                </a:solidFill>
                <a:latin typeface="Calibri" panose="020F0502020204030204"/>
              </a:rPr>
              <a:t>Eurostat</a:t>
            </a:r>
            <a:r>
              <a:rPr lang="et-EE" sz="907" b="0" i="1">
                <a:solidFill>
                  <a:srgbClr val="000000"/>
                </a:solidFill>
                <a:latin typeface="Calibri" panose="020F0502020204030204"/>
              </a:rPr>
              <a:t> (SHARES</a:t>
            </a:r>
            <a:r>
              <a:rPr lang="en-US" sz="907" b="0" i="1">
                <a:solidFill>
                  <a:srgbClr val="000000"/>
                </a:solidFill>
                <a:latin typeface="Calibri" panose="020F0502020204030204"/>
              </a:rPr>
              <a:t> - 2021</a:t>
            </a:r>
            <a:r>
              <a:rPr lang="et-EE" sz="907" b="0" i="1">
                <a:solidFill>
                  <a:srgbClr val="000000"/>
                </a:solidFill>
                <a:latin typeface="Calibri" panose="020F0502020204030204"/>
              </a:rPr>
              <a:t>)</a:t>
            </a:r>
          </a:p>
        </p:txBody>
      </p:sp>
      <p:sp>
        <p:nvSpPr>
          <p:cNvPr id="48" name="TextBox 47">
            <a:extLst>
              <a:ext uri="{FF2B5EF4-FFF2-40B4-BE49-F238E27FC236}">
                <a16:creationId xmlns:a16="http://schemas.microsoft.com/office/drawing/2014/main" id="{55540A52-B0D6-0BC2-312F-8C75E0F804E8}"/>
              </a:ext>
            </a:extLst>
          </p:cNvPr>
          <p:cNvSpPr txBox="1"/>
          <p:nvPr/>
        </p:nvSpPr>
        <p:spPr>
          <a:xfrm>
            <a:off x="702156" y="4713198"/>
            <a:ext cx="4210055" cy="259943"/>
          </a:xfrm>
          <a:prstGeom prst="rect">
            <a:avLst/>
          </a:prstGeom>
          <a:noFill/>
        </p:spPr>
        <p:txBody>
          <a:bodyPr wrap="square">
            <a:spAutoFit/>
          </a:bodyPr>
          <a:lstStyle/>
          <a:p>
            <a:pPr marL="5760" defTabSz="414772"/>
            <a:r>
              <a:rPr lang="et-EE" sz="1089" b="1">
                <a:solidFill>
                  <a:srgbClr val="000000"/>
                </a:solidFill>
                <a:latin typeface="Calibri" panose="020F0502020204030204"/>
              </a:rPr>
              <a:t>Elektri lõpptarbimine sektorite lõikes (</a:t>
            </a:r>
            <a:r>
              <a:rPr lang="et-EE" sz="1089" b="1" err="1">
                <a:solidFill>
                  <a:srgbClr val="000000"/>
                </a:solidFill>
                <a:latin typeface="Calibri" panose="020F0502020204030204"/>
              </a:rPr>
              <a:t>TWh</a:t>
            </a:r>
            <a:r>
              <a:rPr lang="et-EE" sz="1089" b="1">
                <a:solidFill>
                  <a:srgbClr val="000000"/>
                </a:solidFill>
                <a:latin typeface="Calibri" panose="020F0502020204030204"/>
              </a:rPr>
              <a:t>)</a:t>
            </a:r>
          </a:p>
        </p:txBody>
      </p:sp>
      <p:pic>
        <p:nvPicPr>
          <p:cNvPr id="49" name="Picture 48">
            <a:extLst>
              <a:ext uri="{FF2B5EF4-FFF2-40B4-BE49-F238E27FC236}">
                <a16:creationId xmlns:a16="http://schemas.microsoft.com/office/drawing/2014/main" id="{6A547D13-690B-AB30-84E5-525C547634C1}"/>
              </a:ext>
            </a:extLst>
          </p:cNvPr>
          <p:cNvPicPr>
            <a:picLocks noChangeAspect="1"/>
          </p:cNvPicPr>
          <p:nvPr/>
        </p:nvPicPr>
        <p:blipFill rotWithShape="1">
          <a:blip r:embed="rId13"/>
          <a:srcRect l="54637" t="5477" r="2479" b="24303"/>
          <a:stretch/>
        </p:blipFill>
        <p:spPr>
          <a:xfrm>
            <a:off x="788548" y="4913045"/>
            <a:ext cx="1716559" cy="1117999"/>
          </a:xfrm>
          <a:prstGeom prst="rect">
            <a:avLst/>
          </a:prstGeom>
        </p:spPr>
      </p:pic>
      <p:sp>
        <p:nvSpPr>
          <p:cNvPr id="50" name="TextBox 49">
            <a:extLst>
              <a:ext uri="{FF2B5EF4-FFF2-40B4-BE49-F238E27FC236}">
                <a16:creationId xmlns:a16="http://schemas.microsoft.com/office/drawing/2014/main" id="{FB7104C2-CE0F-9C4D-81EF-C48EDE796EBE}"/>
              </a:ext>
            </a:extLst>
          </p:cNvPr>
          <p:cNvSpPr txBox="1"/>
          <p:nvPr/>
        </p:nvSpPr>
        <p:spPr>
          <a:xfrm>
            <a:off x="10110748" y="4788180"/>
            <a:ext cx="377886" cy="258068"/>
          </a:xfrm>
          <a:prstGeom prst="rect">
            <a:avLst/>
          </a:prstGeom>
          <a:noFill/>
        </p:spPr>
        <p:txBody>
          <a:bodyPr vert="horz" wrap="square" lIns="82951" tIns="41475" rIns="82951" bIns="41475" rtlCol="0" anchor="t">
            <a:noAutofit/>
          </a:bodyPr>
          <a:lstStyle/>
          <a:p>
            <a:pPr defTabSz="414772"/>
            <a:r>
              <a:rPr lang="en-US" sz="1270" b="1">
                <a:solidFill>
                  <a:srgbClr val="FFFFFF"/>
                </a:solidFill>
                <a:latin typeface="Calibri" panose="020F0502020204030204"/>
              </a:rPr>
              <a:t>7,9</a:t>
            </a:r>
            <a:endParaRPr lang="et-EE" sz="1270" b="1">
              <a:solidFill>
                <a:srgbClr val="FFFFFF"/>
              </a:solidFill>
              <a:latin typeface="Calibri" panose="020F0502020204030204"/>
            </a:endParaRPr>
          </a:p>
        </p:txBody>
      </p:sp>
      <p:sp>
        <p:nvSpPr>
          <p:cNvPr id="51" name="TextBox 50">
            <a:extLst>
              <a:ext uri="{FF2B5EF4-FFF2-40B4-BE49-F238E27FC236}">
                <a16:creationId xmlns:a16="http://schemas.microsoft.com/office/drawing/2014/main" id="{DE335B78-4ECE-09D0-C83F-6B000EFD12C6}"/>
              </a:ext>
            </a:extLst>
          </p:cNvPr>
          <p:cNvSpPr txBox="1"/>
          <p:nvPr/>
        </p:nvSpPr>
        <p:spPr>
          <a:xfrm>
            <a:off x="9442536" y="5599251"/>
            <a:ext cx="465445" cy="276502"/>
          </a:xfrm>
          <a:prstGeom prst="rect">
            <a:avLst/>
          </a:prstGeom>
          <a:noFill/>
        </p:spPr>
        <p:txBody>
          <a:bodyPr vert="horz" wrap="square" lIns="82951" tIns="41475" rIns="82951" bIns="41475" rtlCol="0" anchor="t">
            <a:noAutofit/>
          </a:bodyPr>
          <a:lstStyle/>
          <a:p>
            <a:pPr defTabSz="414772"/>
            <a:r>
              <a:rPr lang="en-US" sz="1270" b="1">
                <a:solidFill>
                  <a:srgbClr val="FFFFFF"/>
                </a:solidFill>
                <a:latin typeface="Calibri" panose="020F0502020204030204"/>
              </a:rPr>
              <a:t>25,8</a:t>
            </a:r>
            <a:endParaRPr lang="et-EE" sz="1270" b="1">
              <a:solidFill>
                <a:srgbClr val="FFFFFF"/>
              </a:solidFill>
              <a:latin typeface="Calibri" panose="020F0502020204030204"/>
            </a:endParaRPr>
          </a:p>
        </p:txBody>
      </p:sp>
      <p:sp>
        <p:nvSpPr>
          <p:cNvPr id="52" name="TextBox 51">
            <a:extLst>
              <a:ext uri="{FF2B5EF4-FFF2-40B4-BE49-F238E27FC236}">
                <a16:creationId xmlns:a16="http://schemas.microsoft.com/office/drawing/2014/main" id="{EC0CE2D4-6D31-A371-14C4-C58D522EBA83}"/>
              </a:ext>
            </a:extLst>
          </p:cNvPr>
          <p:cNvSpPr txBox="1"/>
          <p:nvPr/>
        </p:nvSpPr>
        <p:spPr>
          <a:xfrm>
            <a:off x="9751296" y="3345762"/>
            <a:ext cx="663604" cy="304152"/>
          </a:xfrm>
          <a:prstGeom prst="rect">
            <a:avLst/>
          </a:prstGeom>
          <a:noFill/>
        </p:spPr>
        <p:txBody>
          <a:bodyPr vert="horz" wrap="square" lIns="82951" tIns="41475" rIns="82951" bIns="41475" rtlCol="0" anchor="t">
            <a:noAutofit/>
          </a:bodyPr>
          <a:lstStyle/>
          <a:p>
            <a:pPr defTabSz="414772"/>
            <a:r>
              <a:rPr lang="en-US" sz="1452" b="1">
                <a:solidFill>
                  <a:srgbClr val="FFFFFF"/>
                </a:solidFill>
                <a:latin typeface="Calibri" panose="020F0502020204030204"/>
              </a:rPr>
              <a:t>82,1</a:t>
            </a:r>
            <a:endParaRPr lang="et-EE" sz="1452" b="1">
              <a:solidFill>
                <a:srgbClr val="FFFFFF"/>
              </a:solidFill>
              <a:latin typeface="Calibri" panose="020F0502020204030204"/>
            </a:endParaRPr>
          </a:p>
        </p:txBody>
      </p:sp>
      <p:pic>
        <p:nvPicPr>
          <p:cNvPr id="53" name="Content Placeholder 7">
            <a:extLst>
              <a:ext uri="{FF2B5EF4-FFF2-40B4-BE49-F238E27FC236}">
                <a16:creationId xmlns:a16="http://schemas.microsoft.com/office/drawing/2014/main" id="{F54040C6-0B57-10DA-A49B-7010958C3789}"/>
              </a:ext>
            </a:extLst>
          </p:cNvPr>
          <p:cNvPicPr>
            <a:picLocks noChangeAspect="1"/>
          </p:cNvPicPr>
          <p:nvPr/>
        </p:nvPicPr>
        <p:blipFill>
          <a:blip r:embed="rId14"/>
          <a:stretch>
            <a:fillRect/>
          </a:stretch>
        </p:blipFill>
        <p:spPr>
          <a:xfrm>
            <a:off x="9729515" y="2791784"/>
            <a:ext cx="574785" cy="574785"/>
          </a:xfrm>
          <a:prstGeom prst="rect">
            <a:avLst/>
          </a:prstGeom>
        </p:spPr>
      </p:pic>
      <p:sp>
        <p:nvSpPr>
          <p:cNvPr id="54" name="Rectangle 53">
            <a:extLst>
              <a:ext uri="{FF2B5EF4-FFF2-40B4-BE49-F238E27FC236}">
                <a16:creationId xmlns:a16="http://schemas.microsoft.com/office/drawing/2014/main" id="{4A8CFD6B-7306-3DE8-4A1B-FC5167EDC156}"/>
              </a:ext>
            </a:extLst>
          </p:cNvPr>
          <p:cNvSpPr/>
          <p:nvPr/>
        </p:nvSpPr>
        <p:spPr>
          <a:xfrm>
            <a:off x="456583" y="936755"/>
            <a:ext cx="5775456" cy="225929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59232" indent="-259232" defTabSz="414772">
              <a:spcBef>
                <a:spcPts val="544"/>
              </a:spcBef>
              <a:buFont typeface="Arial" panose="020B0604020202020204" pitchFamily="34" charset="0"/>
              <a:buChar char="•"/>
            </a:pPr>
            <a:r>
              <a:rPr lang="et-EE" sz="1600">
                <a:solidFill>
                  <a:srgbClr val="000000"/>
                </a:solidFill>
                <a:latin typeface="Calibri" panose="020F0502020204030204"/>
              </a:rPr>
              <a:t>Baltikumis puudub täna likviidne energiaostulepingute (PPA) turg erinevalt Põhjamaadest, kus tööstustarbimine elaniku kohta on 3-5x suurem</a:t>
            </a:r>
          </a:p>
          <a:p>
            <a:pPr marL="259232" indent="-259232" defTabSz="414772">
              <a:spcBef>
                <a:spcPts val="544"/>
              </a:spcBef>
              <a:buFont typeface="Arial" panose="020B0604020202020204" pitchFamily="34" charset="0"/>
              <a:buChar char="•"/>
            </a:pPr>
            <a:r>
              <a:rPr lang="et-EE" sz="1600">
                <a:solidFill>
                  <a:srgbClr val="000000"/>
                </a:solidFill>
                <a:latin typeface="Calibri" panose="020F0502020204030204"/>
              </a:rPr>
              <a:t>Nord Pool elektriturul on erinevad hinnapiirkonnad, mistõttu tekib piiriüleste energiaostulepingute puhul täiendav hinnapiirkonna risk</a:t>
            </a:r>
          </a:p>
          <a:p>
            <a:pPr marL="259232" indent="-259232" defTabSz="414772">
              <a:spcBef>
                <a:spcPts val="544"/>
              </a:spcBef>
              <a:buFont typeface="Arial" panose="020B0604020202020204" pitchFamily="34" charset="0"/>
              <a:buChar char="•"/>
            </a:pPr>
            <a:r>
              <a:rPr lang="et-EE" sz="1600">
                <a:solidFill>
                  <a:srgbClr val="000000"/>
                </a:solidFill>
                <a:latin typeface="Calibri" panose="020F0502020204030204"/>
              </a:rPr>
              <a:t>Nord Pool tänane turuhind kujuneb tehnoloogiate muutuvkulude baasil, mis ei võimalda kapitalimahukamate, ent madalate muutuvkuludega taastuvenergiat pikaajalises vaates turupõhiselt finantseerida</a:t>
            </a:r>
            <a:endParaRPr lang="en-US" sz="1600">
              <a:solidFill>
                <a:srgbClr val="000000"/>
              </a:solidFill>
              <a:latin typeface="Calibri" panose="020F0502020204030204"/>
            </a:endParaRPr>
          </a:p>
          <a:p>
            <a:pPr marL="259232" indent="-259232" defTabSz="414772">
              <a:spcBef>
                <a:spcPts val="544"/>
              </a:spcBef>
              <a:buFont typeface="Arial" panose="020B0604020202020204" pitchFamily="34" charset="0"/>
              <a:buChar char="•"/>
            </a:pPr>
            <a:r>
              <a:rPr lang="en-US" sz="1600" err="1">
                <a:solidFill>
                  <a:srgbClr val="000000"/>
                </a:solidFill>
                <a:latin typeface="Calibri" panose="020F0502020204030204"/>
              </a:rPr>
              <a:t>Perspektiivis</a:t>
            </a:r>
            <a:r>
              <a:rPr lang="en-US" sz="1600">
                <a:solidFill>
                  <a:srgbClr val="000000"/>
                </a:solidFill>
                <a:latin typeface="Calibri" panose="020F0502020204030204"/>
              </a:rPr>
              <a:t> on </a:t>
            </a:r>
            <a:r>
              <a:rPr lang="en-US" sz="1600" err="1">
                <a:solidFill>
                  <a:srgbClr val="000000"/>
                </a:solidFill>
                <a:latin typeface="Calibri" panose="020F0502020204030204"/>
              </a:rPr>
              <a:t>olukorra</a:t>
            </a:r>
            <a:r>
              <a:rPr lang="en-US" sz="1600">
                <a:solidFill>
                  <a:srgbClr val="000000"/>
                </a:solidFill>
                <a:latin typeface="Calibri" panose="020F0502020204030204"/>
              </a:rPr>
              <a:t> </a:t>
            </a:r>
            <a:r>
              <a:rPr lang="en-US" sz="1600" err="1">
                <a:solidFill>
                  <a:srgbClr val="000000"/>
                </a:solidFill>
                <a:latin typeface="Calibri" panose="020F0502020204030204"/>
              </a:rPr>
              <a:t>muutmiseks</a:t>
            </a:r>
            <a:r>
              <a:rPr lang="en-US" sz="1600">
                <a:solidFill>
                  <a:srgbClr val="000000"/>
                </a:solidFill>
                <a:latin typeface="Calibri" panose="020F0502020204030204"/>
              </a:rPr>
              <a:t> </a:t>
            </a:r>
            <a:r>
              <a:rPr lang="en-US" sz="1600" err="1">
                <a:solidFill>
                  <a:srgbClr val="000000"/>
                </a:solidFill>
                <a:latin typeface="Calibri" panose="020F0502020204030204"/>
              </a:rPr>
              <a:t>vaja</a:t>
            </a:r>
            <a:r>
              <a:rPr lang="en-US" sz="1600">
                <a:solidFill>
                  <a:srgbClr val="000000"/>
                </a:solidFill>
                <a:latin typeface="Calibri" panose="020F0502020204030204"/>
              </a:rPr>
              <a:t> </a:t>
            </a:r>
            <a:r>
              <a:rPr lang="en-US" sz="1600" err="1">
                <a:solidFill>
                  <a:srgbClr val="000000"/>
                </a:solidFill>
                <a:latin typeface="Calibri" panose="020F0502020204030204"/>
              </a:rPr>
              <a:t>oluliselt</a:t>
            </a:r>
            <a:r>
              <a:rPr lang="en-US" sz="1600">
                <a:solidFill>
                  <a:srgbClr val="000000"/>
                </a:solidFill>
                <a:latin typeface="Calibri" panose="020F0502020204030204"/>
              </a:rPr>
              <a:t> </a:t>
            </a:r>
            <a:r>
              <a:rPr lang="en-US" sz="1600" err="1">
                <a:solidFill>
                  <a:srgbClr val="000000"/>
                </a:solidFill>
                <a:latin typeface="Calibri" panose="020F0502020204030204"/>
              </a:rPr>
              <a:t>tööstustarbimist</a:t>
            </a:r>
            <a:r>
              <a:rPr lang="en-US" sz="1600">
                <a:solidFill>
                  <a:srgbClr val="000000"/>
                </a:solidFill>
                <a:latin typeface="Calibri" panose="020F0502020204030204"/>
              </a:rPr>
              <a:t> </a:t>
            </a:r>
            <a:r>
              <a:rPr lang="en-US" sz="1600" err="1">
                <a:solidFill>
                  <a:srgbClr val="000000"/>
                </a:solidFill>
                <a:latin typeface="Calibri" panose="020F0502020204030204"/>
              </a:rPr>
              <a:t>Baltikumis</a:t>
            </a:r>
            <a:r>
              <a:rPr lang="en-US" sz="1600">
                <a:solidFill>
                  <a:srgbClr val="000000"/>
                </a:solidFill>
                <a:latin typeface="Calibri" panose="020F0502020204030204"/>
              </a:rPr>
              <a:t> </a:t>
            </a:r>
            <a:r>
              <a:rPr lang="en-US" sz="1600" err="1">
                <a:solidFill>
                  <a:srgbClr val="000000"/>
                </a:solidFill>
                <a:latin typeface="Calibri" panose="020F0502020204030204"/>
              </a:rPr>
              <a:t>suurendada</a:t>
            </a:r>
            <a:r>
              <a:rPr lang="en-US" sz="1600">
                <a:solidFill>
                  <a:srgbClr val="000000"/>
                </a:solidFill>
                <a:latin typeface="Calibri" panose="020F0502020204030204"/>
              </a:rPr>
              <a:t>, </a:t>
            </a:r>
            <a:r>
              <a:rPr lang="en-US" sz="1600" err="1">
                <a:solidFill>
                  <a:srgbClr val="000000"/>
                </a:solidFill>
                <a:latin typeface="Calibri" panose="020F0502020204030204"/>
              </a:rPr>
              <a:t>seda</a:t>
            </a:r>
            <a:r>
              <a:rPr lang="en-US" sz="1600">
                <a:solidFill>
                  <a:srgbClr val="000000"/>
                </a:solidFill>
                <a:latin typeface="Calibri" panose="020F0502020204030204"/>
              </a:rPr>
              <a:t> </a:t>
            </a:r>
            <a:r>
              <a:rPr lang="en-US" sz="1600" err="1">
                <a:solidFill>
                  <a:srgbClr val="000000"/>
                </a:solidFill>
                <a:latin typeface="Calibri" panose="020F0502020204030204"/>
              </a:rPr>
              <a:t>nii</a:t>
            </a:r>
            <a:r>
              <a:rPr lang="en-US" sz="1600">
                <a:solidFill>
                  <a:srgbClr val="000000"/>
                </a:solidFill>
                <a:latin typeface="Calibri" panose="020F0502020204030204"/>
              </a:rPr>
              <a:t> </a:t>
            </a:r>
            <a:r>
              <a:rPr lang="en-US" sz="1600" err="1">
                <a:solidFill>
                  <a:srgbClr val="000000"/>
                </a:solidFill>
                <a:latin typeface="Calibri" panose="020F0502020204030204"/>
              </a:rPr>
              <a:t>majanduse</a:t>
            </a:r>
            <a:r>
              <a:rPr lang="en-US" sz="1600">
                <a:solidFill>
                  <a:srgbClr val="000000"/>
                </a:solidFill>
                <a:latin typeface="Calibri" panose="020F0502020204030204"/>
              </a:rPr>
              <a:t> </a:t>
            </a:r>
            <a:r>
              <a:rPr lang="en-US" sz="1600" err="1">
                <a:solidFill>
                  <a:srgbClr val="000000"/>
                </a:solidFill>
                <a:latin typeface="Calibri" panose="020F0502020204030204"/>
              </a:rPr>
              <a:t>lisasndväärtuse</a:t>
            </a:r>
            <a:r>
              <a:rPr lang="en-US" sz="1600">
                <a:solidFill>
                  <a:srgbClr val="000000"/>
                </a:solidFill>
                <a:latin typeface="Calibri" panose="020F0502020204030204"/>
              </a:rPr>
              <a:t> </a:t>
            </a:r>
            <a:r>
              <a:rPr lang="en-US" sz="1600" err="1">
                <a:solidFill>
                  <a:srgbClr val="000000"/>
                </a:solidFill>
                <a:latin typeface="Calibri" panose="020F0502020204030204"/>
              </a:rPr>
              <a:t>kasvu</a:t>
            </a:r>
            <a:r>
              <a:rPr lang="en-US" sz="1600">
                <a:solidFill>
                  <a:srgbClr val="000000"/>
                </a:solidFill>
                <a:latin typeface="Calibri" panose="020F0502020204030204"/>
              </a:rPr>
              <a:t> aga ka </a:t>
            </a:r>
            <a:r>
              <a:rPr lang="en-US" sz="1600" err="1">
                <a:solidFill>
                  <a:srgbClr val="000000"/>
                </a:solidFill>
                <a:latin typeface="Calibri" panose="020F0502020204030204"/>
              </a:rPr>
              <a:t>PPAde</a:t>
            </a:r>
            <a:r>
              <a:rPr lang="en-US" sz="1600">
                <a:solidFill>
                  <a:srgbClr val="000000"/>
                </a:solidFill>
                <a:latin typeface="Calibri" panose="020F0502020204030204"/>
              </a:rPr>
              <a:t> </a:t>
            </a:r>
            <a:r>
              <a:rPr lang="en-US" sz="1600" err="1">
                <a:solidFill>
                  <a:srgbClr val="000000"/>
                </a:solidFill>
                <a:latin typeface="Calibri" panose="020F0502020204030204"/>
              </a:rPr>
              <a:t>turu</a:t>
            </a:r>
            <a:r>
              <a:rPr lang="en-US" sz="1600">
                <a:solidFill>
                  <a:srgbClr val="000000"/>
                </a:solidFill>
                <a:latin typeface="Calibri" panose="020F0502020204030204"/>
              </a:rPr>
              <a:t> tekke </a:t>
            </a:r>
            <a:r>
              <a:rPr lang="en-US" sz="1600" err="1">
                <a:solidFill>
                  <a:srgbClr val="000000"/>
                </a:solidFill>
                <a:latin typeface="Calibri" panose="020F0502020204030204"/>
              </a:rPr>
              <a:t>seisukohalt</a:t>
            </a:r>
            <a:endParaRPr lang="et-EE" sz="1600">
              <a:solidFill>
                <a:srgbClr val="000000"/>
              </a:solidFill>
              <a:latin typeface="Calibri" panose="020F0502020204030204"/>
            </a:endParaRPr>
          </a:p>
          <a:p>
            <a:pPr marL="259232" indent="-259232" defTabSz="414772">
              <a:buFont typeface="Arial" panose="020B0604020202020204" pitchFamily="34" charset="0"/>
              <a:buChar char="•"/>
            </a:pPr>
            <a:endParaRPr lang="et-EE" sz="1270">
              <a:solidFill>
                <a:srgbClr val="000000"/>
              </a:solidFill>
              <a:latin typeface="Calibri" panose="020F0502020204030204"/>
            </a:endParaRPr>
          </a:p>
        </p:txBody>
      </p:sp>
    </p:spTree>
    <p:extLst>
      <p:ext uri="{BB962C8B-B14F-4D97-AF65-F5344CB8AC3E}">
        <p14:creationId xmlns:p14="http://schemas.microsoft.com/office/powerpoint/2010/main" val="18379139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lt 1">
            <a:extLst>
              <a:ext uri="{FF2B5EF4-FFF2-40B4-BE49-F238E27FC236}">
                <a16:creationId xmlns:a16="http://schemas.microsoft.com/office/drawing/2014/main" id="{1A12FB82-2D75-0CFE-6C8F-528A8CFC3A66}"/>
              </a:ext>
            </a:extLst>
          </p:cNvPr>
          <p:cNvPicPr>
            <a:picLocks noChangeAspect="1"/>
          </p:cNvPicPr>
          <p:nvPr/>
        </p:nvPicPr>
        <p:blipFill>
          <a:blip r:embed="rId2"/>
          <a:stretch>
            <a:fillRect/>
          </a:stretch>
        </p:blipFill>
        <p:spPr>
          <a:xfrm>
            <a:off x="9877049" y="268560"/>
            <a:ext cx="1972014" cy="744983"/>
          </a:xfrm>
          <a:prstGeom prst="rect">
            <a:avLst/>
          </a:prstGeom>
        </p:spPr>
      </p:pic>
      <p:sp>
        <p:nvSpPr>
          <p:cNvPr id="3" name="Rectangle 2">
            <a:extLst>
              <a:ext uri="{FF2B5EF4-FFF2-40B4-BE49-F238E27FC236}">
                <a16:creationId xmlns:a16="http://schemas.microsoft.com/office/drawing/2014/main" id="{BEA614E1-2F6C-5F12-C03D-CB3F06DD7B13}"/>
              </a:ext>
            </a:extLst>
          </p:cNvPr>
          <p:cNvSpPr>
            <a:spLocks/>
          </p:cNvSpPr>
          <p:nvPr/>
        </p:nvSpPr>
        <p:spPr>
          <a:xfrm>
            <a:off x="268552" y="890380"/>
            <a:ext cx="3042449" cy="5453120"/>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14772"/>
            <a:endParaRPr lang="en-US">
              <a:solidFill>
                <a:srgbClr val="FFFFFF"/>
              </a:solidFill>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1">
            <a:extLst>
              <a:ext uri="{FF2B5EF4-FFF2-40B4-BE49-F238E27FC236}">
                <a16:creationId xmlns:a16="http://schemas.microsoft.com/office/drawing/2014/main" id="{86361D17-1258-D721-B2FA-812EBEAFEA85}"/>
              </a:ext>
            </a:extLst>
          </p:cNvPr>
          <p:cNvSpPr>
            <a:spLocks noGrp="1"/>
          </p:cNvSpPr>
          <p:nvPr>
            <p:ph type="sldNum" sz="quarter" idx="12"/>
          </p:nvPr>
        </p:nvSpPr>
        <p:spPr>
          <a:xfrm>
            <a:off x="8610600" y="6356350"/>
            <a:ext cx="2743200" cy="365125"/>
          </a:xfrm>
        </p:spPr>
        <p:txBody>
          <a:bodyPr/>
          <a:lstStyle/>
          <a:p>
            <a:pPr defTabSz="414772"/>
            <a:fld id="{F3F250AB-27C9-4843-B305-22ABF7AC8460}" type="slidenum">
              <a:rPr lang="en-EE">
                <a:latin typeface="Calibri" panose="020F0502020204030204"/>
              </a:rPr>
              <a:pPr defTabSz="414772"/>
              <a:t>14</a:t>
            </a:fld>
            <a:endParaRPr lang="en-EE">
              <a:latin typeface="Calibri" panose="020F0502020204030204"/>
            </a:endParaRPr>
          </a:p>
        </p:txBody>
      </p:sp>
      <p:sp>
        <p:nvSpPr>
          <p:cNvPr id="5" name="Title 3">
            <a:extLst>
              <a:ext uri="{FF2B5EF4-FFF2-40B4-BE49-F238E27FC236}">
                <a16:creationId xmlns:a16="http://schemas.microsoft.com/office/drawing/2014/main" id="{32E64677-FC00-DFEF-513E-ED72156C9BE1}"/>
              </a:ext>
            </a:extLst>
          </p:cNvPr>
          <p:cNvSpPr txBox="1">
            <a:spLocks/>
          </p:cNvSpPr>
          <p:nvPr/>
        </p:nvSpPr>
        <p:spPr>
          <a:xfrm>
            <a:off x="268552" y="165777"/>
            <a:ext cx="9090944" cy="5732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t-EE" sz="3600"/>
              <a:t>Ambitsioonikad eesmärgid ning ühiskondlik kasu</a:t>
            </a:r>
          </a:p>
        </p:txBody>
      </p:sp>
      <p:pic>
        <p:nvPicPr>
          <p:cNvPr id="6" name="Picture 5">
            <a:extLst>
              <a:ext uri="{FF2B5EF4-FFF2-40B4-BE49-F238E27FC236}">
                <a16:creationId xmlns:a16="http://schemas.microsoft.com/office/drawing/2014/main" id="{9CA3D68A-3C85-C969-184D-039AA867D63F}"/>
              </a:ext>
            </a:extLst>
          </p:cNvPr>
          <p:cNvPicPr>
            <a:picLocks noChangeAspect="1"/>
          </p:cNvPicPr>
          <p:nvPr/>
        </p:nvPicPr>
        <p:blipFill>
          <a:blip r:embed="rId3"/>
          <a:stretch>
            <a:fillRect/>
          </a:stretch>
        </p:blipFill>
        <p:spPr>
          <a:xfrm>
            <a:off x="4416642" y="1725243"/>
            <a:ext cx="2982353" cy="385724"/>
          </a:xfrm>
          <a:prstGeom prst="rect">
            <a:avLst/>
          </a:prstGeom>
        </p:spPr>
      </p:pic>
      <p:pic>
        <p:nvPicPr>
          <p:cNvPr id="7" name="Picture 6">
            <a:extLst>
              <a:ext uri="{FF2B5EF4-FFF2-40B4-BE49-F238E27FC236}">
                <a16:creationId xmlns:a16="http://schemas.microsoft.com/office/drawing/2014/main" id="{36A584F2-0018-318C-69CD-CBE26437B527}"/>
              </a:ext>
            </a:extLst>
          </p:cNvPr>
          <p:cNvPicPr>
            <a:picLocks noChangeAspect="1"/>
          </p:cNvPicPr>
          <p:nvPr/>
        </p:nvPicPr>
        <p:blipFill rotWithShape="1">
          <a:blip r:embed="rId4"/>
          <a:srcRect l="4980" t="-12782" b="-1"/>
          <a:stretch/>
        </p:blipFill>
        <p:spPr>
          <a:xfrm>
            <a:off x="3574063" y="1701052"/>
            <a:ext cx="713235" cy="248086"/>
          </a:xfrm>
          <a:prstGeom prst="rect">
            <a:avLst/>
          </a:prstGeom>
        </p:spPr>
      </p:pic>
      <p:pic>
        <p:nvPicPr>
          <p:cNvPr id="8" name="Picture 7">
            <a:extLst>
              <a:ext uri="{FF2B5EF4-FFF2-40B4-BE49-F238E27FC236}">
                <a16:creationId xmlns:a16="http://schemas.microsoft.com/office/drawing/2014/main" id="{F540C470-8D67-462B-B802-684602C9A1BC}"/>
              </a:ext>
            </a:extLst>
          </p:cNvPr>
          <p:cNvPicPr>
            <a:picLocks noChangeAspect="1"/>
          </p:cNvPicPr>
          <p:nvPr/>
        </p:nvPicPr>
        <p:blipFill>
          <a:blip r:embed="rId5"/>
          <a:stretch>
            <a:fillRect/>
          </a:stretch>
        </p:blipFill>
        <p:spPr>
          <a:xfrm>
            <a:off x="8518653" y="1725243"/>
            <a:ext cx="2982353" cy="328778"/>
          </a:xfrm>
          <a:prstGeom prst="rect">
            <a:avLst/>
          </a:prstGeom>
        </p:spPr>
      </p:pic>
      <p:sp>
        <p:nvSpPr>
          <p:cNvPr id="9" name="TextBox 8">
            <a:extLst>
              <a:ext uri="{FF2B5EF4-FFF2-40B4-BE49-F238E27FC236}">
                <a16:creationId xmlns:a16="http://schemas.microsoft.com/office/drawing/2014/main" id="{3AA41A9F-2A42-682A-AB30-5CBF47640421}"/>
              </a:ext>
            </a:extLst>
          </p:cNvPr>
          <p:cNvSpPr txBox="1"/>
          <p:nvPr/>
        </p:nvSpPr>
        <p:spPr>
          <a:xfrm>
            <a:off x="3435780" y="1237051"/>
            <a:ext cx="4210055" cy="427361"/>
          </a:xfrm>
          <a:prstGeom prst="rect">
            <a:avLst/>
          </a:prstGeom>
          <a:noFill/>
        </p:spPr>
        <p:txBody>
          <a:bodyPr wrap="square">
            <a:spAutoFit/>
          </a:bodyPr>
          <a:lstStyle/>
          <a:p>
            <a:pPr marL="5760" defTabSz="414772"/>
            <a:r>
              <a:rPr lang="et-EE" sz="2177" b="1">
                <a:solidFill>
                  <a:srgbClr val="000000"/>
                </a:solidFill>
                <a:latin typeface="Calibri" panose="020F0502020204030204"/>
              </a:rPr>
              <a:t>Innovatsioon tööstuses</a:t>
            </a:r>
          </a:p>
        </p:txBody>
      </p:sp>
      <p:pic>
        <p:nvPicPr>
          <p:cNvPr id="11" name="Picture 10">
            <a:extLst>
              <a:ext uri="{FF2B5EF4-FFF2-40B4-BE49-F238E27FC236}">
                <a16:creationId xmlns:a16="http://schemas.microsoft.com/office/drawing/2014/main" id="{E3A64671-9BA6-4E1C-103D-08489AB3CC82}"/>
              </a:ext>
            </a:extLst>
          </p:cNvPr>
          <p:cNvPicPr>
            <a:picLocks noChangeAspect="1"/>
          </p:cNvPicPr>
          <p:nvPr/>
        </p:nvPicPr>
        <p:blipFill>
          <a:blip r:embed="rId6"/>
          <a:stretch>
            <a:fillRect/>
          </a:stretch>
        </p:blipFill>
        <p:spPr>
          <a:xfrm>
            <a:off x="8516103" y="4256627"/>
            <a:ext cx="3093186" cy="384960"/>
          </a:xfrm>
          <a:prstGeom prst="rect">
            <a:avLst/>
          </a:prstGeom>
        </p:spPr>
      </p:pic>
      <p:pic>
        <p:nvPicPr>
          <p:cNvPr id="13" name="Picture 12">
            <a:extLst>
              <a:ext uri="{FF2B5EF4-FFF2-40B4-BE49-F238E27FC236}">
                <a16:creationId xmlns:a16="http://schemas.microsoft.com/office/drawing/2014/main" id="{7F9B0DA6-7232-9F54-28F6-7669BEE09CC4}"/>
              </a:ext>
            </a:extLst>
          </p:cNvPr>
          <p:cNvPicPr>
            <a:picLocks noChangeAspect="1"/>
          </p:cNvPicPr>
          <p:nvPr/>
        </p:nvPicPr>
        <p:blipFill>
          <a:blip r:embed="rId7"/>
          <a:stretch>
            <a:fillRect/>
          </a:stretch>
        </p:blipFill>
        <p:spPr>
          <a:xfrm>
            <a:off x="7732167" y="1800667"/>
            <a:ext cx="670906" cy="162219"/>
          </a:xfrm>
          <a:prstGeom prst="rect">
            <a:avLst/>
          </a:prstGeom>
        </p:spPr>
      </p:pic>
      <p:pic>
        <p:nvPicPr>
          <p:cNvPr id="14" name="Picture 13">
            <a:extLst>
              <a:ext uri="{FF2B5EF4-FFF2-40B4-BE49-F238E27FC236}">
                <a16:creationId xmlns:a16="http://schemas.microsoft.com/office/drawing/2014/main" id="{DCCB7767-C590-FA99-6110-B5F148A7643F}"/>
              </a:ext>
            </a:extLst>
          </p:cNvPr>
          <p:cNvPicPr>
            <a:picLocks noChangeAspect="1"/>
          </p:cNvPicPr>
          <p:nvPr/>
        </p:nvPicPr>
        <p:blipFill rotWithShape="1">
          <a:blip r:embed="rId4"/>
          <a:srcRect l="4980" t="-12782" b="-1"/>
          <a:stretch/>
        </p:blipFill>
        <p:spPr>
          <a:xfrm>
            <a:off x="7756671" y="4222487"/>
            <a:ext cx="713235" cy="248086"/>
          </a:xfrm>
          <a:prstGeom prst="rect">
            <a:avLst/>
          </a:prstGeom>
        </p:spPr>
      </p:pic>
      <p:cxnSp>
        <p:nvCxnSpPr>
          <p:cNvPr id="15" name="Straight Connector 14">
            <a:extLst>
              <a:ext uri="{FF2B5EF4-FFF2-40B4-BE49-F238E27FC236}">
                <a16:creationId xmlns:a16="http://schemas.microsoft.com/office/drawing/2014/main" id="{2FD48878-CB8F-C9FF-4F32-859DAE5E7DA6}"/>
              </a:ext>
            </a:extLst>
          </p:cNvPr>
          <p:cNvCxnSpPr>
            <a:cxnSpLocks/>
          </p:cNvCxnSpPr>
          <p:nvPr/>
        </p:nvCxnSpPr>
        <p:spPr>
          <a:xfrm flipH="1">
            <a:off x="7523774" y="1678137"/>
            <a:ext cx="7584" cy="4212842"/>
          </a:xfrm>
          <a:prstGeom prst="line">
            <a:avLst/>
          </a:prstGeom>
          <a:ln w="12700">
            <a:solidFill>
              <a:srgbClr val="EB9415"/>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A2634A1-9431-AD23-AE36-B5013669E119}"/>
              </a:ext>
            </a:extLst>
          </p:cNvPr>
          <p:cNvCxnSpPr>
            <a:cxnSpLocks/>
          </p:cNvCxnSpPr>
          <p:nvPr/>
        </p:nvCxnSpPr>
        <p:spPr>
          <a:xfrm>
            <a:off x="3435780" y="3749972"/>
            <a:ext cx="8175989" cy="0"/>
          </a:xfrm>
          <a:prstGeom prst="line">
            <a:avLst/>
          </a:prstGeom>
          <a:ln w="12700">
            <a:solidFill>
              <a:srgbClr val="EB9415"/>
            </a:solidFill>
            <a:prstDash val="dash"/>
          </a:ln>
        </p:spPr>
        <p:style>
          <a:lnRef idx="1">
            <a:schemeClr val="accent1"/>
          </a:lnRef>
          <a:fillRef idx="0">
            <a:schemeClr val="accent1"/>
          </a:fillRef>
          <a:effectRef idx="0">
            <a:schemeClr val="accent1"/>
          </a:effectRef>
          <a:fontRef idx="minor">
            <a:schemeClr val="tx1"/>
          </a:fontRef>
        </p:style>
      </p:cxnSp>
      <p:sp>
        <p:nvSpPr>
          <p:cNvPr id="18" name="Content Placeholder 4">
            <a:extLst>
              <a:ext uri="{FF2B5EF4-FFF2-40B4-BE49-F238E27FC236}">
                <a16:creationId xmlns:a16="http://schemas.microsoft.com/office/drawing/2014/main" id="{84FD9AFD-2A1E-553C-E99E-EB4E999A7909}"/>
              </a:ext>
            </a:extLst>
          </p:cNvPr>
          <p:cNvSpPr txBox="1">
            <a:spLocks/>
          </p:cNvSpPr>
          <p:nvPr/>
        </p:nvSpPr>
        <p:spPr>
          <a:xfrm>
            <a:off x="1256160" y="1255972"/>
            <a:ext cx="1195489" cy="469832"/>
          </a:xfrm>
          <a:prstGeom prst="rect">
            <a:avLst/>
          </a:prstGeom>
        </p:spPr>
        <p:txBody>
          <a:bodyPr vert="horz" lIns="81644" tIns="41475" rIns="82951" bIns="41475" rtlCol="0">
            <a:normAutofit/>
          </a:bodyPr>
          <a:lstStyle>
            <a:lvl1pPr marL="133335" indent="-126986" algn="l" defTabSz="964693" rtl="0" eaLnBrk="1" latinLnBrk="0" hangingPunct="1">
              <a:lnSpc>
                <a:spcPct val="100000"/>
              </a:lnSpc>
              <a:spcBef>
                <a:spcPts val="600"/>
              </a:spcBef>
              <a:spcAft>
                <a:spcPts val="0"/>
              </a:spcAft>
              <a:buFont typeface="Arial" panose="020B0604020202020204" pitchFamily="34" charset="0"/>
              <a:buChar char="•"/>
              <a:tabLst/>
              <a:defRPr sz="1400" kern="1200">
                <a:solidFill>
                  <a:schemeClr val="tx1"/>
                </a:solidFill>
                <a:latin typeface="+mn-lt"/>
                <a:ea typeface="+mn-ea"/>
                <a:cs typeface="+mn-cs"/>
              </a:defRPr>
            </a:lvl1pPr>
            <a:lvl2pPr marL="268258" indent="-134922" algn="l" defTabSz="964693" rtl="0" eaLnBrk="1" latinLnBrk="0" hangingPunct="1">
              <a:lnSpc>
                <a:spcPct val="100000"/>
              </a:lnSpc>
              <a:spcBef>
                <a:spcPts val="600"/>
              </a:spcBef>
              <a:buFont typeface="System Font Regular"/>
              <a:buChar char="-"/>
              <a:tabLst/>
              <a:defRPr sz="1200" kern="1200">
                <a:solidFill>
                  <a:schemeClr val="tx1"/>
                </a:solidFill>
                <a:latin typeface="+mn-lt"/>
                <a:ea typeface="+mn-ea"/>
                <a:cs typeface="+mn-cs"/>
              </a:defRPr>
            </a:lvl2pPr>
            <a:lvl3pPr marL="403179" indent="-134922" algn="l" defTabSz="964693" rtl="0" eaLnBrk="1" latinLnBrk="0" hangingPunct="1">
              <a:lnSpc>
                <a:spcPct val="100000"/>
              </a:lnSpc>
              <a:spcBef>
                <a:spcPts val="600"/>
              </a:spcBef>
              <a:buFont typeface="System Font Regular"/>
              <a:buChar char="-"/>
              <a:tabLst/>
              <a:defRPr sz="1100" kern="1200">
                <a:solidFill>
                  <a:schemeClr val="tx1"/>
                </a:solidFill>
                <a:latin typeface="+mn-lt"/>
                <a:ea typeface="+mn-ea"/>
                <a:cs typeface="+mn-cs"/>
              </a:defRPr>
            </a:lvl3pPr>
            <a:lvl4pPr marL="1155592" indent="-253975" algn="l" defTabSz="964693" rtl="0" eaLnBrk="1" latinLnBrk="0" hangingPunct="1">
              <a:lnSpc>
                <a:spcPct val="90000"/>
              </a:lnSpc>
              <a:spcBef>
                <a:spcPts val="528"/>
              </a:spcBef>
              <a:buFont typeface="System Font Regular"/>
              <a:buChar char="-"/>
              <a:tabLst/>
              <a:defRPr sz="1101" kern="1200">
                <a:solidFill>
                  <a:schemeClr val="tx1"/>
                </a:solidFill>
                <a:latin typeface="+mn-lt"/>
                <a:ea typeface="+mn-ea"/>
                <a:cs typeface="+mn-cs"/>
              </a:defRPr>
            </a:lvl4pPr>
            <a:lvl5pPr marL="1466712" indent="-253975" algn="l" defTabSz="964693" rtl="0" eaLnBrk="1" latinLnBrk="0" hangingPunct="1">
              <a:lnSpc>
                <a:spcPct val="90000"/>
              </a:lnSpc>
              <a:spcBef>
                <a:spcPts val="528"/>
              </a:spcBef>
              <a:buFont typeface="System Font Regular"/>
              <a:buChar char="-"/>
              <a:tabLst/>
              <a:defRPr sz="1050" kern="1200">
                <a:solidFill>
                  <a:schemeClr val="tx1"/>
                </a:solidFill>
                <a:latin typeface="+mn-lt"/>
                <a:ea typeface="+mn-ea"/>
                <a:cs typeface="+mn-cs"/>
              </a:defRPr>
            </a:lvl5pPr>
            <a:lvl6pPr marL="2652905"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6pPr>
            <a:lvl7pPr marL="3135252"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7pPr>
            <a:lvl8pPr marL="3617598"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8pPr>
            <a:lvl9pPr marL="4099945"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9pPr>
          </a:lstStyle>
          <a:p>
            <a:pPr marL="5760" indent="0" defTabSz="875169">
              <a:spcBef>
                <a:spcPts val="544"/>
              </a:spcBef>
              <a:buNone/>
            </a:pPr>
            <a:r>
              <a:rPr lang="en-US" sz="2177" b="1">
                <a:solidFill>
                  <a:srgbClr val="000000"/>
                </a:solidFill>
                <a:latin typeface="Calibri" panose="020F0502020204030204"/>
              </a:rPr>
              <a:t>EESTI</a:t>
            </a:r>
          </a:p>
        </p:txBody>
      </p:sp>
      <p:sp>
        <p:nvSpPr>
          <p:cNvPr id="19" name="Rectangle 18">
            <a:extLst>
              <a:ext uri="{FF2B5EF4-FFF2-40B4-BE49-F238E27FC236}">
                <a16:creationId xmlns:a16="http://schemas.microsoft.com/office/drawing/2014/main" id="{3F794A1E-712A-F163-7005-975E47BB63C3}"/>
              </a:ext>
            </a:extLst>
          </p:cNvPr>
          <p:cNvSpPr/>
          <p:nvPr/>
        </p:nvSpPr>
        <p:spPr>
          <a:xfrm>
            <a:off x="447331" y="1547879"/>
            <a:ext cx="2998512" cy="6531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414772"/>
            <a:r>
              <a:rPr lang="et-EE" sz="1814" b="1">
                <a:solidFill>
                  <a:srgbClr val="000000"/>
                </a:solidFill>
                <a:latin typeface="Calibri" panose="020F0502020204030204"/>
              </a:rPr>
              <a:t>Täna:</a:t>
            </a:r>
            <a:r>
              <a:rPr lang="et-EE" sz="1814">
                <a:solidFill>
                  <a:srgbClr val="000000"/>
                </a:solidFill>
                <a:latin typeface="Calibri" panose="020F0502020204030204"/>
              </a:rPr>
              <a:t>	9</a:t>
            </a:r>
            <a:r>
              <a:rPr lang="en-US" sz="1814">
                <a:solidFill>
                  <a:srgbClr val="000000"/>
                </a:solidFill>
                <a:latin typeface="Calibri" panose="020F0502020204030204"/>
              </a:rPr>
              <a:t>,</a:t>
            </a:r>
            <a:r>
              <a:rPr lang="et-EE" sz="1814">
                <a:solidFill>
                  <a:srgbClr val="000000"/>
                </a:solidFill>
                <a:latin typeface="Calibri" panose="020F0502020204030204"/>
              </a:rPr>
              <a:t>0 </a:t>
            </a:r>
            <a:r>
              <a:rPr lang="et-EE" sz="1814" err="1">
                <a:solidFill>
                  <a:srgbClr val="000000"/>
                </a:solidFill>
                <a:latin typeface="Calibri" panose="020F0502020204030204"/>
              </a:rPr>
              <a:t>TWh</a:t>
            </a:r>
            <a:endParaRPr lang="et-EE" sz="1814">
              <a:solidFill>
                <a:srgbClr val="000000"/>
              </a:solidFill>
              <a:latin typeface="Calibri" panose="020F0502020204030204"/>
            </a:endParaRPr>
          </a:p>
          <a:p>
            <a:pPr defTabSz="414772"/>
            <a:r>
              <a:rPr lang="et-EE" sz="1814" b="1">
                <a:solidFill>
                  <a:srgbClr val="000000"/>
                </a:solidFill>
                <a:latin typeface="Calibri" panose="020F0502020204030204"/>
              </a:rPr>
              <a:t>203</a:t>
            </a:r>
            <a:r>
              <a:rPr lang="en-US" sz="1814" b="1">
                <a:solidFill>
                  <a:srgbClr val="000000"/>
                </a:solidFill>
                <a:latin typeface="Calibri" panose="020F0502020204030204"/>
              </a:rPr>
              <a:t>5</a:t>
            </a:r>
            <a:r>
              <a:rPr lang="et-EE" sz="1814" b="1">
                <a:solidFill>
                  <a:srgbClr val="000000"/>
                </a:solidFill>
                <a:latin typeface="Calibri" panose="020F0502020204030204"/>
              </a:rPr>
              <a:t>:</a:t>
            </a:r>
            <a:r>
              <a:rPr lang="et-EE" sz="1814">
                <a:solidFill>
                  <a:srgbClr val="000000"/>
                </a:solidFill>
                <a:latin typeface="Calibri" panose="020F0502020204030204"/>
              </a:rPr>
              <a:t>	</a:t>
            </a:r>
            <a:r>
              <a:rPr lang="en-US" sz="1814">
                <a:solidFill>
                  <a:srgbClr val="000000"/>
                </a:solidFill>
                <a:latin typeface="Calibri" panose="020F0502020204030204"/>
              </a:rPr>
              <a:t>11,3 </a:t>
            </a:r>
            <a:r>
              <a:rPr lang="et-EE" sz="1814" err="1">
                <a:solidFill>
                  <a:srgbClr val="000000"/>
                </a:solidFill>
                <a:latin typeface="Calibri" panose="020F0502020204030204"/>
              </a:rPr>
              <a:t>TWh</a:t>
            </a:r>
            <a:endParaRPr lang="et-EE" sz="1814">
              <a:solidFill>
                <a:srgbClr val="000000"/>
              </a:solidFill>
              <a:latin typeface="Calibri" panose="020F0502020204030204"/>
            </a:endParaRPr>
          </a:p>
        </p:txBody>
      </p:sp>
      <p:pic>
        <p:nvPicPr>
          <p:cNvPr id="20" name="Picture 19" descr="A blue and black flag&#10;&#10;Description automatically generated with low confidence">
            <a:extLst>
              <a:ext uri="{FF2B5EF4-FFF2-40B4-BE49-F238E27FC236}">
                <a16:creationId xmlns:a16="http://schemas.microsoft.com/office/drawing/2014/main" id="{E3B8A616-FABC-7C07-0B16-0524963EED44}"/>
              </a:ext>
            </a:extLst>
          </p:cNvPr>
          <p:cNvPicPr>
            <a:picLocks noChangeAspect="1"/>
          </p:cNvPicPr>
          <p:nvPr/>
        </p:nvPicPr>
        <p:blipFill>
          <a:blip r:embed="rId8"/>
          <a:stretch>
            <a:fillRect/>
          </a:stretch>
        </p:blipFill>
        <p:spPr>
          <a:xfrm>
            <a:off x="510841" y="1341792"/>
            <a:ext cx="410576" cy="261262"/>
          </a:xfrm>
          <a:prstGeom prst="rect">
            <a:avLst/>
          </a:prstGeom>
        </p:spPr>
      </p:pic>
      <p:pic>
        <p:nvPicPr>
          <p:cNvPr id="21" name="Picture 20" descr="A blue cross on a white background&#10;&#10;Description automatically generated with medium confidence">
            <a:extLst>
              <a:ext uri="{FF2B5EF4-FFF2-40B4-BE49-F238E27FC236}">
                <a16:creationId xmlns:a16="http://schemas.microsoft.com/office/drawing/2014/main" id="{8AF0B213-6324-0B92-D26D-99316898F8DF}"/>
              </a:ext>
            </a:extLst>
          </p:cNvPr>
          <p:cNvPicPr>
            <a:picLocks noChangeAspect="1"/>
          </p:cNvPicPr>
          <p:nvPr/>
        </p:nvPicPr>
        <p:blipFill>
          <a:blip r:embed="rId9"/>
          <a:stretch>
            <a:fillRect/>
          </a:stretch>
        </p:blipFill>
        <p:spPr>
          <a:xfrm>
            <a:off x="513156" y="2427372"/>
            <a:ext cx="427641" cy="261262"/>
          </a:xfrm>
          <a:prstGeom prst="rect">
            <a:avLst/>
          </a:prstGeom>
        </p:spPr>
      </p:pic>
      <p:pic>
        <p:nvPicPr>
          <p:cNvPr id="22" name="Picture 21" descr="A red and blue flag&#10;&#10;Description automatically generated with medium confidence">
            <a:extLst>
              <a:ext uri="{FF2B5EF4-FFF2-40B4-BE49-F238E27FC236}">
                <a16:creationId xmlns:a16="http://schemas.microsoft.com/office/drawing/2014/main" id="{D32697F4-8C75-2D6A-E89A-32BBDDD68A17}"/>
              </a:ext>
            </a:extLst>
          </p:cNvPr>
          <p:cNvPicPr>
            <a:picLocks noChangeAspect="1"/>
          </p:cNvPicPr>
          <p:nvPr/>
        </p:nvPicPr>
        <p:blipFill>
          <a:blip r:embed="rId10"/>
          <a:stretch>
            <a:fillRect/>
          </a:stretch>
        </p:blipFill>
        <p:spPr>
          <a:xfrm>
            <a:off x="514060" y="4419246"/>
            <a:ext cx="404139" cy="293919"/>
          </a:xfrm>
          <a:prstGeom prst="rect">
            <a:avLst/>
          </a:prstGeom>
        </p:spPr>
      </p:pic>
      <p:pic>
        <p:nvPicPr>
          <p:cNvPr id="23" name="Picture 22" descr="A blue and yellow flag&#10;&#10;Description automatically generated">
            <a:extLst>
              <a:ext uri="{FF2B5EF4-FFF2-40B4-BE49-F238E27FC236}">
                <a16:creationId xmlns:a16="http://schemas.microsoft.com/office/drawing/2014/main" id="{7C9187CA-8A68-C599-06FD-F8C5C7C6A454}"/>
              </a:ext>
            </a:extLst>
          </p:cNvPr>
          <p:cNvPicPr>
            <a:picLocks noChangeAspect="1"/>
          </p:cNvPicPr>
          <p:nvPr/>
        </p:nvPicPr>
        <p:blipFill>
          <a:blip r:embed="rId11"/>
          <a:stretch>
            <a:fillRect/>
          </a:stretch>
        </p:blipFill>
        <p:spPr>
          <a:xfrm>
            <a:off x="510841" y="3433123"/>
            <a:ext cx="418018" cy="261262"/>
          </a:xfrm>
          <a:prstGeom prst="rect">
            <a:avLst/>
          </a:prstGeom>
        </p:spPr>
      </p:pic>
      <p:sp>
        <p:nvSpPr>
          <p:cNvPr id="24" name="Content Placeholder 4">
            <a:extLst>
              <a:ext uri="{FF2B5EF4-FFF2-40B4-BE49-F238E27FC236}">
                <a16:creationId xmlns:a16="http://schemas.microsoft.com/office/drawing/2014/main" id="{248E7B60-BF42-4CB4-1705-EC02F948EC23}"/>
              </a:ext>
            </a:extLst>
          </p:cNvPr>
          <p:cNvSpPr txBox="1">
            <a:spLocks/>
          </p:cNvSpPr>
          <p:nvPr/>
        </p:nvSpPr>
        <p:spPr>
          <a:xfrm>
            <a:off x="1256160" y="2324523"/>
            <a:ext cx="1195489" cy="469832"/>
          </a:xfrm>
          <a:prstGeom prst="rect">
            <a:avLst/>
          </a:prstGeom>
        </p:spPr>
        <p:txBody>
          <a:bodyPr vert="horz" lIns="81644" tIns="41475" rIns="82951" bIns="41475" rtlCol="0">
            <a:normAutofit/>
          </a:bodyPr>
          <a:lstStyle>
            <a:lvl1pPr marL="133335" indent="-126986" algn="l" defTabSz="964693" rtl="0" eaLnBrk="1" latinLnBrk="0" hangingPunct="1">
              <a:lnSpc>
                <a:spcPct val="100000"/>
              </a:lnSpc>
              <a:spcBef>
                <a:spcPts val="600"/>
              </a:spcBef>
              <a:spcAft>
                <a:spcPts val="0"/>
              </a:spcAft>
              <a:buFont typeface="Arial" panose="020B0604020202020204" pitchFamily="34" charset="0"/>
              <a:buChar char="•"/>
              <a:tabLst/>
              <a:defRPr sz="1400" kern="1200">
                <a:solidFill>
                  <a:schemeClr val="tx1"/>
                </a:solidFill>
                <a:latin typeface="+mn-lt"/>
                <a:ea typeface="+mn-ea"/>
                <a:cs typeface="+mn-cs"/>
              </a:defRPr>
            </a:lvl1pPr>
            <a:lvl2pPr marL="268258" indent="-134922" algn="l" defTabSz="964693" rtl="0" eaLnBrk="1" latinLnBrk="0" hangingPunct="1">
              <a:lnSpc>
                <a:spcPct val="100000"/>
              </a:lnSpc>
              <a:spcBef>
                <a:spcPts val="600"/>
              </a:spcBef>
              <a:buFont typeface="System Font Regular"/>
              <a:buChar char="-"/>
              <a:tabLst/>
              <a:defRPr sz="1200" kern="1200">
                <a:solidFill>
                  <a:schemeClr val="tx1"/>
                </a:solidFill>
                <a:latin typeface="+mn-lt"/>
                <a:ea typeface="+mn-ea"/>
                <a:cs typeface="+mn-cs"/>
              </a:defRPr>
            </a:lvl2pPr>
            <a:lvl3pPr marL="403179" indent="-134922" algn="l" defTabSz="964693" rtl="0" eaLnBrk="1" latinLnBrk="0" hangingPunct="1">
              <a:lnSpc>
                <a:spcPct val="100000"/>
              </a:lnSpc>
              <a:spcBef>
                <a:spcPts val="600"/>
              </a:spcBef>
              <a:buFont typeface="System Font Regular"/>
              <a:buChar char="-"/>
              <a:tabLst/>
              <a:defRPr sz="1100" kern="1200">
                <a:solidFill>
                  <a:schemeClr val="tx1"/>
                </a:solidFill>
                <a:latin typeface="+mn-lt"/>
                <a:ea typeface="+mn-ea"/>
                <a:cs typeface="+mn-cs"/>
              </a:defRPr>
            </a:lvl3pPr>
            <a:lvl4pPr marL="1155592" indent="-253975" algn="l" defTabSz="964693" rtl="0" eaLnBrk="1" latinLnBrk="0" hangingPunct="1">
              <a:lnSpc>
                <a:spcPct val="90000"/>
              </a:lnSpc>
              <a:spcBef>
                <a:spcPts val="528"/>
              </a:spcBef>
              <a:buFont typeface="System Font Regular"/>
              <a:buChar char="-"/>
              <a:tabLst/>
              <a:defRPr sz="1101" kern="1200">
                <a:solidFill>
                  <a:schemeClr val="tx1"/>
                </a:solidFill>
                <a:latin typeface="+mn-lt"/>
                <a:ea typeface="+mn-ea"/>
                <a:cs typeface="+mn-cs"/>
              </a:defRPr>
            </a:lvl4pPr>
            <a:lvl5pPr marL="1466712" indent="-253975" algn="l" defTabSz="964693" rtl="0" eaLnBrk="1" latinLnBrk="0" hangingPunct="1">
              <a:lnSpc>
                <a:spcPct val="90000"/>
              </a:lnSpc>
              <a:spcBef>
                <a:spcPts val="528"/>
              </a:spcBef>
              <a:buFont typeface="System Font Regular"/>
              <a:buChar char="-"/>
              <a:tabLst/>
              <a:defRPr sz="1050" kern="1200">
                <a:solidFill>
                  <a:schemeClr val="tx1"/>
                </a:solidFill>
                <a:latin typeface="+mn-lt"/>
                <a:ea typeface="+mn-ea"/>
                <a:cs typeface="+mn-cs"/>
              </a:defRPr>
            </a:lvl5pPr>
            <a:lvl6pPr marL="2652905"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6pPr>
            <a:lvl7pPr marL="3135252"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7pPr>
            <a:lvl8pPr marL="3617598"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8pPr>
            <a:lvl9pPr marL="4099945"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9pPr>
          </a:lstStyle>
          <a:p>
            <a:pPr marL="5760" indent="0" defTabSz="875169">
              <a:spcBef>
                <a:spcPts val="544"/>
              </a:spcBef>
              <a:buNone/>
            </a:pPr>
            <a:r>
              <a:rPr lang="en-US" sz="2177" b="1">
                <a:solidFill>
                  <a:srgbClr val="000000"/>
                </a:solidFill>
                <a:latin typeface="Calibri" panose="020F0502020204030204"/>
              </a:rPr>
              <a:t>SOOME</a:t>
            </a:r>
          </a:p>
        </p:txBody>
      </p:sp>
      <p:sp>
        <p:nvSpPr>
          <p:cNvPr id="25" name="Rectangle 24">
            <a:extLst>
              <a:ext uri="{FF2B5EF4-FFF2-40B4-BE49-F238E27FC236}">
                <a16:creationId xmlns:a16="http://schemas.microsoft.com/office/drawing/2014/main" id="{BE07AC1F-C04E-6155-1F9F-60A53B3F6C2D}"/>
              </a:ext>
            </a:extLst>
          </p:cNvPr>
          <p:cNvSpPr/>
          <p:nvPr/>
        </p:nvSpPr>
        <p:spPr>
          <a:xfrm>
            <a:off x="451871" y="2683108"/>
            <a:ext cx="3802135" cy="6531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414772"/>
            <a:r>
              <a:rPr lang="et-EE" sz="1814" b="1">
                <a:solidFill>
                  <a:srgbClr val="000000"/>
                </a:solidFill>
                <a:latin typeface="Calibri" panose="020F0502020204030204"/>
              </a:rPr>
              <a:t>Täna:</a:t>
            </a:r>
            <a:r>
              <a:rPr lang="et-EE" sz="1814">
                <a:solidFill>
                  <a:srgbClr val="000000"/>
                </a:solidFill>
                <a:latin typeface="Calibri" panose="020F0502020204030204"/>
              </a:rPr>
              <a:t>	87 </a:t>
            </a:r>
            <a:r>
              <a:rPr lang="et-EE" sz="1814" err="1">
                <a:solidFill>
                  <a:srgbClr val="000000"/>
                </a:solidFill>
                <a:latin typeface="Calibri" panose="020F0502020204030204"/>
              </a:rPr>
              <a:t>TWh</a:t>
            </a:r>
            <a:endParaRPr lang="et-EE" sz="1814">
              <a:solidFill>
                <a:srgbClr val="000000"/>
              </a:solidFill>
              <a:latin typeface="Calibri" panose="020F0502020204030204"/>
            </a:endParaRPr>
          </a:p>
          <a:p>
            <a:pPr defTabSz="414772"/>
            <a:r>
              <a:rPr lang="et-EE" sz="1814" b="1">
                <a:solidFill>
                  <a:srgbClr val="000000"/>
                </a:solidFill>
                <a:latin typeface="Calibri" panose="020F0502020204030204"/>
              </a:rPr>
              <a:t>2035:</a:t>
            </a:r>
            <a:r>
              <a:rPr lang="et-EE" sz="1814">
                <a:solidFill>
                  <a:srgbClr val="000000"/>
                </a:solidFill>
                <a:latin typeface="Calibri" panose="020F0502020204030204"/>
              </a:rPr>
              <a:t>	115 – 185 </a:t>
            </a:r>
            <a:r>
              <a:rPr lang="et-EE" sz="1814" err="1">
                <a:solidFill>
                  <a:srgbClr val="000000"/>
                </a:solidFill>
                <a:latin typeface="Calibri" panose="020F0502020204030204"/>
              </a:rPr>
              <a:t>TWh</a:t>
            </a:r>
            <a:endParaRPr lang="et-EE" sz="1814">
              <a:solidFill>
                <a:srgbClr val="000000"/>
              </a:solidFill>
              <a:latin typeface="Calibri" panose="020F0502020204030204"/>
            </a:endParaRPr>
          </a:p>
        </p:txBody>
      </p:sp>
      <p:sp>
        <p:nvSpPr>
          <p:cNvPr id="26" name="Content Placeholder 4">
            <a:extLst>
              <a:ext uri="{FF2B5EF4-FFF2-40B4-BE49-F238E27FC236}">
                <a16:creationId xmlns:a16="http://schemas.microsoft.com/office/drawing/2014/main" id="{EFCA86EE-60C3-BCF2-B548-688C6DAEA010}"/>
              </a:ext>
            </a:extLst>
          </p:cNvPr>
          <p:cNvSpPr txBox="1">
            <a:spLocks/>
          </p:cNvSpPr>
          <p:nvPr/>
        </p:nvSpPr>
        <p:spPr>
          <a:xfrm>
            <a:off x="1256160" y="3353047"/>
            <a:ext cx="1195489" cy="469832"/>
          </a:xfrm>
          <a:prstGeom prst="rect">
            <a:avLst/>
          </a:prstGeom>
        </p:spPr>
        <p:txBody>
          <a:bodyPr vert="horz" lIns="81644" tIns="41475" rIns="82951" bIns="41475" rtlCol="0">
            <a:normAutofit/>
          </a:bodyPr>
          <a:lstStyle>
            <a:lvl1pPr marL="133335" indent="-126986" algn="l" defTabSz="964693" rtl="0" eaLnBrk="1" latinLnBrk="0" hangingPunct="1">
              <a:lnSpc>
                <a:spcPct val="100000"/>
              </a:lnSpc>
              <a:spcBef>
                <a:spcPts val="600"/>
              </a:spcBef>
              <a:spcAft>
                <a:spcPts val="0"/>
              </a:spcAft>
              <a:buFont typeface="Arial" panose="020B0604020202020204" pitchFamily="34" charset="0"/>
              <a:buChar char="•"/>
              <a:tabLst/>
              <a:defRPr sz="1400" kern="1200">
                <a:solidFill>
                  <a:schemeClr val="tx1"/>
                </a:solidFill>
                <a:latin typeface="+mn-lt"/>
                <a:ea typeface="+mn-ea"/>
                <a:cs typeface="+mn-cs"/>
              </a:defRPr>
            </a:lvl1pPr>
            <a:lvl2pPr marL="268258" indent="-134922" algn="l" defTabSz="964693" rtl="0" eaLnBrk="1" latinLnBrk="0" hangingPunct="1">
              <a:lnSpc>
                <a:spcPct val="100000"/>
              </a:lnSpc>
              <a:spcBef>
                <a:spcPts val="600"/>
              </a:spcBef>
              <a:buFont typeface="System Font Regular"/>
              <a:buChar char="-"/>
              <a:tabLst/>
              <a:defRPr sz="1200" kern="1200">
                <a:solidFill>
                  <a:schemeClr val="tx1"/>
                </a:solidFill>
                <a:latin typeface="+mn-lt"/>
                <a:ea typeface="+mn-ea"/>
                <a:cs typeface="+mn-cs"/>
              </a:defRPr>
            </a:lvl2pPr>
            <a:lvl3pPr marL="403179" indent="-134922" algn="l" defTabSz="964693" rtl="0" eaLnBrk="1" latinLnBrk="0" hangingPunct="1">
              <a:lnSpc>
                <a:spcPct val="100000"/>
              </a:lnSpc>
              <a:spcBef>
                <a:spcPts val="600"/>
              </a:spcBef>
              <a:buFont typeface="System Font Regular"/>
              <a:buChar char="-"/>
              <a:tabLst/>
              <a:defRPr sz="1100" kern="1200">
                <a:solidFill>
                  <a:schemeClr val="tx1"/>
                </a:solidFill>
                <a:latin typeface="+mn-lt"/>
                <a:ea typeface="+mn-ea"/>
                <a:cs typeface="+mn-cs"/>
              </a:defRPr>
            </a:lvl3pPr>
            <a:lvl4pPr marL="1155592" indent="-253975" algn="l" defTabSz="964693" rtl="0" eaLnBrk="1" latinLnBrk="0" hangingPunct="1">
              <a:lnSpc>
                <a:spcPct val="90000"/>
              </a:lnSpc>
              <a:spcBef>
                <a:spcPts val="528"/>
              </a:spcBef>
              <a:buFont typeface="System Font Regular"/>
              <a:buChar char="-"/>
              <a:tabLst/>
              <a:defRPr sz="1101" kern="1200">
                <a:solidFill>
                  <a:schemeClr val="tx1"/>
                </a:solidFill>
                <a:latin typeface="+mn-lt"/>
                <a:ea typeface="+mn-ea"/>
                <a:cs typeface="+mn-cs"/>
              </a:defRPr>
            </a:lvl4pPr>
            <a:lvl5pPr marL="1466712" indent="-253975" algn="l" defTabSz="964693" rtl="0" eaLnBrk="1" latinLnBrk="0" hangingPunct="1">
              <a:lnSpc>
                <a:spcPct val="90000"/>
              </a:lnSpc>
              <a:spcBef>
                <a:spcPts val="528"/>
              </a:spcBef>
              <a:buFont typeface="System Font Regular"/>
              <a:buChar char="-"/>
              <a:tabLst/>
              <a:defRPr sz="1050" kern="1200">
                <a:solidFill>
                  <a:schemeClr val="tx1"/>
                </a:solidFill>
                <a:latin typeface="+mn-lt"/>
                <a:ea typeface="+mn-ea"/>
                <a:cs typeface="+mn-cs"/>
              </a:defRPr>
            </a:lvl5pPr>
            <a:lvl6pPr marL="2652905"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6pPr>
            <a:lvl7pPr marL="3135252"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7pPr>
            <a:lvl8pPr marL="3617598"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8pPr>
            <a:lvl9pPr marL="4099945"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9pPr>
          </a:lstStyle>
          <a:p>
            <a:pPr marL="5760" indent="0" defTabSz="875169">
              <a:spcBef>
                <a:spcPts val="544"/>
              </a:spcBef>
              <a:buNone/>
            </a:pPr>
            <a:r>
              <a:rPr lang="en-US" sz="2177" b="1">
                <a:solidFill>
                  <a:srgbClr val="000000"/>
                </a:solidFill>
                <a:latin typeface="Calibri" panose="020F0502020204030204"/>
              </a:rPr>
              <a:t>ROOTSI</a:t>
            </a:r>
          </a:p>
        </p:txBody>
      </p:sp>
      <p:sp>
        <p:nvSpPr>
          <p:cNvPr id="27" name="Rectangle 26">
            <a:extLst>
              <a:ext uri="{FF2B5EF4-FFF2-40B4-BE49-F238E27FC236}">
                <a16:creationId xmlns:a16="http://schemas.microsoft.com/office/drawing/2014/main" id="{7661E0A6-092E-2B07-83BD-53025A2EE500}"/>
              </a:ext>
            </a:extLst>
          </p:cNvPr>
          <p:cNvSpPr/>
          <p:nvPr/>
        </p:nvSpPr>
        <p:spPr>
          <a:xfrm>
            <a:off x="447331" y="3673087"/>
            <a:ext cx="2924110" cy="6531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414772"/>
            <a:r>
              <a:rPr lang="et-EE" sz="1814" b="1">
                <a:solidFill>
                  <a:srgbClr val="000000"/>
                </a:solidFill>
                <a:latin typeface="Calibri" panose="020F0502020204030204"/>
              </a:rPr>
              <a:t>Täna:</a:t>
            </a:r>
            <a:r>
              <a:rPr lang="et-EE" sz="1814">
                <a:solidFill>
                  <a:srgbClr val="000000"/>
                </a:solidFill>
                <a:latin typeface="Calibri" panose="020F0502020204030204"/>
              </a:rPr>
              <a:t>	142 </a:t>
            </a:r>
            <a:r>
              <a:rPr lang="et-EE" sz="1814" err="1">
                <a:solidFill>
                  <a:srgbClr val="000000"/>
                </a:solidFill>
                <a:latin typeface="Calibri" panose="020F0502020204030204"/>
              </a:rPr>
              <a:t>TWh</a:t>
            </a:r>
            <a:endParaRPr lang="et-EE" sz="1814">
              <a:solidFill>
                <a:srgbClr val="000000"/>
              </a:solidFill>
              <a:latin typeface="Calibri" panose="020F0502020204030204"/>
            </a:endParaRPr>
          </a:p>
          <a:p>
            <a:pPr defTabSz="414772"/>
            <a:r>
              <a:rPr lang="et-EE" sz="1814" b="1">
                <a:solidFill>
                  <a:srgbClr val="000000"/>
                </a:solidFill>
                <a:latin typeface="Calibri" panose="020F0502020204030204"/>
              </a:rPr>
              <a:t>2030:</a:t>
            </a:r>
            <a:r>
              <a:rPr lang="et-EE" sz="1814">
                <a:solidFill>
                  <a:srgbClr val="000000"/>
                </a:solidFill>
                <a:latin typeface="Calibri" panose="020F0502020204030204"/>
              </a:rPr>
              <a:t>	197 </a:t>
            </a:r>
            <a:r>
              <a:rPr lang="et-EE" sz="1814" err="1">
                <a:solidFill>
                  <a:srgbClr val="000000"/>
                </a:solidFill>
                <a:latin typeface="Calibri" panose="020F0502020204030204"/>
              </a:rPr>
              <a:t>TWh</a:t>
            </a:r>
            <a:endParaRPr lang="et-EE" sz="1814">
              <a:solidFill>
                <a:srgbClr val="000000"/>
              </a:solidFill>
              <a:latin typeface="Calibri" panose="020F0502020204030204"/>
            </a:endParaRPr>
          </a:p>
        </p:txBody>
      </p:sp>
      <p:sp>
        <p:nvSpPr>
          <p:cNvPr id="28" name="Content Placeholder 4">
            <a:extLst>
              <a:ext uri="{FF2B5EF4-FFF2-40B4-BE49-F238E27FC236}">
                <a16:creationId xmlns:a16="http://schemas.microsoft.com/office/drawing/2014/main" id="{4839123C-2CDA-63D0-F321-6F256EC65C09}"/>
              </a:ext>
            </a:extLst>
          </p:cNvPr>
          <p:cNvSpPr txBox="1">
            <a:spLocks/>
          </p:cNvSpPr>
          <p:nvPr/>
        </p:nvSpPr>
        <p:spPr>
          <a:xfrm>
            <a:off x="1256160" y="4356487"/>
            <a:ext cx="1195489" cy="469832"/>
          </a:xfrm>
          <a:prstGeom prst="rect">
            <a:avLst/>
          </a:prstGeom>
        </p:spPr>
        <p:txBody>
          <a:bodyPr vert="horz" lIns="81644" tIns="41475" rIns="82951" bIns="41475" rtlCol="0">
            <a:normAutofit/>
          </a:bodyPr>
          <a:lstStyle>
            <a:lvl1pPr marL="133335" indent="-126986" algn="l" defTabSz="964693" rtl="0" eaLnBrk="1" latinLnBrk="0" hangingPunct="1">
              <a:lnSpc>
                <a:spcPct val="100000"/>
              </a:lnSpc>
              <a:spcBef>
                <a:spcPts val="600"/>
              </a:spcBef>
              <a:spcAft>
                <a:spcPts val="0"/>
              </a:spcAft>
              <a:buFont typeface="Arial" panose="020B0604020202020204" pitchFamily="34" charset="0"/>
              <a:buChar char="•"/>
              <a:tabLst/>
              <a:defRPr sz="1400" kern="1200">
                <a:solidFill>
                  <a:schemeClr val="tx1"/>
                </a:solidFill>
                <a:latin typeface="+mn-lt"/>
                <a:ea typeface="+mn-ea"/>
                <a:cs typeface="+mn-cs"/>
              </a:defRPr>
            </a:lvl1pPr>
            <a:lvl2pPr marL="268258" indent="-134922" algn="l" defTabSz="964693" rtl="0" eaLnBrk="1" latinLnBrk="0" hangingPunct="1">
              <a:lnSpc>
                <a:spcPct val="100000"/>
              </a:lnSpc>
              <a:spcBef>
                <a:spcPts val="600"/>
              </a:spcBef>
              <a:buFont typeface="System Font Regular"/>
              <a:buChar char="-"/>
              <a:tabLst/>
              <a:defRPr sz="1200" kern="1200">
                <a:solidFill>
                  <a:schemeClr val="tx1"/>
                </a:solidFill>
                <a:latin typeface="+mn-lt"/>
                <a:ea typeface="+mn-ea"/>
                <a:cs typeface="+mn-cs"/>
              </a:defRPr>
            </a:lvl2pPr>
            <a:lvl3pPr marL="403179" indent="-134922" algn="l" defTabSz="964693" rtl="0" eaLnBrk="1" latinLnBrk="0" hangingPunct="1">
              <a:lnSpc>
                <a:spcPct val="100000"/>
              </a:lnSpc>
              <a:spcBef>
                <a:spcPts val="600"/>
              </a:spcBef>
              <a:buFont typeface="System Font Regular"/>
              <a:buChar char="-"/>
              <a:tabLst/>
              <a:defRPr sz="1100" kern="1200">
                <a:solidFill>
                  <a:schemeClr val="tx1"/>
                </a:solidFill>
                <a:latin typeface="+mn-lt"/>
                <a:ea typeface="+mn-ea"/>
                <a:cs typeface="+mn-cs"/>
              </a:defRPr>
            </a:lvl3pPr>
            <a:lvl4pPr marL="1155592" indent="-253975" algn="l" defTabSz="964693" rtl="0" eaLnBrk="1" latinLnBrk="0" hangingPunct="1">
              <a:lnSpc>
                <a:spcPct val="90000"/>
              </a:lnSpc>
              <a:spcBef>
                <a:spcPts val="528"/>
              </a:spcBef>
              <a:buFont typeface="System Font Regular"/>
              <a:buChar char="-"/>
              <a:tabLst/>
              <a:defRPr sz="1101" kern="1200">
                <a:solidFill>
                  <a:schemeClr val="tx1"/>
                </a:solidFill>
                <a:latin typeface="+mn-lt"/>
                <a:ea typeface="+mn-ea"/>
                <a:cs typeface="+mn-cs"/>
              </a:defRPr>
            </a:lvl4pPr>
            <a:lvl5pPr marL="1466712" indent="-253975" algn="l" defTabSz="964693" rtl="0" eaLnBrk="1" latinLnBrk="0" hangingPunct="1">
              <a:lnSpc>
                <a:spcPct val="90000"/>
              </a:lnSpc>
              <a:spcBef>
                <a:spcPts val="528"/>
              </a:spcBef>
              <a:buFont typeface="System Font Regular"/>
              <a:buChar char="-"/>
              <a:tabLst/>
              <a:defRPr sz="1050" kern="1200">
                <a:solidFill>
                  <a:schemeClr val="tx1"/>
                </a:solidFill>
                <a:latin typeface="+mn-lt"/>
                <a:ea typeface="+mn-ea"/>
                <a:cs typeface="+mn-cs"/>
              </a:defRPr>
            </a:lvl5pPr>
            <a:lvl6pPr marL="2652905"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6pPr>
            <a:lvl7pPr marL="3135252"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7pPr>
            <a:lvl8pPr marL="3617598"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8pPr>
            <a:lvl9pPr marL="4099945"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9pPr>
          </a:lstStyle>
          <a:p>
            <a:pPr marL="5760" indent="0" defTabSz="875169">
              <a:spcBef>
                <a:spcPts val="544"/>
              </a:spcBef>
              <a:buNone/>
            </a:pPr>
            <a:r>
              <a:rPr lang="en-US" sz="2177" b="1">
                <a:solidFill>
                  <a:srgbClr val="000000"/>
                </a:solidFill>
                <a:latin typeface="Calibri" panose="020F0502020204030204"/>
              </a:rPr>
              <a:t>NORRA</a:t>
            </a:r>
          </a:p>
        </p:txBody>
      </p:sp>
      <p:sp>
        <p:nvSpPr>
          <p:cNvPr id="29" name="Rectangle 28">
            <a:extLst>
              <a:ext uri="{FF2B5EF4-FFF2-40B4-BE49-F238E27FC236}">
                <a16:creationId xmlns:a16="http://schemas.microsoft.com/office/drawing/2014/main" id="{CB84937C-95FE-1E58-F38A-3FF696D9913A}"/>
              </a:ext>
            </a:extLst>
          </p:cNvPr>
          <p:cNvSpPr/>
          <p:nvPr/>
        </p:nvSpPr>
        <p:spPr>
          <a:xfrm>
            <a:off x="447331" y="4684740"/>
            <a:ext cx="2077029" cy="6531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414772"/>
            <a:r>
              <a:rPr lang="et-EE" sz="1814" b="1">
                <a:solidFill>
                  <a:srgbClr val="000000"/>
                </a:solidFill>
                <a:latin typeface="Calibri" panose="020F0502020204030204"/>
              </a:rPr>
              <a:t>Täna:</a:t>
            </a:r>
            <a:r>
              <a:rPr lang="et-EE" sz="1814">
                <a:solidFill>
                  <a:srgbClr val="000000"/>
                </a:solidFill>
                <a:latin typeface="Calibri" panose="020F0502020204030204"/>
              </a:rPr>
              <a:t>	140 TWh</a:t>
            </a:r>
          </a:p>
          <a:p>
            <a:pPr defTabSz="414772"/>
            <a:r>
              <a:rPr lang="et-EE" sz="1814" b="1">
                <a:solidFill>
                  <a:srgbClr val="000000"/>
                </a:solidFill>
                <a:latin typeface="Calibri" panose="020F0502020204030204"/>
              </a:rPr>
              <a:t>2030:</a:t>
            </a:r>
            <a:r>
              <a:rPr lang="et-EE" sz="1814">
                <a:solidFill>
                  <a:srgbClr val="000000"/>
                </a:solidFill>
                <a:latin typeface="Calibri" panose="020F0502020204030204"/>
              </a:rPr>
              <a:t>	178 TWh</a:t>
            </a:r>
          </a:p>
        </p:txBody>
      </p:sp>
      <p:sp>
        <p:nvSpPr>
          <p:cNvPr id="30" name="Rectangle 29">
            <a:extLst>
              <a:ext uri="{FF2B5EF4-FFF2-40B4-BE49-F238E27FC236}">
                <a16:creationId xmlns:a16="http://schemas.microsoft.com/office/drawing/2014/main" id="{5132AB4E-30EE-E5D8-2C6B-0763F2EC5A82}"/>
              </a:ext>
            </a:extLst>
          </p:cNvPr>
          <p:cNvSpPr/>
          <p:nvPr/>
        </p:nvSpPr>
        <p:spPr>
          <a:xfrm>
            <a:off x="3450948" y="2224270"/>
            <a:ext cx="3980430" cy="141965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59232" indent="-259232" defTabSz="414772">
              <a:buFont typeface="Arial" panose="020B0604020202020204" pitchFamily="34" charset="0"/>
              <a:buChar char="•"/>
            </a:pPr>
            <a:r>
              <a:rPr lang="et-EE" sz="1633">
                <a:solidFill>
                  <a:srgbClr val="000000"/>
                </a:solidFill>
                <a:latin typeface="Calibri" panose="020F0502020204030204"/>
              </a:rPr>
              <a:t>10 000 uut töökohta</a:t>
            </a:r>
          </a:p>
          <a:p>
            <a:pPr marL="259232" indent="-259232" defTabSz="414772">
              <a:buFont typeface="Arial" panose="020B0604020202020204" pitchFamily="34" charset="0"/>
              <a:buChar char="•"/>
            </a:pPr>
            <a:r>
              <a:rPr lang="et-EE" sz="1633">
                <a:solidFill>
                  <a:srgbClr val="000000"/>
                </a:solidFill>
                <a:latin typeface="Calibri" panose="020F0502020204030204"/>
              </a:rPr>
              <a:t>3 miljardi väärtuses roheterase eksporti</a:t>
            </a:r>
          </a:p>
          <a:p>
            <a:pPr marL="259232" indent="-259232" defTabSz="414772">
              <a:buFont typeface="Arial" panose="020B0604020202020204" pitchFamily="34" charset="0"/>
              <a:buChar char="•"/>
            </a:pPr>
            <a:r>
              <a:rPr lang="et-EE" sz="1633" err="1">
                <a:solidFill>
                  <a:srgbClr val="000000"/>
                </a:solidFill>
                <a:latin typeface="Calibri" panose="020F0502020204030204"/>
              </a:rPr>
              <a:t>Elektrolüüserite</a:t>
            </a:r>
            <a:r>
              <a:rPr lang="et-EE" sz="1633">
                <a:solidFill>
                  <a:srgbClr val="000000"/>
                </a:solidFill>
                <a:latin typeface="Calibri" panose="020F0502020204030204"/>
              </a:rPr>
              <a:t> maht 700 – 800 MW</a:t>
            </a:r>
          </a:p>
        </p:txBody>
      </p:sp>
      <p:sp>
        <p:nvSpPr>
          <p:cNvPr id="31" name="Rectangle 30">
            <a:extLst>
              <a:ext uri="{FF2B5EF4-FFF2-40B4-BE49-F238E27FC236}">
                <a16:creationId xmlns:a16="http://schemas.microsoft.com/office/drawing/2014/main" id="{9DBECF4A-6D6E-83E1-7295-87480BCECB80}"/>
              </a:ext>
            </a:extLst>
          </p:cNvPr>
          <p:cNvSpPr/>
          <p:nvPr/>
        </p:nvSpPr>
        <p:spPr>
          <a:xfrm>
            <a:off x="7645835" y="2218744"/>
            <a:ext cx="3980430" cy="141965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59232" indent="-259232" defTabSz="414772">
              <a:buFont typeface="Arial" panose="020B0604020202020204" pitchFamily="34" charset="0"/>
              <a:buChar char="•"/>
            </a:pPr>
            <a:r>
              <a:rPr lang="et-EE" sz="1633">
                <a:solidFill>
                  <a:srgbClr val="000000"/>
                </a:solidFill>
                <a:latin typeface="Calibri" panose="020F0502020204030204"/>
              </a:rPr>
              <a:t>Google investeerinud 1,2 miljardit dollarit Soome andmekeskustesse</a:t>
            </a:r>
          </a:p>
          <a:p>
            <a:pPr marL="259232" indent="-259232" defTabSz="414772">
              <a:buFont typeface="Arial" panose="020B0604020202020204" pitchFamily="34" charset="0"/>
              <a:buChar char="•"/>
            </a:pPr>
            <a:r>
              <a:rPr lang="et-EE" sz="1633">
                <a:solidFill>
                  <a:srgbClr val="000000"/>
                </a:solidFill>
                <a:latin typeface="Calibri" panose="020F0502020204030204"/>
              </a:rPr>
              <a:t>6 andmekeskust Soomes</a:t>
            </a:r>
          </a:p>
          <a:p>
            <a:pPr marL="259232" indent="-259232" defTabSz="414772">
              <a:buFont typeface="Arial" panose="020B0604020202020204" pitchFamily="34" charset="0"/>
              <a:buChar char="•"/>
            </a:pPr>
            <a:r>
              <a:rPr lang="et-EE" sz="1633">
                <a:solidFill>
                  <a:srgbClr val="000000"/>
                </a:solidFill>
                <a:latin typeface="Calibri" panose="020F0502020204030204"/>
              </a:rPr>
              <a:t>Rootsis tarbivad andmekeskused aastas ca 3 </a:t>
            </a:r>
            <a:r>
              <a:rPr lang="et-EE" sz="1633" err="1">
                <a:solidFill>
                  <a:srgbClr val="000000"/>
                </a:solidFill>
                <a:latin typeface="Calibri" panose="020F0502020204030204"/>
              </a:rPr>
              <a:t>TWh</a:t>
            </a:r>
            <a:r>
              <a:rPr lang="et-EE" sz="1633">
                <a:solidFill>
                  <a:srgbClr val="000000"/>
                </a:solidFill>
                <a:latin typeface="Calibri" panose="020F0502020204030204"/>
              </a:rPr>
              <a:t> elektrit</a:t>
            </a:r>
          </a:p>
        </p:txBody>
      </p:sp>
      <p:sp>
        <p:nvSpPr>
          <p:cNvPr id="32" name="Rectangle 31">
            <a:extLst>
              <a:ext uri="{FF2B5EF4-FFF2-40B4-BE49-F238E27FC236}">
                <a16:creationId xmlns:a16="http://schemas.microsoft.com/office/drawing/2014/main" id="{233F11B7-F721-9EC3-9E23-0D087F111853}"/>
              </a:ext>
            </a:extLst>
          </p:cNvPr>
          <p:cNvSpPr/>
          <p:nvPr/>
        </p:nvSpPr>
        <p:spPr>
          <a:xfrm>
            <a:off x="3435780" y="4899306"/>
            <a:ext cx="3980430" cy="130569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59232" indent="-259232" defTabSz="414772">
              <a:buFont typeface="Arial" panose="020B0604020202020204" pitchFamily="34" charset="0"/>
              <a:buChar char="•"/>
            </a:pPr>
            <a:r>
              <a:rPr lang="en-US" sz="1600">
                <a:solidFill>
                  <a:srgbClr val="000000"/>
                </a:solidFill>
                <a:latin typeface="Calibri" panose="020F0502020204030204"/>
              </a:rPr>
              <a:t>2022. </a:t>
            </a:r>
            <a:r>
              <a:rPr lang="en-US" sz="1600" err="1">
                <a:solidFill>
                  <a:srgbClr val="000000"/>
                </a:solidFill>
                <a:latin typeface="Calibri" panose="020F0502020204030204"/>
              </a:rPr>
              <a:t>aastal</a:t>
            </a:r>
            <a:r>
              <a:rPr lang="en-US" sz="1600">
                <a:solidFill>
                  <a:srgbClr val="000000"/>
                </a:solidFill>
                <a:latin typeface="Calibri" panose="020F0502020204030204"/>
              </a:rPr>
              <a:t> </a:t>
            </a:r>
            <a:r>
              <a:rPr lang="en-US" sz="1600" err="1">
                <a:solidFill>
                  <a:srgbClr val="000000"/>
                </a:solidFill>
                <a:latin typeface="Calibri" panose="020F0502020204030204"/>
              </a:rPr>
              <a:t>avas</a:t>
            </a:r>
            <a:r>
              <a:rPr lang="en-US" sz="1600">
                <a:solidFill>
                  <a:srgbClr val="000000"/>
                </a:solidFill>
                <a:latin typeface="Calibri" panose="020F0502020204030204"/>
              </a:rPr>
              <a:t> Vestas </a:t>
            </a:r>
            <a:r>
              <a:rPr lang="en-US" sz="1600" err="1">
                <a:solidFill>
                  <a:srgbClr val="000000"/>
                </a:solidFill>
                <a:latin typeface="Calibri" panose="020F0502020204030204"/>
              </a:rPr>
              <a:t>Poolas</a:t>
            </a:r>
            <a:r>
              <a:rPr lang="en-US" sz="1600">
                <a:solidFill>
                  <a:srgbClr val="000000"/>
                </a:solidFill>
                <a:latin typeface="Calibri" panose="020F0502020204030204"/>
              </a:rPr>
              <a:t> </a:t>
            </a:r>
            <a:r>
              <a:rPr lang="en-US" sz="1600" err="1">
                <a:solidFill>
                  <a:srgbClr val="000000"/>
                </a:solidFill>
                <a:latin typeface="Calibri" panose="020F0502020204030204"/>
              </a:rPr>
              <a:t>tuulikute</a:t>
            </a:r>
            <a:r>
              <a:rPr lang="en-US" sz="1600">
                <a:solidFill>
                  <a:srgbClr val="000000"/>
                </a:solidFill>
                <a:latin typeface="Calibri" panose="020F0502020204030204"/>
              </a:rPr>
              <a:t> </a:t>
            </a:r>
            <a:r>
              <a:rPr lang="en-US" sz="1600" err="1">
                <a:solidFill>
                  <a:srgbClr val="000000"/>
                </a:solidFill>
                <a:latin typeface="Calibri" panose="020F0502020204030204"/>
              </a:rPr>
              <a:t>tehase</a:t>
            </a:r>
            <a:r>
              <a:rPr lang="en-US" sz="1600">
                <a:solidFill>
                  <a:srgbClr val="000000"/>
                </a:solidFill>
                <a:latin typeface="Calibri" panose="020F0502020204030204"/>
              </a:rPr>
              <a:t>, </a:t>
            </a:r>
            <a:r>
              <a:rPr lang="en-US" sz="1600" err="1">
                <a:solidFill>
                  <a:srgbClr val="000000"/>
                </a:solidFill>
                <a:latin typeface="Calibri" panose="020F0502020204030204"/>
              </a:rPr>
              <a:t>kus</a:t>
            </a:r>
            <a:r>
              <a:rPr lang="en-US" sz="1600">
                <a:solidFill>
                  <a:srgbClr val="000000"/>
                </a:solidFill>
                <a:latin typeface="Calibri" panose="020F0502020204030204"/>
              </a:rPr>
              <a:t> </a:t>
            </a:r>
            <a:r>
              <a:rPr lang="en-US" sz="1600" err="1">
                <a:solidFill>
                  <a:srgbClr val="000000"/>
                </a:solidFill>
                <a:latin typeface="Calibri" panose="020F0502020204030204"/>
              </a:rPr>
              <a:t>saab</a:t>
            </a:r>
            <a:r>
              <a:rPr lang="en-US" sz="1600">
                <a:solidFill>
                  <a:srgbClr val="000000"/>
                </a:solidFill>
                <a:latin typeface="Calibri" panose="020F0502020204030204"/>
              </a:rPr>
              <a:t> </a:t>
            </a:r>
            <a:r>
              <a:rPr lang="en-US" sz="1600" err="1">
                <a:solidFill>
                  <a:srgbClr val="000000"/>
                </a:solidFill>
                <a:latin typeface="Calibri" panose="020F0502020204030204"/>
              </a:rPr>
              <a:t>tööd</a:t>
            </a:r>
            <a:r>
              <a:rPr lang="en-US" sz="1600">
                <a:solidFill>
                  <a:srgbClr val="000000"/>
                </a:solidFill>
                <a:latin typeface="Calibri" panose="020F0502020204030204"/>
              </a:rPr>
              <a:t> 700 </a:t>
            </a:r>
            <a:r>
              <a:rPr lang="en-US" sz="1600" err="1">
                <a:solidFill>
                  <a:srgbClr val="000000"/>
                </a:solidFill>
                <a:latin typeface="Calibri" panose="020F0502020204030204"/>
              </a:rPr>
              <a:t>inimest</a:t>
            </a:r>
            <a:endParaRPr lang="en-US" sz="1600">
              <a:solidFill>
                <a:srgbClr val="000000"/>
              </a:solidFill>
              <a:latin typeface="Calibri" panose="020F0502020204030204"/>
            </a:endParaRPr>
          </a:p>
          <a:p>
            <a:pPr marL="259232" indent="-259232" defTabSz="414772">
              <a:buFont typeface="Arial" panose="020B0604020202020204" pitchFamily="34" charset="0"/>
              <a:buChar char="•"/>
            </a:pPr>
            <a:r>
              <a:rPr lang="en-US" sz="1600">
                <a:solidFill>
                  <a:srgbClr val="000000"/>
                </a:solidFill>
                <a:latin typeface="Calibri" panose="020F0502020204030204"/>
              </a:rPr>
              <a:t>Vestas on </a:t>
            </a:r>
            <a:r>
              <a:rPr lang="en-US" sz="1600" err="1">
                <a:solidFill>
                  <a:srgbClr val="000000"/>
                </a:solidFill>
                <a:latin typeface="Calibri" panose="020F0502020204030204"/>
              </a:rPr>
              <a:t>rajamas</a:t>
            </a:r>
            <a:r>
              <a:rPr lang="en-US" sz="1600">
                <a:solidFill>
                  <a:srgbClr val="000000"/>
                </a:solidFill>
                <a:latin typeface="Calibri" panose="020F0502020204030204"/>
              </a:rPr>
              <a:t> </a:t>
            </a:r>
            <a:r>
              <a:rPr lang="en-US" sz="1600" err="1">
                <a:solidFill>
                  <a:srgbClr val="000000"/>
                </a:solidFill>
                <a:latin typeface="Calibri" panose="020F0502020204030204"/>
              </a:rPr>
              <a:t>uut</a:t>
            </a:r>
            <a:r>
              <a:rPr lang="en-US" sz="1600">
                <a:solidFill>
                  <a:srgbClr val="000000"/>
                </a:solidFill>
                <a:latin typeface="Calibri" panose="020F0502020204030204"/>
              </a:rPr>
              <a:t> </a:t>
            </a:r>
            <a:r>
              <a:rPr lang="en-US" sz="1600" err="1">
                <a:solidFill>
                  <a:srgbClr val="000000"/>
                </a:solidFill>
                <a:latin typeface="Calibri" panose="020F0502020204030204"/>
              </a:rPr>
              <a:t>tehast</a:t>
            </a:r>
            <a:r>
              <a:rPr lang="en-US" sz="1600">
                <a:solidFill>
                  <a:srgbClr val="000000"/>
                </a:solidFill>
                <a:latin typeface="Calibri" panose="020F0502020204030204"/>
              </a:rPr>
              <a:t>, </a:t>
            </a:r>
            <a:r>
              <a:rPr lang="en-US" sz="1600" err="1">
                <a:solidFill>
                  <a:srgbClr val="000000"/>
                </a:solidFill>
                <a:latin typeface="Calibri" panose="020F0502020204030204"/>
              </a:rPr>
              <a:t>luues</a:t>
            </a:r>
            <a:r>
              <a:rPr lang="en-US" sz="1600">
                <a:solidFill>
                  <a:srgbClr val="000000"/>
                </a:solidFill>
                <a:latin typeface="Calibri" panose="020F0502020204030204"/>
              </a:rPr>
              <a:t> </a:t>
            </a:r>
            <a:r>
              <a:rPr lang="en-US" sz="1600" err="1">
                <a:solidFill>
                  <a:srgbClr val="000000"/>
                </a:solidFill>
                <a:latin typeface="Calibri" panose="020F0502020204030204"/>
              </a:rPr>
              <a:t>täidendavalt</a:t>
            </a:r>
            <a:r>
              <a:rPr lang="en-US" sz="1600">
                <a:solidFill>
                  <a:srgbClr val="000000"/>
                </a:solidFill>
                <a:latin typeface="Calibri" panose="020F0502020204030204"/>
              </a:rPr>
              <a:t> 1000 </a:t>
            </a:r>
            <a:r>
              <a:rPr lang="en-US" sz="1600" err="1">
                <a:solidFill>
                  <a:srgbClr val="000000"/>
                </a:solidFill>
                <a:latin typeface="Calibri" panose="020F0502020204030204"/>
              </a:rPr>
              <a:t>töökohta</a:t>
            </a:r>
            <a:endParaRPr lang="et-EE" sz="1600">
              <a:solidFill>
                <a:srgbClr val="000000"/>
              </a:solidFill>
              <a:latin typeface="Calibri" panose="020F0502020204030204"/>
            </a:endParaRPr>
          </a:p>
        </p:txBody>
      </p:sp>
      <p:sp>
        <p:nvSpPr>
          <p:cNvPr id="33" name="Rectangle 32">
            <a:extLst>
              <a:ext uri="{FF2B5EF4-FFF2-40B4-BE49-F238E27FC236}">
                <a16:creationId xmlns:a16="http://schemas.microsoft.com/office/drawing/2014/main" id="{3A7A8288-C651-1BD5-24A1-739862AC11C8}"/>
              </a:ext>
            </a:extLst>
          </p:cNvPr>
          <p:cNvSpPr/>
          <p:nvPr/>
        </p:nvSpPr>
        <p:spPr>
          <a:xfrm>
            <a:off x="7645835" y="4785345"/>
            <a:ext cx="3980430" cy="141965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59232" indent="-259232" defTabSz="414772">
              <a:buFont typeface="Arial" panose="020B0604020202020204" pitchFamily="34" charset="0"/>
              <a:buChar char="•"/>
            </a:pPr>
            <a:r>
              <a:rPr lang="et-EE" sz="1633">
                <a:solidFill>
                  <a:srgbClr val="000000"/>
                </a:solidFill>
                <a:latin typeface="Calibri" panose="020F0502020204030204"/>
              </a:rPr>
              <a:t>1 000 uut töökohta kolmes tehases</a:t>
            </a:r>
          </a:p>
          <a:p>
            <a:pPr marL="259232" indent="-259232" defTabSz="414772">
              <a:buFont typeface="Arial" panose="020B0604020202020204" pitchFamily="34" charset="0"/>
              <a:buChar char="•"/>
            </a:pPr>
            <a:r>
              <a:rPr lang="et-EE" sz="1633">
                <a:solidFill>
                  <a:srgbClr val="000000"/>
                </a:solidFill>
                <a:latin typeface="Calibri" panose="020F0502020204030204"/>
              </a:rPr>
              <a:t>Elektrolüüserite maht kokku 2,2 GW</a:t>
            </a:r>
          </a:p>
          <a:p>
            <a:pPr marL="259232" indent="-259232" defTabSz="414772">
              <a:buFont typeface="Arial" panose="020B0604020202020204" pitchFamily="34" charset="0"/>
              <a:buChar char="•"/>
            </a:pPr>
            <a:r>
              <a:rPr lang="et-EE" sz="1633">
                <a:solidFill>
                  <a:srgbClr val="000000"/>
                </a:solidFill>
                <a:latin typeface="Calibri" panose="020F0502020204030204"/>
              </a:rPr>
              <a:t>Rohevesinik ning lämmastik kohalikele ettevõtetele ning ekspordiks</a:t>
            </a:r>
          </a:p>
          <a:p>
            <a:pPr marL="259232" indent="-259232" defTabSz="414772">
              <a:buFont typeface="Arial" panose="020B0604020202020204" pitchFamily="34" charset="0"/>
              <a:buChar char="•"/>
            </a:pPr>
            <a:endParaRPr lang="et-EE" sz="1633">
              <a:solidFill>
                <a:srgbClr val="000000"/>
              </a:solidFill>
              <a:latin typeface="Calibri" panose="020F0502020204030204"/>
            </a:endParaRPr>
          </a:p>
        </p:txBody>
      </p:sp>
      <p:sp>
        <p:nvSpPr>
          <p:cNvPr id="34" name="Text Placeholder 5">
            <a:extLst>
              <a:ext uri="{FF2B5EF4-FFF2-40B4-BE49-F238E27FC236}">
                <a16:creationId xmlns:a16="http://schemas.microsoft.com/office/drawing/2014/main" id="{4E793941-DCE7-8353-CC64-EF9AFF537F04}"/>
              </a:ext>
            </a:extLst>
          </p:cNvPr>
          <p:cNvSpPr txBox="1">
            <a:spLocks/>
          </p:cNvSpPr>
          <p:nvPr/>
        </p:nvSpPr>
        <p:spPr>
          <a:xfrm>
            <a:off x="3445843" y="6004282"/>
            <a:ext cx="8180422" cy="701682"/>
          </a:xfrm>
          <a:prstGeom prst="rect">
            <a:avLst/>
          </a:prstGeom>
        </p:spPr>
        <p:txBody>
          <a:bodyPr vert="horz" lIns="81644" tIns="41475" rIns="82951" bIns="41475" rtlCol="0">
            <a:noAutofit/>
          </a:bodyPr>
          <a:lstStyle>
            <a:lvl1pPr marL="0" indent="0" algn="l" defTabSz="964693" rtl="0" eaLnBrk="1" latinLnBrk="0" hangingPunct="1">
              <a:lnSpc>
                <a:spcPct val="100000"/>
              </a:lnSpc>
              <a:spcBef>
                <a:spcPts val="600"/>
              </a:spcBef>
              <a:spcAft>
                <a:spcPts val="0"/>
              </a:spcAft>
              <a:buFontTx/>
              <a:buNone/>
              <a:tabLst/>
              <a:defRPr sz="1400" b="1" kern="1200">
                <a:solidFill>
                  <a:schemeClr val="tx1"/>
                </a:solidFill>
                <a:latin typeface="+mn-lt"/>
                <a:ea typeface="+mn-ea"/>
                <a:cs typeface="+mn-cs"/>
              </a:defRPr>
            </a:lvl1pPr>
            <a:lvl2pPr marL="268258" indent="-134922" algn="l" defTabSz="964693" rtl="0" eaLnBrk="1" latinLnBrk="0" hangingPunct="1">
              <a:lnSpc>
                <a:spcPct val="100000"/>
              </a:lnSpc>
              <a:spcBef>
                <a:spcPts val="600"/>
              </a:spcBef>
              <a:buFont typeface="System Font Regular"/>
              <a:buChar char="-"/>
              <a:tabLst/>
              <a:defRPr sz="1200" kern="1200">
                <a:solidFill>
                  <a:schemeClr val="tx1"/>
                </a:solidFill>
                <a:latin typeface="+mn-lt"/>
                <a:ea typeface="+mn-ea"/>
                <a:cs typeface="+mn-cs"/>
              </a:defRPr>
            </a:lvl2pPr>
            <a:lvl3pPr marL="403154" indent="-136785" algn="l" defTabSz="964693" rtl="0" eaLnBrk="1" latinLnBrk="0" hangingPunct="1">
              <a:lnSpc>
                <a:spcPct val="100000"/>
              </a:lnSpc>
              <a:spcBef>
                <a:spcPts val="600"/>
              </a:spcBef>
              <a:buFont typeface="System Font Regular"/>
              <a:buChar char="-"/>
              <a:tabLst/>
              <a:defRPr sz="1100" kern="1200">
                <a:solidFill>
                  <a:schemeClr val="tx1"/>
                </a:solidFill>
                <a:latin typeface="+mn-lt"/>
                <a:ea typeface="+mn-ea"/>
                <a:cs typeface="+mn-cs"/>
              </a:defRPr>
            </a:lvl3pPr>
            <a:lvl4pPr marL="1155592" indent="-253975" algn="l" defTabSz="964693" rtl="0" eaLnBrk="1" latinLnBrk="0" hangingPunct="1">
              <a:lnSpc>
                <a:spcPct val="90000"/>
              </a:lnSpc>
              <a:spcBef>
                <a:spcPts val="528"/>
              </a:spcBef>
              <a:buFont typeface="System Font Regular"/>
              <a:buChar char="-"/>
              <a:tabLst/>
              <a:defRPr sz="1101" kern="1200">
                <a:solidFill>
                  <a:schemeClr val="tx1"/>
                </a:solidFill>
                <a:latin typeface="+mn-lt"/>
                <a:ea typeface="+mn-ea"/>
                <a:cs typeface="+mn-cs"/>
              </a:defRPr>
            </a:lvl4pPr>
            <a:lvl5pPr marL="1466712" indent="-253975" algn="l" defTabSz="964693" rtl="0" eaLnBrk="1" latinLnBrk="0" hangingPunct="1">
              <a:lnSpc>
                <a:spcPct val="90000"/>
              </a:lnSpc>
              <a:spcBef>
                <a:spcPts val="528"/>
              </a:spcBef>
              <a:buFont typeface="System Font Regular"/>
              <a:buChar char="-"/>
              <a:tabLst/>
              <a:defRPr sz="1050" kern="1200">
                <a:solidFill>
                  <a:schemeClr val="tx1"/>
                </a:solidFill>
                <a:latin typeface="+mn-lt"/>
                <a:ea typeface="+mn-ea"/>
                <a:cs typeface="+mn-cs"/>
              </a:defRPr>
            </a:lvl5pPr>
            <a:lvl6pPr marL="2652905"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6pPr>
            <a:lvl7pPr marL="3135252"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7pPr>
            <a:lvl8pPr marL="3617598"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8pPr>
            <a:lvl9pPr marL="4099945"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9pPr>
          </a:lstStyle>
          <a:p>
            <a:pPr defTabSz="875169">
              <a:spcBef>
                <a:spcPts val="0"/>
              </a:spcBef>
            </a:pPr>
            <a:r>
              <a:rPr lang="et-EE" sz="726" b="0" i="1">
                <a:solidFill>
                  <a:srgbClr val="000000"/>
                </a:solidFill>
                <a:latin typeface="Calibri" panose="020F0502020204030204"/>
              </a:rPr>
              <a:t>Allikad: </a:t>
            </a:r>
          </a:p>
          <a:p>
            <a:pPr defTabSz="875169">
              <a:spcBef>
                <a:spcPts val="0"/>
              </a:spcBef>
            </a:pPr>
            <a:r>
              <a:rPr lang="et-EE" sz="726" b="0" i="1">
                <a:solidFill>
                  <a:srgbClr val="000000"/>
                </a:solidFill>
                <a:latin typeface="Calibri" panose="020F0502020204030204"/>
              </a:rPr>
              <a:t>Eesti – https://energiatalgud.ee/sites/default/files/2024-05/Memo%20elektrihinnast_FIN.pdf</a:t>
            </a:r>
            <a:endParaRPr lang="en-US" sz="726" b="0" i="1">
              <a:solidFill>
                <a:srgbClr val="000000"/>
              </a:solidFill>
              <a:latin typeface="Calibri" panose="020F0502020204030204"/>
            </a:endParaRPr>
          </a:p>
          <a:p>
            <a:pPr defTabSz="875169">
              <a:spcBef>
                <a:spcPts val="0"/>
              </a:spcBef>
            </a:pPr>
            <a:r>
              <a:rPr lang="et-EE" sz="726" b="0" i="1">
                <a:solidFill>
                  <a:srgbClr val="000000"/>
                </a:solidFill>
                <a:latin typeface="Calibri" panose="020F0502020204030204"/>
              </a:rPr>
              <a:t>Soome – https://www.fingrid.fi/globalassets/dokumentit/en/news/electricity-market/2023/fingrid_electricity_system_vision_2023.pdf</a:t>
            </a:r>
          </a:p>
          <a:p>
            <a:pPr defTabSz="875169">
              <a:spcBef>
                <a:spcPts val="0"/>
              </a:spcBef>
            </a:pPr>
            <a:r>
              <a:rPr lang="et-EE" sz="726" b="0" i="1">
                <a:solidFill>
                  <a:srgbClr val="000000"/>
                </a:solidFill>
                <a:latin typeface="Calibri" panose="020F0502020204030204"/>
              </a:rPr>
              <a:t>Rootsi – https://energimyndigheten.a-w2m.se/Home.mvc?ResourceId=213739</a:t>
            </a:r>
          </a:p>
          <a:p>
            <a:pPr defTabSz="875169">
              <a:spcBef>
                <a:spcPts val="0"/>
              </a:spcBef>
            </a:pPr>
            <a:r>
              <a:rPr lang="et-EE" sz="726" b="0" i="1">
                <a:solidFill>
                  <a:srgbClr val="000000"/>
                </a:solidFill>
                <a:latin typeface="Calibri" panose="020F0502020204030204"/>
              </a:rPr>
              <a:t>Norra –  https://www.statnett.no/globalassets/om-statnett/investor-relations/annual-reports/annual-and-sustainability-report-2022.pdf</a:t>
            </a:r>
            <a:endParaRPr lang="en-US" sz="726" b="0" i="1">
              <a:solidFill>
                <a:srgbClr val="000000"/>
              </a:solidFill>
              <a:latin typeface="Calibri" panose="020F0502020204030204"/>
            </a:endParaRPr>
          </a:p>
          <a:p>
            <a:pPr defTabSz="875169">
              <a:spcBef>
                <a:spcPts val="0"/>
              </a:spcBef>
            </a:pPr>
            <a:r>
              <a:rPr lang="en-US" sz="726" b="0" i="1" err="1">
                <a:solidFill>
                  <a:srgbClr val="000000"/>
                </a:solidFill>
                <a:latin typeface="Calibri" panose="020F0502020204030204"/>
              </a:rPr>
              <a:t>Leedu</a:t>
            </a:r>
            <a:r>
              <a:rPr lang="en-US" sz="726" b="0" i="1">
                <a:solidFill>
                  <a:srgbClr val="000000"/>
                </a:solidFill>
                <a:latin typeface="Calibri" panose="020F0502020204030204"/>
              </a:rPr>
              <a:t> – https://www.litgrid.eu/index.php/news-events-/news/31948</a:t>
            </a:r>
            <a:endParaRPr lang="et-EE" sz="726" b="0" i="1">
              <a:solidFill>
                <a:srgbClr val="000000"/>
              </a:solidFill>
              <a:latin typeface="Calibri" panose="020F0502020204030204"/>
            </a:endParaRPr>
          </a:p>
          <a:p>
            <a:pPr defTabSz="875169">
              <a:spcBef>
                <a:spcPts val="0"/>
              </a:spcBef>
            </a:pPr>
            <a:r>
              <a:rPr lang="et-EE" sz="726" b="0" i="1">
                <a:solidFill>
                  <a:srgbClr val="000000"/>
                </a:solidFill>
                <a:latin typeface="Calibri" panose="020F0502020204030204"/>
              </a:rPr>
              <a:t>  </a:t>
            </a:r>
          </a:p>
        </p:txBody>
      </p:sp>
      <p:sp>
        <p:nvSpPr>
          <p:cNvPr id="35" name="Content Placeholder 4">
            <a:extLst>
              <a:ext uri="{FF2B5EF4-FFF2-40B4-BE49-F238E27FC236}">
                <a16:creationId xmlns:a16="http://schemas.microsoft.com/office/drawing/2014/main" id="{CFAB32BD-8541-D1AC-1C5D-4C22C8524E27}"/>
              </a:ext>
            </a:extLst>
          </p:cNvPr>
          <p:cNvSpPr txBox="1">
            <a:spLocks/>
          </p:cNvSpPr>
          <p:nvPr/>
        </p:nvSpPr>
        <p:spPr>
          <a:xfrm>
            <a:off x="273656" y="926554"/>
            <a:ext cx="3097787" cy="512581"/>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760" indent="0">
              <a:buFont typeface="Arial" panose="020B0604020202020204" pitchFamily="34" charset="0"/>
              <a:buNone/>
            </a:pPr>
            <a:r>
              <a:rPr lang="et-EE" sz="1633" b="1"/>
              <a:t>Süsteemioperaatorite prognoosid</a:t>
            </a:r>
          </a:p>
        </p:txBody>
      </p:sp>
      <p:sp>
        <p:nvSpPr>
          <p:cNvPr id="36" name="Content Placeholder 4">
            <a:extLst>
              <a:ext uri="{FF2B5EF4-FFF2-40B4-BE49-F238E27FC236}">
                <a16:creationId xmlns:a16="http://schemas.microsoft.com/office/drawing/2014/main" id="{DD0C9C42-02BE-6DAE-86DD-CC81971A62EC}"/>
              </a:ext>
            </a:extLst>
          </p:cNvPr>
          <p:cNvSpPr txBox="1">
            <a:spLocks/>
          </p:cNvSpPr>
          <p:nvPr/>
        </p:nvSpPr>
        <p:spPr>
          <a:xfrm>
            <a:off x="1256160" y="5362096"/>
            <a:ext cx="1195489" cy="469832"/>
          </a:xfrm>
          <a:prstGeom prst="rect">
            <a:avLst/>
          </a:prstGeom>
        </p:spPr>
        <p:txBody>
          <a:bodyPr vert="horz" lIns="81644" tIns="41475" rIns="82951" bIns="41475" rtlCol="0">
            <a:normAutofit/>
          </a:bodyPr>
          <a:lstStyle>
            <a:lvl1pPr marL="133335" indent="-126986" algn="l" defTabSz="964693" rtl="0" eaLnBrk="1" latinLnBrk="0" hangingPunct="1">
              <a:lnSpc>
                <a:spcPct val="100000"/>
              </a:lnSpc>
              <a:spcBef>
                <a:spcPts val="600"/>
              </a:spcBef>
              <a:spcAft>
                <a:spcPts val="0"/>
              </a:spcAft>
              <a:buFont typeface="Arial" panose="020B0604020202020204" pitchFamily="34" charset="0"/>
              <a:buChar char="•"/>
              <a:tabLst/>
              <a:defRPr sz="1400" kern="1200">
                <a:solidFill>
                  <a:schemeClr val="tx1"/>
                </a:solidFill>
                <a:latin typeface="+mn-lt"/>
                <a:ea typeface="+mn-ea"/>
                <a:cs typeface="+mn-cs"/>
              </a:defRPr>
            </a:lvl1pPr>
            <a:lvl2pPr marL="268258" indent="-134922" algn="l" defTabSz="964693" rtl="0" eaLnBrk="1" latinLnBrk="0" hangingPunct="1">
              <a:lnSpc>
                <a:spcPct val="100000"/>
              </a:lnSpc>
              <a:spcBef>
                <a:spcPts val="600"/>
              </a:spcBef>
              <a:buFont typeface="System Font Regular"/>
              <a:buChar char="-"/>
              <a:tabLst/>
              <a:defRPr sz="1200" kern="1200">
                <a:solidFill>
                  <a:schemeClr val="tx1"/>
                </a:solidFill>
                <a:latin typeface="+mn-lt"/>
                <a:ea typeface="+mn-ea"/>
                <a:cs typeface="+mn-cs"/>
              </a:defRPr>
            </a:lvl2pPr>
            <a:lvl3pPr marL="403179" indent="-134922" algn="l" defTabSz="964693" rtl="0" eaLnBrk="1" latinLnBrk="0" hangingPunct="1">
              <a:lnSpc>
                <a:spcPct val="100000"/>
              </a:lnSpc>
              <a:spcBef>
                <a:spcPts val="600"/>
              </a:spcBef>
              <a:buFont typeface="System Font Regular"/>
              <a:buChar char="-"/>
              <a:tabLst/>
              <a:defRPr sz="1100" kern="1200">
                <a:solidFill>
                  <a:schemeClr val="tx1"/>
                </a:solidFill>
                <a:latin typeface="+mn-lt"/>
                <a:ea typeface="+mn-ea"/>
                <a:cs typeface="+mn-cs"/>
              </a:defRPr>
            </a:lvl3pPr>
            <a:lvl4pPr marL="1155592" indent="-253975" algn="l" defTabSz="964693" rtl="0" eaLnBrk="1" latinLnBrk="0" hangingPunct="1">
              <a:lnSpc>
                <a:spcPct val="90000"/>
              </a:lnSpc>
              <a:spcBef>
                <a:spcPts val="528"/>
              </a:spcBef>
              <a:buFont typeface="System Font Regular"/>
              <a:buChar char="-"/>
              <a:tabLst/>
              <a:defRPr sz="1101" kern="1200">
                <a:solidFill>
                  <a:schemeClr val="tx1"/>
                </a:solidFill>
                <a:latin typeface="+mn-lt"/>
                <a:ea typeface="+mn-ea"/>
                <a:cs typeface="+mn-cs"/>
              </a:defRPr>
            </a:lvl4pPr>
            <a:lvl5pPr marL="1466712" indent="-253975" algn="l" defTabSz="964693" rtl="0" eaLnBrk="1" latinLnBrk="0" hangingPunct="1">
              <a:lnSpc>
                <a:spcPct val="90000"/>
              </a:lnSpc>
              <a:spcBef>
                <a:spcPts val="528"/>
              </a:spcBef>
              <a:buFont typeface="System Font Regular"/>
              <a:buChar char="-"/>
              <a:tabLst/>
              <a:defRPr sz="1050" kern="1200">
                <a:solidFill>
                  <a:schemeClr val="tx1"/>
                </a:solidFill>
                <a:latin typeface="+mn-lt"/>
                <a:ea typeface="+mn-ea"/>
                <a:cs typeface="+mn-cs"/>
              </a:defRPr>
            </a:lvl5pPr>
            <a:lvl6pPr marL="2652905"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6pPr>
            <a:lvl7pPr marL="3135252"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7pPr>
            <a:lvl8pPr marL="3617598"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8pPr>
            <a:lvl9pPr marL="4099945" indent="-241173" algn="l" defTabSz="964693" rtl="0" eaLnBrk="1" latinLnBrk="0" hangingPunct="1">
              <a:lnSpc>
                <a:spcPct val="90000"/>
              </a:lnSpc>
              <a:spcBef>
                <a:spcPts val="528"/>
              </a:spcBef>
              <a:buFont typeface="Arial" panose="020B0604020202020204" pitchFamily="34" charset="0"/>
              <a:buChar char="•"/>
              <a:defRPr sz="1899" kern="1200">
                <a:solidFill>
                  <a:schemeClr val="tx1"/>
                </a:solidFill>
                <a:latin typeface="+mn-lt"/>
                <a:ea typeface="+mn-ea"/>
                <a:cs typeface="+mn-cs"/>
              </a:defRPr>
            </a:lvl9pPr>
          </a:lstStyle>
          <a:p>
            <a:pPr marL="5760" indent="0" defTabSz="875169">
              <a:spcBef>
                <a:spcPts val="544"/>
              </a:spcBef>
              <a:buNone/>
            </a:pPr>
            <a:r>
              <a:rPr lang="en-US" sz="2177" b="1">
                <a:solidFill>
                  <a:srgbClr val="000000"/>
                </a:solidFill>
                <a:latin typeface="Calibri" panose="020F0502020204030204"/>
              </a:rPr>
              <a:t>LEEDU</a:t>
            </a:r>
          </a:p>
        </p:txBody>
      </p:sp>
      <p:sp>
        <p:nvSpPr>
          <p:cNvPr id="37" name="Rectangle 36">
            <a:extLst>
              <a:ext uri="{FF2B5EF4-FFF2-40B4-BE49-F238E27FC236}">
                <a16:creationId xmlns:a16="http://schemas.microsoft.com/office/drawing/2014/main" id="{1C6AC9E2-0A88-2EB4-FCF2-516EFB84A4E4}"/>
              </a:ext>
            </a:extLst>
          </p:cNvPr>
          <p:cNvSpPr/>
          <p:nvPr/>
        </p:nvSpPr>
        <p:spPr>
          <a:xfrm>
            <a:off x="447331" y="5690348"/>
            <a:ext cx="2077029" cy="6531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414772"/>
            <a:r>
              <a:rPr lang="et-EE" sz="1814" b="1">
                <a:solidFill>
                  <a:srgbClr val="000000"/>
                </a:solidFill>
                <a:latin typeface="Calibri" panose="020F0502020204030204"/>
              </a:rPr>
              <a:t>Täna:</a:t>
            </a:r>
            <a:r>
              <a:rPr lang="et-EE" sz="1814">
                <a:solidFill>
                  <a:srgbClr val="000000"/>
                </a:solidFill>
                <a:latin typeface="Calibri" panose="020F0502020204030204"/>
              </a:rPr>
              <a:t>	1</a:t>
            </a:r>
            <a:r>
              <a:rPr lang="en-US" sz="1814">
                <a:solidFill>
                  <a:srgbClr val="000000"/>
                </a:solidFill>
                <a:latin typeface="Calibri" panose="020F0502020204030204"/>
              </a:rPr>
              <a:t>2,8</a:t>
            </a:r>
            <a:r>
              <a:rPr lang="et-EE" sz="1814">
                <a:solidFill>
                  <a:srgbClr val="000000"/>
                </a:solidFill>
                <a:latin typeface="Calibri" panose="020F0502020204030204"/>
              </a:rPr>
              <a:t> TWh</a:t>
            </a:r>
          </a:p>
          <a:p>
            <a:pPr defTabSz="414772"/>
            <a:r>
              <a:rPr lang="et-EE" sz="1814" b="1">
                <a:solidFill>
                  <a:srgbClr val="000000"/>
                </a:solidFill>
                <a:latin typeface="Calibri" panose="020F0502020204030204"/>
              </a:rPr>
              <a:t>2030:</a:t>
            </a:r>
            <a:r>
              <a:rPr lang="et-EE" sz="1814">
                <a:solidFill>
                  <a:srgbClr val="000000"/>
                </a:solidFill>
                <a:latin typeface="Calibri" panose="020F0502020204030204"/>
              </a:rPr>
              <a:t>	1</a:t>
            </a:r>
            <a:r>
              <a:rPr lang="en-US" sz="1814">
                <a:solidFill>
                  <a:srgbClr val="000000"/>
                </a:solidFill>
                <a:latin typeface="Calibri" panose="020F0502020204030204"/>
              </a:rPr>
              <a:t>8,7</a:t>
            </a:r>
            <a:r>
              <a:rPr lang="et-EE" sz="1814">
                <a:solidFill>
                  <a:srgbClr val="000000"/>
                </a:solidFill>
                <a:latin typeface="Calibri" panose="020F0502020204030204"/>
              </a:rPr>
              <a:t> TWh</a:t>
            </a:r>
          </a:p>
        </p:txBody>
      </p:sp>
      <p:pic>
        <p:nvPicPr>
          <p:cNvPr id="38" name="Picture 37" descr="A yellow green and red flag&#10;&#10;Description automatically generated with low confidence">
            <a:extLst>
              <a:ext uri="{FF2B5EF4-FFF2-40B4-BE49-F238E27FC236}">
                <a16:creationId xmlns:a16="http://schemas.microsoft.com/office/drawing/2014/main" id="{FA684AFB-A0D9-1C87-C1AC-897BA0EDA850}"/>
              </a:ext>
            </a:extLst>
          </p:cNvPr>
          <p:cNvPicPr>
            <a:picLocks noChangeAspect="1"/>
          </p:cNvPicPr>
          <p:nvPr/>
        </p:nvPicPr>
        <p:blipFill>
          <a:blip r:embed="rId12"/>
          <a:stretch>
            <a:fillRect/>
          </a:stretch>
        </p:blipFill>
        <p:spPr>
          <a:xfrm>
            <a:off x="510841" y="5466381"/>
            <a:ext cx="435058" cy="261262"/>
          </a:xfrm>
          <a:prstGeom prst="rect">
            <a:avLst/>
          </a:prstGeom>
        </p:spPr>
      </p:pic>
      <p:pic>
        <p:nvPicPr>
          <p:cNvPr id="12" name="Pilt 11">
            <a:extLst>
              <a:ext uri="{FF2B5EF4-FFF2-40B4-BE49-F238E27FC236}">
                <a16:creationId xmlns:a16="http://schemas.microsoft.com/office/drawing/2014/main" id="{FEC618F1-DF8F-2D6B-BFF4-D2597152A70F}"/>
              </a:ext>
            </a:extLst>
          </p:cNvPr>
          <p:cNvPicPr>
            <a:picLocks noChangeAspect="1"/>
          </p:cNvPicPr>
          <p:nvPr/>
        </p:nvPicPr>
        <p:blipFill>
          <a:blip r:embed="rId13"/>
          <a:srcRect t="7100" b="41130"/>
          <a:stretch/>
        </p:blipFill>
        <p:spPr>
          <a:xfrm>
            <a:off x="4349693" y="4212614"/>
            <a:ext cx="2914606" cy="438196"/>
          </a:xfrm>
          <a:prstGeom prst="rect">
            <a:avLst/>
          </a:prstGeom>
        </p:spPr>
      </p:pic>
      <p:pic>
        <p:nvPicPr>
          <p:cNvPr id="17" name="Picture 12">
            <a:extLst>
              <a:ext uri="{FF2B5EF4-FFF2-40B4-BE49-F238E27FC236}">
                <a16:creationId xmlns:a16="http://schemas.microsoft.com/office/drawing/2014/main" id="{CCAC6FF8-D93C-8BFB-E4EA-1B4230C11D30}"/>
              </a:ext>
            </a:extLst>
          </p:cNvPr>
          <p:cNvPicPr>
            <a:picLocks noChangeAspect="1"/>
          </p:cNvPicPr>
          <p:nvPr/>
        </p:nvPicPr>
        <p:blipFill>
          <a:blip r:embed="rId7"/>
          <a:stretch>
            <a:fillRect/>
          </a:stretch>
        </p:blipFill>
        <p:spPr>
          <a:xfrm>
            <a:off x="3588834" y="4360128"/>
            <a:ext cx="670906" cy="162219"/>
          </a:xfrm>
          <a:prstGeom prst="rect">
            <a:avLst/>
          </a:prstGeom>
        </p:spPr>
      </p:pic>
    </p:spTree>
    <p:extLst>
      <p:ext uri="{BB962C8B-B14F-4D97-AF65-F5344CB8AC3E}">
        <p14:creationId xmlns:p14="http://schemas.microsoft.com/office/powerpoint/2010/main" val="23729740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6A85B2-3DD2-7630-5A9C-16BF6D91B17E}"/>
            </a:ext>
          </a:extLst>
        </p:cNvPr>
        <p:cNvGrpSpPr/>
        <p:nvPr/>
      </p:nvGrpSpPr>
      <p:grpSpPr>
        <a:xfrm>
          <a:off x="0" y="0"/>
          <a:ext cx="0" cy="0"/>
          <a:chOff x="0" y="0"/>
          <a:chExt cx="0" cy="0"/>
        </a:xfrm>
      </p:grpSpPr>
      <p:pic>
        <p:nvPicPr>
          <p:cNvPr id="2" name="Pilt 1">
            <a:extLst>
              <a:ext uri="{FF2B5EF4-FFF2-40B4-BE49-F238E27FC236}">
                <a16:creationId xmlns:a16="http://schemas.microsoft.com/office/drawing/2014/main" id="{226609C5-A0A2-8995-95BD-80AF6C404A39}"/>
              </a:ext>
            </a:extLst>
          </p:cNvPr>
          <p:cNvPicPr>
            <a:picLocks noChangeAspect="1"/>
          </p:cNvPicPr>
          <p:nvPr/>
        </p:nvPicPr>
        <p:blipFill>
          <a:blip r:embed="rId2"/>
          <a:stretch>
            <a:fillRect/>
          </a:stretch>
        </p:blipFill>
        <p:spPr>
          <a:xfrm>
            <a:off x="9877049" y="268560"/>
            <a:ext cx="1972014" cy="744983"/>
          </a:xfrm>
          <a:prstGeom prst="rect">
            <a:avLst/>
          </a:prstGeom>
        </p:spPr>
      </p:pic>
      <p:sp>
        <p:nvSpPr>
          <p:cNvPr id="71" name="Title 1">
            <a:extLst>
              <a:ext uri="{FF2B5EF4-FFF2-40B4-BE49-F238E27FC236}">
                <a16:creationId xmlns:a16="http://schemas.microsoft.com/office/drawing/2014/main" id="{9B7938F7-7E6F-04C1-1177-336BCD763096}"/>
              </a:ext>
            </a:extLst>
          </p:cNvPr>
          <p:cNvSpPr txBox="1">
            <a:spLocks/>
          </p:cNvSpPr>
          <p:nvPr/>
        </p:nvSpPr>
        <p:spPr>
          <a:xfrm>
            <a:off x="385776" y="296425"/>
            <a:ext cx="11424455" cy="573255"/>
          </a:xfrm>
          <a:prstGeom prst="rect">
            <a:avLst/>
          </a:prstGeom>
        </p:spPr>
        <p:txBody>
          <a:bodyPr vert="horz" lIns="91440" tIns="45720" rIns="91440" bIns="0" rtlCol="0" anchor="b">
            <a:noAutofit/>
          </a:bodyPr>
          <a:lstStyle>
            <a:lvl1pPr algn="l" defTabSz="875169" rtl="0" eaLnBrk="1" latinLnBrk="0" hangingPunct="1">
              <a:lnSpc>
                <a:spcPct val="90000"/>
              </a:lnSpc>
              <a:spcBef>
                <a:spcPct val="0"/>
              </a:spcBef>
              <a:buNone/>
              <a:defRPr sz="3629" b="1" kern="1200">
                <a:solidFill>
                  <a:schemeClr val="tx2"/>
                </a:solidFill>
                <a:latin typeface="+mn-lt"/>
                <a:ea typeface="+mj-ea"/>
                <a:cs typeface="+mj-cs"/>
              </a:defRPr>
            </a:lvl1pPr>
          </a:lstStyle>
          <a:p>
            <a:pPr marL="0" marR="0" lvl="0" indent="0" algn="l" defTabSz="875169"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err="1">
                <a:ln>
                  <a:noFill/>
                </a:ln>
                <a:solidFill>
                  <a:schemeClr val="tx1"/>
                </a:solidFill>
                <a:effectLst/>
                <a:uLnTx/>
                <a:uFillTx/>
                <a:latin typeface="+mj-lt"/>
                <a:ea typeface="+mj-ea"/>
                <a:cs typeface="+mj-cs"/>
              </a:rPr>
              <a:t>Investeeringuriskide</a:t>
            </a:r>
            <a:r>
              <a:rPr kumimoji="0" lang="en-US" sz="3600" b="0" i="0" u="none" strike="noStrike" kern="1200" cap="none" spc="0" normalizeH="0" baseline="0" noProof="0">
                <a:ln>
                  <a:noFill/>
                </a:ln>
                <a:solidFill>
                  <a:schemeClr val="tx1"/>
                </a:solidFill>
                <a:effectLst/>
                <a:uLnTx/>
                <a:uFillTx/>
                <a:latin typeface="+mj-lt"/>
                <a:ea typeface="+mj-ea"/>
                <a:cs typeface="+mj-cs"/>
              </a:rPr>
              <a:t> </a:t>
            </a:r>
            <a:r>
              <a:rPr kumimoji="0" lang="en-US" sz="3600" b="0" i="0" u="none" strike="noStrike" kern="1200" cap="none" spc="0" normalizeH="0" baseline="0" noProof="0" err="1">
                <a:ln>
                  <a:noFill/>
                </a:ln>
                <a:solidFill>
                  <a:schemeClr val="tx1"/>
                </a:solidFill>
                <a:effectLst/>
                <a:uLnTx/>
                <a:uFillTx/>
                <a:latin typeface="+mj-lt"/>
                <a:ea typeface="+mj-ea"/>
                <a:cs typeface="+mj-cs"/>
              </a:rPr>
              <a:t>maandamise</a:t>
            </a:r>
            <a:r>
              <a:rPr kumimoji="0" lang="en-US" sz="3600" b="0" i="0" u="none" strike="noStrike" kern="1200" cap="none" spc="0" normalizeH="0" baseline="0" noProof="0">
                <a:ln>
                  <a:noFill/>
                </a:ln>
                <a:solidFill>
                  <a:schemeClr val="tx1"/>
                </a:solidFill>
                <a:effectLst/>
                <a:uLnTx/>
                <a:uFillTx/>
                <a:latin typeface="+mj-lt"/>
                <a:ea typeface="+mj-ea"/>
                <a:cs typeface="+mj-cs"/>
              </a:rPr>
              <a:t> </a:t>
            </a:r>
            <a:r>
              <a:rPr kumimoji="0" lang="en-US" sz="3600" b="0" i="0" u="none" strike="noStrike" kern="1200" cap="none" spc="0" normalizeH="0" baseline="0" noProof="0" err="1">
                <a:ln>
                  <a:noFill/>
                </a:ln>
                <a:solidFill>
                  <a:schemeClr val="tx1"/>
                </a:solidFill>
                <a:effectLst/>
                <a:uLnTx/>
                <a:uFillTx/>
                <a:latin typeface="+mj-lt"/>
                <a:ea typeface="+mj-ea"/>
                <a:cs typeface="+mj-cs"/>
              </a:rPr>
              <a:t>lahendused</a:t>
            </a:r>
            <a:endParaRPr kumimoji="0" lang="et-EE" sz="3600" b="0" i="0" u="none" strike="noStrike" kern="1200" cap="none" spc="0" normalizeH="0" baseline="0" noProof="0">
              <a:ln>
                <a:noFill/>
              </a:ln>
              <a:solidFill>
                <a:schemeClr val="tx1"/>
              </a:solidFill>
              <a:effectLst/>
              <a:uLnTx/>
              <a:uFillTx/>
              <a:latin typeface="+mj-lt"/>
              <a:ea typeface="+mj-ea"/>
              <a:cs typeface="+mj-cs"/>
            </a:endParaRPr>
          </a:p>
        </p:txBody>
      </p:sp>
      <p:sp>
        <p:nvSpPr>
          <p:cNvPr id="72" name="Content Placeholder 2">
            <a:extLst>
              <a:ext uri="{FF2B5EF4-FFF2-40B4-BE49-F238E27FC236}">
                <a16:creationId xmlns:a16="http://schemas.microsoft.com/office/drawing/2014/main" id="{8C32153E-3977-5B6C-AA5A-3FB7710D5D2F}"/>
              </a:ext>
            </a:extLst>
          </p:cNvPr>
          <p:cNvSpPr txBox="1">
            <a:spLocks/>
          </p:cNvSpPr>
          <p:nvPr/>
        </p:nvSpPr>
        <p:spPr>
          <a:xfrm>
            <a:off x="574604" y="1270880"/>
            <a:ext cx="9940996" cy="2691410"/>
          </a:xfrm>
          <a:prstGeom prst="rect">
            <a:avLst/>
          </a:prstGeom>
        </p:spPr>
        <p:txBody>
          <a:bodyPr vert="horz" lIns="90000" tIns="45720" rIns="91440" bIns="45720" rtlCol="0">
            <a:normAutofit/>
          </a:bodyPr>
          <a:lstStyle>
            <a:lvl1pPr marL="120962" indent="-114294" algn="l" defTabSz="875169" rtl="0" eaLnBrk="1" latinLnBrk="0" hangingPunct="1">
              <a:lnSpc>
                <a:spcPct val="100000"/>
              </a:lnSpc>
              <a:spcBef>
                <a:spcPts val="544"/>
              </a:spcBef>
              <a:spcAft>
                <a:spcPts val="0"/>
              </a:spcAft>
              <a:buFont typeface="Arial" panose="020B0604020202020204" pitchFamily="34" charset="0"/>
              <a:buChar char="•"/>
              <a:tabLst/>
              <a:defRPr sz="1270" kern="1200">
                <a:solidFill>
                  <a:schemeClr val="tx1"/>
                </a:solidFill>
                <a:latin typeface="+mn-lt"/>
                <a:ea typeface="+mn-ea"/>
                <a:cs typeface="+mn-cs"/>
              </a:defRPr>
            </a:lvl1pPr>
            <a:lvl2pPr marL="243364" indent="-122401" algn="l" defTabSz="875169" rtl="0" eaLnBrk="1" latinLnBrk="0" hangingPunct="1">
              <a:lnSpc>
                <a:spcPct val="100000"/>
              </a:lnSpc>
              <a:spcBef>
                <a:spcPts val="544"/>
              </a:spcBef>
              <a:buFont typeface="System Font Regular"/>
              <a:buChar char="-"/>
              <a:tabLst/>
              <a:defRPr sz="1089" kern="1200">
                <a:solidFill>
                  <a:schemeClr val="tx1"/>
                </a:solidFill>
                <a:latin typeface="+mn-lt"/>
                <a:ea typeface="+mn-ea"/>
                <a:cs typeface="+mn-cs"/>
              </a:defRPr>
            </a:lvl2pPr>
            <a:lvl3pPr marL="365764" indent="-122401" algn="l" defTabSz="875169" rtl="0" eaLnBrk="1" latinLnBrk="0" hangingPunct="1">
              <a:lnSpc>
                <a:spcPct val="100000"/>
              </a:lnSpc>
              <a:spcBef>
                <a:spcPts val="544"/>
              </a:spcBef>
              <a:buFont typeface="System Font Regular"/>
              <a:buChar char="-"/>
              <a:tabLst/>
              <a:defRPr sz="998" kern="1200">
                <a:solidFill>
                  <a:schemeClr val="tx1"/>
                </a:solidFill>
                <a:latin typeface="+mn-lt"/>
                <a:ea typeface="+mn-ea"/>
                <a:cs typeface="+mn-cs"/>
              </a:defRPr>
            </a:lvl3pPr>
            <a:lvl4pPr marL="1048353" indent="-230406" algn="l" defTabSz="875169" rtl="0" eaLnBrk="1" latinLnBrk="0" hangingPunct="1">
              <a:lnSpc>
                <a:spcPct val="90000"/>
              </a:lnSpc>
              <a:spcBef>
                <a:spcPts val="479"/>
              </a:spcBef>
              <a:buFont typeface="System Font Regular"/>
              <a:buChar char="-"/>
              <a:tabLst/>
              <a:defRPr sz="999" kern="1200">
                <a:solidFill>
                  <a:schemeClr val="tx1"/>
                </a:solidFill>
                <a:latin typeface="+mn-lt"/>
                <a:ea typeface="+mn-ea"/>
                <a:cs typeface="+mn-cs"/>
              </a:defRPr>
            </a:lvl4pPr>
            <a:lvl5pPr marL="1330601" indent="-230406" algn="l" defTabSz="875169" rtl="0" eaLnBrk="1" latinLnBrk="0" hangingPunct="1">
              <a:lnSpc>
                <a:spcPct val="90000"/>
              </a:lnSpc>
              <a:spcBef>
                <a:spcPts val="479"/>
              </a:spcBef>
              <a:buFont typeface="System Font Regular"/>
              <a:buChar char="-"/>
              <a:tabLst/>
              <a:defRPr sz="953" kern="1200">
                <a:solidFill>
                  <a:schemeClr val="tx1"/>
                </a:solidFill>
                <a:latin typeface="+mn-lt"/>
                <a:ea typeface="+mn-ea"/>
                <a:cs typeface="+mn-cs"/>
              </a:defRPr>
            </a:lvl5pPr>
            <a:lvl6pPr marL="2406715" indent="-218792" algn="l" defTabSz="875169" rtl="0" eaLnBrk="1" latinLnBrk="0" hangingPunct="1">
              <a:lnSpc>
                <a:spcPct val="90000"/>
              </a:lnSpc>
              <a:spcBef>
                <a:spcPts val="479"/>
              </a:spcBef>
              <a:buFont typeface="Arial" panose="020B0604020202020204" pitchFamily="34" charset="0"/>
              <a:buChar char="•"/>
              <a:defRPr sz="1723" kern="1200">
                <a:solidFill>
                  <a:schemeClr val="tx1"/>
                </a:solidFill>
                <a:latin typeface="+mn-lt"/>
                <a:ea typeface="+mn-ea"/>
                <a:cs typeface="+mn-cs"/>
              </a:defRPr>
            </a:lvl6pPr>
            <a:lvl7pPr marL="2844301" indent="-218792" algn="l" defTabSz="875169" rtl="0" eaLnBrk="1" latinLnBrk="0" hangingPunct="1">
              <a:lnSpc>
                <a:spcPct val="90000"/>
              </a:lnSpc>
              <a:spcBef>
                <a:spcPts val="479"/>
              </a:spcBef>
              <a:buFont typeface="Arial" panose="020B0604020202020204" pitchFamily="34" charset="0"/>
              <a:buChar char="•"/>
              <a:defRPr sz="1723" kern="1200">
                <a:solidFill>
                  <a:schemeClr val="tx1"/>
                </a:solidFill>
                <a:latin typeface="+mn-lt"/>
                <a:ea typeface="+mn-ea"/>
                <a:cs typeface="+mn-cs"/>
              </a:defRPr>
            </a:lvl7pPr>
            <a:lvl8pPr marL="3281885" indent="-218792" algn="l" defTabSz="875169" rtl="0" eaLnBrk="1" latinLnBrk="0" hangingPunct="1">
              <a:lnSpc>
                <a:spcPct val="90000"/>
              </a:lnSpc>
              <a:spcBef>
                <a:spcPts val="479"/>
              </a:spcBef>
              <a:buFont typeface="Arial" panose="020B0604020202020204" pitchFamily="34" charset="0"/>
              <a:buChar char="•"/>
              <a:defRPr sz="1723" kern="1200">
                <a:solidFill>
                  <a:schemeClr val="tx1"/>
                </a:solidFill>
                <a:latin typeface="+mn-lt"/>
                <a:ea typeface="+mn-ea"/>
                <a:cs typeface="+mn-cs"/>
              </a:defRPr>
            </a:lvl8pPr>
            <a:lvl9pPr marL="3719470" indent="-218792" algn="l" defTabSz="875169" rtl="0" eaLnBrk="1" latinLnBrk="0" hangingPunct="1">
              <a:lnSpc>
                <a:spcPct val="90000"/>
              </a:lnSpc>
              <a:spcBef>
                <a:spcPts val="479"/>
              </a:spcBef>
              <a:buFont typeface="Arial" panose="020B0604020202020204" pitchFamily="34" charset="0"/>
              <a:buChar char="•"/>
              <a:defRPr sz="1723" kern="1200">
                <a:solidFill>
                  <a:schemeClr val="tx1"/>
                </a:solidFill>
                <a:latin typeface="+mn-lt"/>
                <a:ea typeface="+mn-ea"/>
                <a:cs typeface="+mn-cs"/>
              </a:defRPr>
            </a:lvl9pPr>
          </a:lstStyle>
          <a:p>
            <a:pPr marL="259232" indent="-259232" defTabSz="414772">
              <a:defRPr/>
            </a:pPr>
            <a:r>
              <a:rPr lang="et-EE" sz="1800">
                <a:solidFill>
                  <a:srgbClr val="000000"/>
                </a:solidFill>
                <a:latin typeface="Calibri" panose="020F0502020204030204"/>
              </a:rPr>
              <a:t>Meretuule arendamises on Inglismaa ning Saksamaa turuliidrid, omades 2022. aasta seisuga kokku ~75% rajatud meretuuleparkidest Euroopas (22 GW, kokku 30GW)</a:t>
            </a:r>
          </a:p>
          <a:p>
            <a:pPr marL="381634" lvl="1" indent="-259232" defTabSz="414772">
              <a:defRPr/>
            </a:pPr>
            <a:r>
              <a:rPr lang="et-EE" sz="1619">
                <a:solidFill>
                  <a:srgbClr val="000000"/>
                </a:solidFill>
                <a:latin typeface="Calibri" panose="020F0502020204030204"/>
              </a:rPr>
              <a:t>Inglismaa on kasutanud </a:t>
            </a:r>
            <a:r>
              <a:rPr lang="et-EE" sz="1619" err="1">
                <a:solidFill>
                  <a:srgbClr val="000000"/>
                </a:solidFill>
                <a:latin typeface="Calibri" panose="020F0502020204030204"/>
              </a:rPr>
              <a:t>CfD-sid</a:t>
            </a:r>
            <a:r>
              <a:rPr lang="et-EE" sz="1619">
                <a:solidFill>
                  <a:srgbClr val="000000"/>
                </a:solidFill>
                <a:latin typeface="Calibri" panose="020F0502020204030204"/>
              </a:rPr>
              <a:t> ning Saksamaa on kasutanud </a:t>
            </a:r>
            <a:r>
              <a:rPr lang="et-EE" sz="1619" err="1">
                <a:solidFill>
                  <a:srgbClr val="000000"/>
                </a:solidFill>
                <a:latin typeface="Calibri" panose="020F0502020204030204"/>
              </a:rPr>
              <a:t>FiP</a:t>
            </a:r>
            <a:r>
              <a:rPr lang="et-EE" sz="1619">
                <a:solidFill>
                  <a:srgbClr val="000000"/>
                </a:solidFill>
                <a:latin typeface="Calibri" panose="020F0502020204030204"/>
              </a:rPr>
              <a:t> skeemi</a:t>
            </a:r>
          </a:p>
          <a:p>
            <a:pPr marL="259232" indent="-259232" defTabSz="414772">
              <a:defRPr/>
            </a:pPr>
            <a:r>
              <a:rPr lang="et-EE" sz="1800">
                <a:solidFill>
                  <a:srgbClr val="000000"/>
                </a:solidFill>
                <a:latin typeface="Calibri" panose="020F0502020204030204"/>
              </a:rPr>
              <a:t>2021. aastal tuli Euroopas 25.6 GW uut tuuleenergia toomisvõimsust turule, millest </a:t>
            </a:r>
            <a:r>
              <a:rPr lang="en-US" sz="1800" err="1">
                <a:solidFill>
                  <a:srgbClr val="000000"/>
                </a:solidFill>
                <a:latin typeface="Calibri" panose="020F0502020204030204"/>
              </a:rPr>
              <a:t>ainult</a:t>
            </a:r>
            <a:r>
              <a:rPr lang="en-US" sz="1800">
                <a:solidFill>
                  <a:srgbClr val="000000"/>
                </a:solidFill>
                <a:latin typeface="Calibri" panose="020F0502020204030204"/>
              </a:rPr>
              <a:t> </a:t>
            </a:r>
            <a:r>
              <a:rPr lang="et-EE" sz="1800">
                <a:solidFill>
                  <a:srgbClr val="000000"/>
                </a:solidFill>
                <a:latin typeface="Calibri" panose="020F0502020204030204"/>
              </a:rPr>
              <a:t>6.9 GW oli kaetud </a:t>
            </a:r>
            <a:r>
              <a:rPr lang="et-EE" sz="1800" err="1">
                <a:solidFill>
                  <a:srgbClr val="000000"/>
                </a:solidFill>
                <a:latin typeface="Calibri" panose="020F0502020204030204"/>
              </a:rPr>
              <a:t>PPA-dega</a:t>
            </a:r>
            <a:endParaRPr lang="et-EE" sz="1800">
              <a:solidFill>
                <a:srgbClr val="000000"/>
              </a:solidFill>
              <a:latin typeface="Calibri" panose="020F0502020204030204"/>
            </a:endParaRPr>
          </a:p>
          <a:p>
            <a:pPr marL="259232" indent="-259232" defTabSz="414772">
              <a:defRPr/>
            </a:pPr>
            <a:r>
              <a:rPr lang="et-EE" sz="1800" err="1">
                <a:solidFill>
                  <a:srgbClr val="000000"/>
                </a:solidFill>
                <a:latin typeface="Calibri" panose="020F0502020204030204"/>
              </a:rPr>
              <a:t>CfD</a:t>
            </a:r>
            <a:r>
              <a:rPr lang="et-EE" sz="1800">
                <a:solidFill>
                  <a:srgbClr val="000000"/>
                </a:solidFill>
                <a:latin typeface="Calibri" panose="020F0502020204030204"/>
              </a:rPr>
              <a:t> on ka Euroopa Komisjoni elektrituru disainis kesksel kohal</a:t>
            </a:r>
          </a:p>
          <a:p>
            <a:pPr marL="259232" indent="-259232" defTabSz="414772">
              <a:defRPr/>
            </a:pPr>
            <a:r>
              <a:rPr lang="en-US" sz="1800">
                <a:solidFill>
                  <a:srgbClr val="000000"/>
                </a:solidFill>
                <a:latin typeface="Calibri" panose="020F0502020204030204"/>
              </a:rPr>
              <a:t>Ei mere- </a:t>
            </a:r>
            <a:r>
              <a:rPr lang="en-US" sz="1800" err="1">
                <a:solidFill>
                  <a:srgbClr val="000000"/>
                </a:solidFill>
                <a:latin typeface="Calibri" panose="020F0502020204030204"/>
              </a:rPr>
              <a:t>ega</a:t>
            </a:r>
            <a:r>
              <a:rPr lang="en-US" sz="1800">
                <a:solidFill>
                  <a:srgbClr val="000000"/>
                </a:solidFill>
                <a:latin typeface="Calibri" panose="020F0502020204030204"/>
              </a:rPr>
              <a:t> </a:t>
            </a:r>
            <a:r>
              <a:rPr lang="en-US" sz="1800" err="1">
                <a:solidFill>
                  <a:srgbClr val="000000"/>
                </a:solidFill>
                <a:latin typeface="Calibri" panose="020F0502020204030204"/>
              </a:rPr>
              <a:t>maismaatuuleparkide</a:t>
            </a:r>
            <a:r>
              <a:rPr lang="en-US" sz="1800">
                <a:solidFill>
                  <a:srgbClr val="000000"/>
                </a:solidFill>
                <a:latin typeface="Calibri" panose="020F0502020204030204"/>
              </a:rPr>
              <a:t> </a:t>
            </a:r>
            <a:r>
              <a:rPr lang="en-US" sz="1800" err="1">
                <a:solidFill>
                  <a:srgbClr val="000000"/>
                </a:solidFill>
                <a:latin typeface="Calibri" panose="020F0502020204030204"/>
              </a:rPr>
              <a:t>arendamine</a:t>
            </a:r>
            <a:r>
              <a:rPr lang="en-US" sz="1800">
                <a:solidFill>
                  <a:srgbClr val="000000"/>
                </a:solidFill>
                <a:latin typeface="Calibri" panose="020F0502020204030204"/>
              </a:rPr>
              <a:t> </a:t>
            </a:r>
            <a:r>
              <a:rPr lang="en-US" sz="1800" err="1">
                <a:solidFill>
                  <a:srgbClr val="000000"/>
                </a:solidFill>
                <a:latin typeface="Calibri" panose="020F0502020204030204"/>
              </a:rPr>
              <a:t>Eesti</a:t>
            </a:r>
            <a:r>
              <a:rPr lang="en-US" sz="1800">
                <a:solidFill>
                  <a:srgbClr val="000000"/>
                </a:solidFill>
                <a:latin typeface="Calibri" panose="020F0502020204030204"/>
              </a:rPr>
              <a:t> </a:t>
            </a:r>
            <a:r>
              <a:rPr lang="en-US" sz="1800" err="1">
                <a:solidFill>
                  <a:srgbClr val="000000"/>
                </a:solidFill>
                <a:latin typeface="Calibri" panose="020F0502020204030204"/>
              </a:rPr>
              <a:t>suuruses</a:t>
            </a:r>
            <a:r>
              <a:rPr lang="en-US" sz="1800">
                <a:solidFill>
                  <a:srgbClr val="000000"/>
                </a:solidFill>
                <a:latin typeface="Calibri" panose="020F0502020204030204"/>
              </a:rPr>
              <a:t> </a:t>
            </a:r>
            <a:r>
              <a:rPr lang="en-US" sz="1800" err="1">
                <a:solidFill>
                  <a:srgbClr val="000000"/>
                </a:solidFill>
                <a:latin typeface="Calibri" panose="020F0502020204030204"/>
              </a:rPr>
              <a:t>riigis</a:t>
            </a:r>
            <a:r>
              <a:rPr lang="en-US" sz="1800">
                <a:solidFill>
                  <a:srgbClr val="000000"/>
                </a:solidFill>
                <a:latin typeface="Calibri" panose="020F0502020204030204"/>
              </a:rPr>
              <a:t> </a:t>
            </a:r>
            <a:r>
              <a:rPr lang="en-US" sz="1800" err="1">
                <a:solidFill>
                  <a:srgbClr val="000000"/>
                </a:solidFill>
                <a:latin typeface="Calibri" panose="020F0502020204030204"/>
              </a:rPr>
              <a:t>ei</a:t>
            </a:r>
            <a:r>
              <a:rPr lang="en-US" sz="1800">
                <a:solidFill>
                  <a:srgbClr val="000000"/>
                </a:solidFill>
                <a:latin typeface="Calibri" panose="020F0502020204030204"/>
              </a:rPr>
              <a:t> ole </a:t>
            </a:r>
            <a:r>
              <a:rPr lang="en-US" sz="1800" err="1">
                <a:solidFill>
                  <a:srgbClr val="000000"/>
                </a:solidFill>
                <a:latin typeface="Calibri" panose="020F0502020204030204"/>
              </a:rPr>
              <a:t>suuremas</a:t>
            </a:r>
            <a:r>
              <a:rPr lang="en-US" sz="1800">
                <a:solidFill>
                  <a:srgbClr val="000000"/>
                </a:solidFill>
                <a:latin typeface="Calibri" panose="020F0502020204030204"/>
              </a:rPr>
              <a:t> </a:t>
            </a:r>
            <a:r>
              <a:rPr lang="en-US" sz="1800" err="1">
                <a:solidFill>
                  <a:srgbClr val="000000"/>
                </a:solidFill>
                <a:latin typeface="Calibri" panose="020F0502020204030204"/>
              </a:rPr>
              <a:t>mahus</a:t>
            </a:r>
            <a:r>
              <a:rPr lang="en-US" sz="1800">
                <a:solidFill>
                  <a:srgbClr val="000000"/>
                </a:solidFill>
                <a:latin typeface="Calibri" panose="020F0502020204030204"/>
              </a:rPr>
              <a:t> </a:t>
            </a:r>
            <a:r>
              <a:rPr lang="en-US" sz="1800" err="1">
                <a:solidFill>
                  <a:srgbClr val="000000"/>
                </a:solidFill>
                <a:latin typeface="Calibri" panose="020F0502020204030204"/>
              </a:rPr>
              <a:t>võimalik</a:t>
            </a:r>
            <a:r>
              <a:rPr lang="en-US" sz="1800">
                <a:solidFill>
                  <a:srgbClr val="000000"/>
                </a:solidFill>
                <a:latin typeface="Calibri" panose="020F0502020204030204"/>
              </a:rPr>
              <a:t> </a:t>
            </a:r>
            <a:r>
              <a:rPr lang="en-US" sz="1800" err="1">
                <a:solidFill>
                  <a:srgbClr val="000000"/>
                </a:solidFill>
                <a:latin typeface="Calibri" panose="020F0502020204030204"/>
              </a:rPr>
              <a:t>turupõhiselt</a:t>
            </a:r>
            <a:r>
              <a:rPr lang="en-US" sz="1800">
                <a:solidFill>
                  <a:srgbClr val="000000"/>
                </a:solidFill>
                <a:latin typeface="Calibri" panose="020F0502020204030204"/>
              </a:rPr>
              <a:t> (</a:t>
            </a:r>
            <a:r>
              <a:rPr lang="en-US" sz="1800" err="1">
                <a:solidFill>
                  <a:srgbClr val="000000"/>
                </a:solidFill>
                <a:latin typeface="Calibri" panose="020F0502020204030204"/>
              </a:rPr>
              <a:t>sh</a:t>
            </a:r>
            <a:r>
              <a:rPr lang="en-US" sz="1800">
                <a:solidFill>
                  <a:srgbClr val="000000"/>
                </a:solidFill>
                <a:latin typeface="Calibri" panose="020F0502020204030204"/>
              </a:rPr>
              <a:t> PPA) </a:t>
            </a:r>
            <a:r>
              <a:rPr lang="en-US" sz="1800" err="1">
                <a:solidFill>
                  <a:srgbClr val="000000"/>
                </a:solidFill>
                <a:latin typeface="Calibri" panose="020F0502020204030204"/>
              </a:rPr>
              <a:t>rajada</a:t>
            </a:r>
            <a:endParaRPr lang="et-EE" sz="1800">
              <a:solidFill>
                <a:srgbClr val="000000"/>
              </a:solidFill>
              <a:latin typeface="Calibri" panose="020F0502020204030204"/>
            </a:endParaRPr>
          </a:p>
        </p:txBody>
      </p:sp>
      <p:sp>
        <p:nvSpPr>
          <p:cNvPr id="73" name="Slide Number Placeholder 3">
            <a:extLst>
              <a:ext uri="{FF2B5EF4-FFF2-40B4-BE49-F238E27FC236}">
                <a16:creationId xmlns:a16="http://schemas.microsoft.com/office/drawing/2014/main" id="{3A056A5F-2443-9018-4B85-E4648B589BC5}"/>
              </a:ext>
            </a:extLst>
          </p:cNvPr>
          <p:cNvSpPr txBox="1">
            <a:spLocks/>
          </p:cNvSpPr>
          <p:nvPr/>
        </p:nvSpPr>
        <p:spPr>
          <a:xfrm>
            <a:off x="10991797" y="6549503"/>
            <a:ext cx="560680" cy="173925"/>
          </a:xfrm>
          <a:prstGeom prst="rect">
            <a:avLst/>
          </a:prstGeom>
        </p:spPr>
        <p:txBody>
          <a:bodyPr vert="horz" lIns="91440" tIns="45720" rIns="91440" bIns="45720" rtlCol="0" anchor="ctr"/>
          <a:lstStyle>
            <a:defPPr>
              <a:defRPr lang="en-US"/>
            </a:defPPr>
            <a:lvl1pPr marL="0" algn="r" defTabSz="914400" rtl="0" eaLnBrk="1" latinLnBrk="0" hangingPunct="1">
              <a:defRPr sz="1149" kern="1200">
                <a:solidFill>
                  <a:srgbClr val="70737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14772" rtl="0" eaLnBrk="1" fontAlgn="auto" latinLnBrk="0" hangingPunct="1">
              <a:lnSpc>
                <a:spcPct val="100000"/>
              </a:lnSpc>
              <a:spcBef>
                <a:spcPts val="0"/>
              </a:spcBef>
              <a:spcAft>
                <a:spcPts val="0"/>
              </a:spcAft>
              <a:buClrTx/>
              <a:buSzTx/>
              <a:buFontTx/>
              <a:buNone/>
              <a:tabLst/>
              <a:defRPr/>
            </a:pPr>
            <a:fld id="{F3F250AB-27C9-4843-B305-22ABF7AC8460}" type="slidenum">
              <a:rPr kumimoji="0" lang="et-EE" sz="1149" b="0" i="0" u="none" strike="noStrike" kern="1200" cap="none" spc="0" normalizeH="0" baseline="0" noProof="0" smtClean="0">
                <a:ln>
                  <a:noFill/>
                </a:ln>
                <a:solidFill>
                  <a:srgbClr val="707372"/>
                </a:solidFill>
                <a:effectLst/>
                <a:uLnTx/>
                <a:uFillTx/>
                <a:latin typeface="Calibri" panose="020F0502020204030204"/>
                <a:ea typeface="+mn-ea"/>
                <a:cs typeface="+mn-cs"/>
              </a:rPr>
              <a:pPr marL="0" marR="0" lvl="0" indent="0" algn="r" defTabSz="414772" rtl="0" eaLnBrk="1" fontAlgn="auto" latinLnBrk="0" hangingPunct="1">
                <a:lnSpc>
                  <a:spcPct val="100000"/>
                </a:lnSpc>
                <a:spcBef>
                  <a:spcPts val="0"/>
                </a:spcBef>
                <a:spcAft>
                  <a:spcPts val="0"/>
                </a:spcAft>
                <a:buClrTx/>
                <a:buSzTx/>
                <a:buFontTx/>
                <a:buNone/>
                <a:tabLst/>
                <a:defRPr/>
              </a:pPr>
              <a:t>15</a:t>
            </a:fld>
            <a:endParaRPr kumimoji="0" lang="et-EE" sz="1149" b="0" i="0" u="none" strike="noStrike" kern="1200" cap="none" spc="0" normalizeH="0" baseline="0" noProof="0">
              <a:ln>
                <a:noFill/>
              </a:ln>
              <a:solidFill>
                <a:srgbClr val="707372"/>
              </a:solidFill>
              <a:effectLst/>
              <a:uLnTx/>
              <a:uFillTx/>
              <a:latin typeface="Calibri" panose="020F0502020204030204"/>
              <a:ea typeface="+mn-ea"/>
              <a:cs typeface="+mn-cs"/>
            </a:endParaRPr>
          </a:p>
        </p:txBody>
      </p:sp>
      <p:grpSp>
        <p:nvGrpSpPr>
          <p:cNvPr id="3" name="Group 2">
            <a:extLst>
              <a:ext uri="{FF2B5EF4-FFF2-40B4-BE49-F238E27FC236}">
                <a16:creationId xmlns:a16="http://schemas.microsoft.com/office/drawing/2014/main" id="{FEEF0589-C69B-69D5-1D15-77297FABEA2C}"/>
              </a:ext>
            </a:extLst>
          </p:cNvPr>
          <p:cNvGrpSpPr/>
          <p:nvPr/>
        </p:nvGrpSpPr>
        <p:grpSpPr>
          <a:xfrm>
            <a:off x="860213" y="4363491"/>
            <a:ext cx="9162463" cy="1995659"/>
            <a:chOff x="666212" y="4363492"/>
            <a:chExt cx="7574686" cy="1995659"/>
          </a:xfrm>
        </p:grpSpPr>
        <p:sp>
          <p:nvSpPr>
            <p:cNvPr id="104" name="Rectangle 103">
              <a:extLst>
                <a:ext uri="{FF2B5EF4-FFF2-40B4-BE49-F238E27FC236}">
                  <a16:creationId xmlns:a16="http://schemas.microsoft.com/office/drawing/2014/main" id="{0BFF0262-CC53-DF95-BE6E-21077D8C64FF}"/>
                </a:ext>
              </a:extLst>
            </p:cNvPr>
            <p:cNvSpPr/>
            <p:nvPr/>
          </p:nvSpPr>
          <p:spPr>
            <a:xfrm>
              <a:off x="666212" y="4363492"/>
              <a:ext cx="7244363" cy="1616100"/>
            </a:xfrm>
            <a:prstGeom prst="rect">
              <a:avLst/>
            </a:prstGeom>
            <a:noFill/>
            <a:ln w="12700" cap="flat" cmpd="sng" algn="ctr">
              <a:noFill/>
              <a:prstDash val="solid"/>
              <a:miter lim="800000"/>
            </a:ln>
            <a:effectLst/>
          </p:spPr>
          <p:txBody>
            <a:bodyPr rtlCol="0" anchor="t"/>
            <a:lstStyle/>
            <a:p>
              <a:pPr marL="0" marR="0" lvl="0" indent="0" defTabSz="414772" eaLnBrk="1" fontAlgn="auto" latinLnBrk="0" hangingPunct="1">
                <a:lnSpc>
                  <a:spcPct val="100000"/>
                </a:lnSpc>
                <a:spcBef>
                  <a:spcPts val="0"/>
                </a:spcBef>
                <a:spcAft>
                  <a:spcPts val="0"/>
                </a:spcAft>
                <a:buClrTx/>
                <a:buSzTx/>
                <a:buFontTx/>
                <a:buNone/>
                <a:tabLst/>
                <a:defRPr/>
              </a:pPr>
              <a:r>
                <a:rPr kumimoji="0" lang="et-EE" sz="1600" b="1" i="0" u="none" strike="noStrike" kern="0" cap="none" spc="0" normalizeH="0" baseline="0" noProof="0">
                  <a:ln>
                    <a:noFill/>
                  </a:ln>
                  <a:solidFill>
                    <a:srgbClr val="000000"/>
                  </a:solidFill>
                  <a:effectLst/>
                  <a:uLnTx/>
                  <a:uFillTx/>
                  <a:latin typeface="Calibri" panose="020F0502020204030204"/>
                  <a:ea typeface="+mn-ea"/>
                  <a:cs typeface="Calibri" panose="020F0502020204030204" pitchFamily="34" charset="0"/>
                </a:rPr>
                <a:t>Euroopa Komisjoni turudisaini muudatusettepanekud</a:t>
              </a:r>
              <a:endParaRPr kumimoji="0" lang="en-US" sz="1600" b="1" i="0" u="none" strike="noStrike" kern="0" cap="none" spc="0" normalizeH="0" baseline="0" noProof="0">
                <a:ln>
                  <a:noFill/>
                </a:ln>
                <a:solidFill>
                  <a:srgbClr val="000000"/>
                </a:solidFill>
                <a:effectLst/>
                <a:uLnTx/>
                <a:uFillTx/>
                <a:latin typeface="Calibri" panose="020F0502020204030204"/>
                <a:ea typeface="+mn-ea"/>
                <a:cs typeface="Calibri" panose="020F0502020204030204" pitchFamily="34" charset="0"/>
              </a:endParaRPr>
            </a:p>
            <a:p>
              <a:pPr marL="0" marR="0" lvl="0" indent="0" defTabSz="414772" eaLnBrk="1" fontAlgn="auto" latinLnBrk="0" hangingPunct="1">
                <a:lnSpc>
                  <a:spcPct val="100000"/>
                </a:lnSpc>
                <a:spcBef>
                  <a:spcPts val="0"/>
                </a:spcBef>
                <a:spcAft>
                  <a:spcPts val="0"/>
                </a:spcAft>
                <a:buClrTx/>
                <a:buSzTx/>
                <a:buFontTx/>
                <a:buNone/>
                <a:tabLst/>
                <a:defRPr/>
              </a:pPr>
              <a:endParaRPr kumimoji="0" lang="et-EE" sz="1600" b="1" i="0" u="none" strike="noStrike" kern="0" cap="none" spc="0" normalizeH="0" baseline="0" noProof="0">
                <a:ln>
                  <a:noFill/>
                </a:ln>
                <a:solidFill>
                  <a:srgbClr val="000000"/>
                </a:solidFill>
                <a:effectLst/>
                <a:uLnTx/>
                <a:uFillTx/>
                <a:latin typeface="Calibri" panose="020F0502020204030204"/>
                <a:ea typeface="+mn-ea"/>
                <a:cs typeface="Calibri" panose="020F0502020204030204" pitchFamily="34" charset="0"/>
              </a:endParaRPr>
            </a:p>
            <a:p>
              <a:pPr marL="0" marR="0" lvl="0" indent="0" defTabSz="414772" eaLnBrk="1" fontAlgn="auto" latinLnBrk="0" hangingPunct="1">
                <a:lnSpc>
                  <a:spcPct val="100000"/>
                </a:lnSpc>
                <a:spcBef>
                  <a:spcPts val="0"/>
                </a:spcBef>
                <a:spcAft>
                  <a:spcPts val="0"/>
                </a:spcAft>
                <a:buClrTx/>
                <a:buSzTx/>
                <a:buFontTx/>
                <a:buNone/>
                <a:tabLst/>
                <a:defRPr/>
              </a:pPr>
              <a:r>
                <a:rPr kumimoji="0" lang="et-EE" sz="1600" b="0" i="1" u="none" strike="noStrike" kern="0" cap="none" spc="0" normalizeH="0" baseline="0" noProof="0">
                  <a:ln>
                    <a:noFill/>
                  </a:ln>
                  <a:solidFill>
                    <a:srgbClr val="000000"/>
                  </a:solidFill>
                  <a:effectLst/>
                  <a:uLnTx/>
                  <a:uFillTx/>
                  <a:latin typeface="Calibri" panose="020F0502020204030204"/>
                  <a:ea typeface="+mn-ea"/>
                  <a:cs typeface="Calibri" panose="020F0502020204030204" pitchFamily="34" charset="0"/>
                </a:rPr>
                <a:t>“Eesmärk on hoogustada investeeringuid taastuvenergiasse. Energiaostulepingud ja hinnavahelepingud pakuvad tarbijatele stabiilseid hindu ning annavad ka taastuvenergia tarnijatele kindlat tulu. See vähendab nende finantsriski ja suurel määral kapitalikulusid. Sellega luuakse positiivne mõjuring, kus stabiilsed tulud vähendavad kulusid ja suurendavad nõudlust taastuvenergia järele”</a:t>
              </a:r>
              <a:endParaRPr kumimoji="0" lang="et-EE" sz="1600" b="0" i="1"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5" name="TextBox 104">
              <a:extLst>
                <a:ext uri="{FF2B5EF4-FFF2-40B4-BE49-F238E27FC236}">
                  <a16:creationId xmlns:a16="http://schemas.microsoft.com/office/drawing/2014/main" id="{524816C6-97A7-7EF6-2A7D-7D7B07ACE511}"/>
                </a:ext>
              </a:extLst>
            </p:cNvPr>
            <p:cNvSpPr txBox="1"/>
            <p:nvPr/>
          </p:nvSpPr>
          <p:spPr>
            <a:xfrm>
              <a:off x="3214018" y="6082152"/>
              <a:ext cx="5026880" cy="276999"/>
            </a:xfrm>
            <a:prstGeom prst="rect">
              <a:avLst/>
            </a:prstGeom>
            <a:noFill/>
          </p:spPr>
          <p:txBody>
            <a:bodyPr wrap="square">
              <a:spAutoFit/>
            </a:bodyPr>
            <a:lstStyle/>
            <a:p>
              <a:pPr marL="0" marR="0" lvl="0" indent="0" algn="r" defTabSz="414772" eaLnBrk="1" fontAlgn="auto" latinLnBrk="0" hangingPunct="1">
                <a:lnSpc>
                  <a:spcPct val="100000"/>
                </a:lnSpc>
                <a:spcBef>
                  <a:spcPts val="0"/>
                </a:spcBef>
                <a:spcAft>
                  <a:spcPts val="0"/>
                </a:spcAft>
                <a:buClrTx/>
                <a:buSzTx/>
                <a:buFontTx/>
                <a:buNone/>
                <a:tabLst/>
                <a:defRPr/>
              </a:pPr>
              <a:r>
                <a:rPr kumimoji="0" lang="et-EE" sz="1200" b="0" i="1" u="none" strike="noStrike" kern="0" cap="none" spc="0" normalizeH="0" baseline="0" noProof="0">
                  <a:ln>
                    <a:noFill/>
                  </a:ln>
                  <a:solidFill>
                    <a:srgbClr val="000000"/>
                  </a:solidFill>
                  <a:effectLst/>
                  <a:uLnTx/>
                  <a:uFillTx/>
                </a:rPr>
                <a:t>Allikas: https://eur-lex.europa.eu/legal-content/ET/TXT/HTML/?uri=CELEX:52023PC0148</a:t>
              </a:r>
            </a:p>
          </p:txBody>
        </p:sp>
      </p:grpSp>
    </p:spTree>
    <p:extLst>
      <p:ext uri="{BB962C8B-B14F-4D97-AF65-F5344CB8AC3E}">
        <p14:creationId xmlns:p14="http://schemas.microsoft.com/office/powerpoint/2010/main" val="21483115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75E930-BC5E-E25F-9EA3-494BAD0D5D56}"/>
            </a:ext>
          </a:extLst>
        </p:cNvPr>
        <p:cNvGrpSpPr/>
        <p:nvPr/>
      </p:nvGrpSpPr>
      <p:grpSpPr>
        <a:xfrm>
          <a:off x="0" y="0"/>
          <a:ext cx="0" cy="0"/>
          <a:chOff x="0" y="0"/>
          <a:chExt cx="0" cy="0"/>
        </a:xfrm>
      </p:grpSpPr>
      <p:pic>
        <p:nvPicPr>
          <p:cNvPr id="2" name="Pilt 1">
            <a:extLst>
              <a:ext uri="{FF2B5EF4-FFF2-40B4-BE49-F238E27FC236}">
                <a16:creationId xmlns:a16="http://schemas.microsoft.com/office/drawing/2014/main" id="{C9062EF2-8A7D-D7E8-15C1-2413746E31A9}"/>
              </a:ext>
            </a:extLst>
          </p:cNvPr>
          <p:cNvPicPr>
            <a:picLocks noChangeAspect="1"/>
          </p:cNvPicPr>
          <p:nvPr/>
        </p:nvPicPr>
        <p:blipFill>
          <a:blip r:embed="rId2"/>
          <a:stretch>
            <a:fillRect/>
          </a:stretch>
        </p:blipFill>
        <p:spPr>
          <a:xfrm>
            <a:off x="9877049" y="268560"/>
            <a:ext cx="1972014" cy="744983"/>
          </a:xfrm>
          <a:prstGeom prst="rect">
            <a:avLst/>
          </a:prstGeom>
        </p:spPr>
      </p:pic>
      <p:sp>
        <p:nvSpPr>
          <p:cNvPr id="71" name="Title 1">
            <a:extLst>
              <a:ext uri="{FF2B5EF4-FFF2-40B4-BE49-F238E27FC236}">
                <a16:creationId xmlns:a16="http://schemas.microsoft.com/office/drawing/2014/main" id="{63F8ADB9-4EBB-DECB-6A41-FFC6EB684B95}"/>
              </a:ext>
            </a:extLst>
          </p:cNvPr>
          <p:cNvSpPr txBox="1">
            <a:spLocks/>
          </p:cNvSpPr>
          <p:nvPr/>
        </p:nvSpPr>
        <p:spPr>
          <a:xfrm>
            <a:off x="385776" y="296425"/>
            <a:ext cx="11424455" cy="573255"/>
          </a:xfrm>
          <a:prstGeom prst="rect">
            <a:avLst/>
          </a:prstGeom>
        </p:spPr>
        <p:txBody>
          <a:bodyPr vert="horz" lIns="91440" tIns="45720" rIns="91440" bIns="0" rtlCol="0" anchor="b">
            <a:noAutofit/>
          </a:bodyPr>
          <a:lstStyle>
            <a:lvl1pPr algn="l" defTabSz="875169" rtl="0" eaLnBrk="1" latinLnBrk="0" hangingPunct="1">
              <a:lnSpc>
                <a:spcPct val="90000"/>
              </a:lnSpc>
              <a:spcBef>
                <a:spcPct val="0"/>
              </a:spcBef>
              <a:buNone/>
              <a:defRPr sz="3629" b="1" kern="1200">
                <a:solidFill>
                  <a:schemeClr val="tx2"/>
                </a:solidFill>
                <a:latin typeface="+mn-lt"/>
                <a:ea typeface="+mj-ea"/>
                <a:cs typeface="+mj-cs"/>
              </a:defRPr>
            </a:lvl1pPr>
          </a:lstStyle>
          <a:p>
            <a:pPr marL="0" marR="0" lvl="0" indent="0" algn="l" defTabSz="875169"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err="1">
                <a:ln>
                  <a:noFill/>
                </a:ln>
                <a:solidFill>
                  <a:schemeClr val="tx1"/>
                </a:solidFill>
                <a:effectLst/>
                <a:uLnTx/>
                <a:uFillTx/>
                <a:latin typeface="+mj-lt"/>
                <a:ea typeface="+mj-ea"/>
                <a:cs typeface="+mj-cs"/>
              </a:rPr>
              <a:t>Investeeringuriskide</a:t>
            </a:r>
            <a:r>
              <a:rPr kumimoji="0" lang="en-US" sz="3600" b="0" i="0" u="none" strike="noStrike" kern="1200" cap="none" spc="0" normalizeH="0" baseline="0" noProof="0">
                <a:ln>
                  <a:noFill/>
                </a:ln>
                <a:solidFill>
                  <a:schemeClr val="tx1"/>
                </a:solidFill>
                <a:effectLst/>
                <a:uLnTx/>
                <a:uFillTx/>
                <a:latin typeface="+mj-lt"/>
                <a:ea typeface="+mj-ea"/>
                <a:cs typeface="+mj-cs"/>
              </a:rPr>
              <a:t> </a:t>
            </a:r>
            <a:r>
              <a:rPr kumimoji="0" lang="en-US" sz="3600" b="0" i="0" u="none" strike="noStrike" kern="1200" cap="none" spc="0" normalizeH="0" baseline="0" noProof="0" err="1">
                <a:ln>
                  <a:noFill/>
                </a:ln>
                <a:solidFill>
                  <a:schemeClr val="tx1"/>
                </a:solidFill>
                <a:effectLst/>
                <a:uLnTx/>
                <a:uFillTx/>
                <a:latin typeface="+mj-lt"/>
                <a:ea typeface="+mj-ea"/>
                <a:cs typeface="+mj-cs"/>
              </a:rPr>
              <a:t>maandamise</a:t>
            </a:r>
            <a:r>
              <a:rPr kumimoji="0" lang="en-US" sz="3600" b="0" i="0" u="none" strike="noStrike" kern="1200" cap="none" spc="0" normalizeH="0" baseline="0" noProof="0">
                <a:ln>
                  <a:noFill/>
                </a:ln>
                <a:solidFill>
                  <a:schemeClr val="tx1"/>
                </a:solidFill>
                <a:effectLst/>
                <a:uLnTx/>
                <a:uFillTx/>
                <a:latin typeface="+mj-lt"/>
                <a:ea typeface="+mj-ea"/>
                <a:cs typeface="+mj-cs"/>
              </a:rPr>
              <a:t> </a:t>
            </a:r>
            <a:r>
              <a:rPr kumimoji="0" lang="en-US" sz="3600" b="0" i="0" u="none" strike="noStrike" kern="1200" cap="none" spc="0" normalizeH="0" baseline="0" noProof="0" err="1">
                <a:ln>
                  <a:noFill/>
                </a:ln>
                <a:solidFill>
                  <a:schemeClr val="tx1"/>
                </a:solidFill>
                <a:effectLst/>
                <a:uLnTx/>
                <a:uFillTx/>
                <a:latin typeface="+mj-lt"/>
                <a:ea typeface="+mj-ea"/>
                <a:cs typeface="+mj-cs"/>
              </a:rPr>
              <a:t>lahendused</a:t>
            </a:r>
            <a:endParaRPr kumimoji="0" lang="et-EE" sz="3600" b="0" i="0" u="none" strike="noStrike" kern="1200" cap="none" spc="0" normalizeH="0" baseline="0" noProof="0">
              <a:ln>
                <a:noFill/>
              </a:ln>
              <a:solidFill>
                <a:schemeClr val="tx1"/>
              </a:solidFill>
              <a:effectLst/>
              <a:uLnTx/>
              <a:uFillTx/>
              <a:latin typeface="+mj-lt"/>
              <a:ea typeface="+mj-ea"/>
              <a:cs typeface="+mj-cs"/>
            </a:endParaRPr>
          </a:p>
        </p:txBody>
      </p:sp>
      <p:sp>
        <p:nvSpPr>
          <p:cNvPr id="72" name="Content Placeholder 2">
            <a:extLst>
              <a:ext uri="{FF2B5EF4-FFF2-40B4-BE49-F238E27FC236}">
                <a16:creationId xmlns:a16="http://schemas.microsoft.com/office/drawing/2014/main" id="{8D2CB99D-C7D1-821F-E370-105924341D7D}"/>
              </a:ext>
            </a:extLst>
          </p:cNvPr>
          <p:cNvSpPr txBox="1">
            <a:spLocks/>
          </p:cNvSpPr>
          <p:nvPr/>
        </p:nvSpPr>
        <p:spPr>
          <a:xfrm>
            <a:off x="574605" y="1076257"/>
            <a:ext cx="3672276" cy="3830979"/>
          </a:xfrm>
          <a:prstGeom prst="rect">
            <a:avLst/>
          </a:prstGeom>
        </p:spPr>
        <p:txBody>
          <a:bodyPr vert="horz" lIns="90000" tIns="45720" rIns="91440" bIns="45720" rtlCol="0">
            <a:noAutofit/>
          </a:bodyPr>
          <a:lstStyle>
            <a:lvl1pPr marL="120962" indent="-114294" algn="l" defTabSz="875169" rtl="0" eaLnBrk="1" latinLnBrk="0" hangingPunct="1">
              <a:lnSpc>
                <a:spcPct val="100000"/>
              </a:lnSpc>
              <a:spcBef>
                <a:spcPts val="544"/>
              </a:spcBef>
              <a:spcAft>
                <a:spcPts val="0"/>
              </a:spcAft>
              <a:buFont typeface="Arial" panose="020B0604020202020204" pitchFamily="34" charset="0"/>
              <a:buChar char="•"/>
              <a:tabLst/>
              <a:defRPr sz="1270" kern="1200">
                <a:solidFill>
                  <a:schemeClr val="tx1"/>
                </a:solidFill>
                <a:latin typeface="+mn-lt"/>
                <a:ea typeface="+mn-ea"/>
                <a:cs typeface="+mn-cs"/>
              </a:defRPr>
            </a:lvl1pPr>
            <a:lvl2pPr marL="243364" indent="-122401" algn="l" defTabSz="875169" rtl="0" eaLnBrk="1" latinLnBrk="0" hangingPunct="1">
              <a:lnSpc>
                <a:spcPct val="100000"/>
              </a:lnSpc>
              <a:spcBef>
                <a:spcPts val="544"/>
              </a:spcBef>
              <a:buFont typeface="System Font Regular"/>
              <a:buChar char="-"/>
              <a:tabLst/>
              <a:defRPr sz="1089" kern="1200">
                <a:solidFill>
                  <a:schemeClr val="tx1"/>
                </a:solidFill>
                <a:latin typeface="+mn-lt"/>
                <a:ea typeface="+mn-ea"/>
                <a:cs typeface="+mn-cs"/>
              </a:defRPr>
            </a:lvl2pPr>
            <a:lvl3pPr marL="365764" indent="-122401" algn="l" defTabSz="875169" rtl="0" eaLnBrk="1" latinLnBrk="0" hangingPunct="1">
              <a:lnSpc>
                <a:spcPct val="100000"/>
              </a:lnSpc>
              <a:spcBef>
                <a:spcPts val="544"/>
              </a:spcBef>
              <a:buFont typeface="System Font Regular"/>
              <a:buChar char="-"/>
              <a:tabLst/>
              <a:defRPr sz="998" kern="1200">
                <a:solidFill>
                  <a:schemeClr val="tx1"/>
                </a:solidFill>
                <a:latin typeface="+mn-lt"/>
                <a:ea typeface="+mn-ea"/>
                <a:cs typeface="+mn-cs"/>
              </a:defRPr>
            </a:lvl3pPr>
            <a:lvl4pPr marL="1048353" indent="-230406" algn="l" defTabSz="875169" rtl="0" eaLnBrk="1" latinLnBrk="0" hangingPunct="1">
              <a:lnSpc>
                <a:spcPct val="90000"/>
              </a:lnSpc>
              <a:spcBef>
                <a:spcPts val="479"/>
              </a:spcBef>
              <a:buFont typeface="System Font Regular"/>
              <a:buChar char="-"/>
              <a:tabLst/>
              <a:defRPr sz="999" kern="1200">
                <a:solidFill>
                  <a:schemeClr val="tx1"/>
                </a:solidFill>
                <a:latin typeface="+mn-lt"/>
                <a:ea typeface="+mn-ea"/>
                <a:cs typeface="+mn-cs"/>
              </a:defRPr>
            </a:lvl4pPr>
            <a:lvl5pPr marL="1330601" indent="-230406" algn="l" defTabSz="875169" rtl="0" eaLnBrk="1" latinLnBrk="0" hangingPunct="1">
              <a:lnSpc>
                <a:spcPct val="90000"/>
              </a:lnSpc>
              <a:spcBef>
                <a:spcPts val="479"/>
              </a:spcBef>
              <a:buFont typeface="System Font Regular"/>
              <a:buChar char="-"/>
              <a:tabLst/>
              <a:defRPr sz="953" kern="1200">
                <a:solidFill>
                  <a:schemeClr val="tx1"/>
                </a:solidFill>
                <a:latin typeface="+mn-lt"/>
                <a:ea typeface="+mn-ea"/>
                <a:cs typeface="+mn-cs"/>
              </a:defRPr>
            </a:lvl5pPr>
            <a:lvl6pPr marL="2406715" indent="-218792" algn="l" defTabSz="875169" rtl="0" eaLnBrk="1" latinLnBrk="0" hangingPunct="1">
              <a:lnSpc>
                <a:spcPct val="90000"/>
              </a:lnSpc>
              <a:spcBef>
                <a:spcPts val="479"/>
              </a:spcBef>
              <a:buFont typeface="Arial" panose="020B0604020202020204" pitchFamily="34" charset="0"/>
              <a:buChar char="•"/>
              <a:defRPr sz="1723" kern="1200">
                <a:solidFill>
                  <a:schemeClr val="tx1"/>
                </a:solidFill>
                <a:latin typeface="+mn-lt"/>
                <a:ea typeface="+mn-ea"/>
                <a:cs typeface="+mn-cs"/>
              </a:defRPr>
            </a:lvl6pPr>
            <a:lvl7pPr marL="2844301" indent="-218792" algn="l" defTabSz="875169" rtl="0" eaLnBrk="1" latinLnBrk="0" hangingPunct="1">
              <a:lnSpc>
                <a:spcPct val="90000"/>
              </a:lnSpc>
              <a:spcBef>
                <a:spcPts val="479"/>
              </a:spcBef>
              <a:buFont typeface="Arial" panose="020B0604020202020204" pitchFamily="34" charset="0"/>
              <a:buChar char="•"/>
              <a:defRPr sz="1723" kern="1200">
                <a:solidFill>
                  <a:schemeClr val="tx1"/>
                </a:solidFill>
                <a:latin typeface="+mn-lt"/>
                <a:ea typeface="+mn-ea"/>
                <a:cs typeface="+mn-cs"/>
              </a:defRPr>
            </a:lvl7pPr>
            <a:lvl8pPr marL="3281885" indent="-218792" algn="l" defTabSz="875169" rtl="0" eaLnBrk="1" latinLnBrk="0" hangingPunct="1">
              <a:lnSpc>
                <a:spcPct val="90000"/>
              </a:lnSpc>
              <a:spcBef>
                <a:spcPts val="479"/>
              </a:spcBef>
              <a:buFont typeface="Arial" panose="020B0604020202020204" pitchFamily="34" charset="0"/>
              <a:buChar char="•"/>
              <a:defRPr sz="1723" kern="1200">
                <a:solidFill>
                  <a:schemeClr val="tx1"/>
                </a:solidFill>
                <a:latin typeface="+mn-lt"/>
                <a:ea typeface="+mn-ea"/>
                <a:cs typeface="+mn-cs"/>
              </a:defRPr>
            </a:lvl8pPr>
            <a:lvl9pPr marL="3719470" indent="-218792" algn="l" defTabSz="875169" rtl="0" eaLnBrk="1" latinLnBrk="0" hangingPunct="1">
              <a:lnSpc>
                <a:spcPct val="90000"/>
              </a:lnSpc>
              <a:spcBef>
                <a:spcPts val="479"/>
              </a:spcBef>
              <a:buFont typeface="Arial" panose="020B0604020202020204" pitchFamily="34" charset="0"/>
              <a:buChar char="•"/>
              <a:defRPr sz="1723" kern="1200">
                <a:solidFill>
                  <a:schemeClr val="tx1"/>
                </a:solidFill>
                <a:latin typeface="+mn-lt"/>
                <a:ea typeface="+mn-ea"/>
                <a:cs typeface="+mn-cs"/>
              </a:defRPr>
            </a:lvl9pPr>
          </a:lstStyle>
          <a:p>
            <a:pPr marL="259232" indent="-259232" defTabSz="414772">
              <a:defRPr/>
            </a:pPr>
            <a:r>
              <a:rPr lang="et-EE" sz="1800">
                <a:solidFill>
                  <a:srgbClr val="000000"/>
                </a:solidFill>
                <a:latin typeface="Calibri" panose="020F0502020204030204"/>
              </a:rPr>
              <a:t>Valdavalt on vähemalt 2030. aastani investeeringud meretuuleparkidesse kavandatud EL liikmesriikides </a:t>
            </a:r>
            <a:r>
              <a:rPr lang="et-EE" sz="1800" err="1">
                <a:solidFill>
                  <a:srgbClr val="000000"/>
                </a:solidFill>
                <a:latin typeface="Calibri" panose="020F0502020204030204"/>
              </a:rPr>
              <a:t>CfD-ga</a:t>
            </a:r>
            <a:endParaRPr lang="et-EE" sz="1800">
              <a:solidFill>
                <a:srgbClr val="000000"/>
              </a:solidFill>
              <a:latin typeface="Calibri" panose="020F0502020204030204"/>
            </a:endParaRPr>
          </a:p>
          <a:p>
            <a:pPr marL="259232" indent="-259232" defTabSz="414772">
              <a:defRPr/>
            </a:pPr>
            <a:r>
              <a:rPr lang="et-EE" sz="1800" err="1">
                <a:solidFill>
                  <a:srgbClr val="000000"/>
                </a:solidFill>
                <a:latin typeface="Calibri" panose="020F0502020204030204"/>
              </a:rPr>
              <a:t>CfD</a:t>
            </a:r>
            <a:r>
              <a:rPr lang="et-EE" sz="1800">
                <a:solidFill>
                  <a:srgbClr val="000000"/>
                </a:solidFill>
                <a:latin typeface="Calibri" panose="020F0502020204030204"/>
              </a:rPr>
              <a:t>-de maht on suurem kui on meretuuleenergia tarneahela tootmisvõimekus. Konkreetsed </a:t>
            </a:r>
            <a:r>
              <a:rPr lang="et-EE" sz="1800" err="1">
                <a:solidFill>
                  <a:srgbClr val="000000"/>
                </a:solidFill>
                <a:latin typeface="Calibri" panose="020F0502020204030204"/>
              </a:rPr>
              <a:t>CfD</a:t>
            </a:r>
            <a:r>
              <a:rPr lang="et-EE" sz="1800">
                <a:solidFill>
                  <a:srgbClr val="000000"/>
                </a:solidFill>
                <a:latin typeface="Calibri" panose="020F0502020204030204"/>
              </a:rPr>
              <a:t>-de plaanid on välja öelnud riigid, millel on niikuinii pikaajaline meretuuleparkide rajamise kogemus</a:t>
            </a:r>
            <a:endParaRPr lang="en-US" sz="1800">
              <a:solidFill>
                <a:srgbClr val="000000"/>
              </a:solidFill>
              <a:latin typeface="Calibri" panose="020F0502020204030204"/>
            </a:endParaRPr>
          </a:p>
        </p:txBody>
      </p:sp>
      <p:sp>
        <p:nvSpPr>
          <p:cNvPr id="73" name="Slide Number Placeholder 3">
            <a:extLst>
              <a:ext uri="{FF2B5EF4-FFF2-40B4-BE49-F238E27FC236}">
                <a16:creationId xmlns:a16="http://schemas.microsoft.com/office/drawing/2014/main" id="{0BF2E6A3-A1D6-2257-1878-56991AEE9B3F}"/>
              </a:ext>
            </a:extLst>
          </p:cNvPr>
          <p:cNvSpPr txBox="1">
            <a:spLocks/>
          </p:cNvSpPr>
          <p:nvPr/>
        </p:nvSpPr>
        <p:spPr>
          <a:xfrm>
            <a:off x="10991797" y="6549503"/>
            <a:ext cx="560680" cy="173925"/>
          </a:xfrm>
          <a:prstGeom prst="rect">
            <a:avLst/>
          </a:prstGeom>
        </p:spPr>
        <p:txBody>
          <a:bodyPr vert="horz" lIns="91440" tIns="45720" rIns="91440" bIns="45720" rtlCol="0" anchor="ctr"/>
          <a:lstStyle>
            <a:defPPr>
              <a:defRPr lang="en-US"/>
            </a:defPPr>
            <a:lvl1pPr marL="0" algn="r" defTabSz="914400" rtl="0" eaLnBrk="1" latinLnBrk="0" hangingPunct="1">
              <a:defRPr sz="1149" kern="1200">
                <a:solidFill>
                  <a:srgbClr val="70737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14772" rtl="0" eaLnBrk="1" fontAlgn="auto" latinLnBrk="0" hangingPunct="1">
              <a:lnSpc>
                <a:spcPct val="100000"/>
              </a:lnSpc>
              <a:spcBef>
                <a:spcPts val="0"/>
              </a:spcBef>
              <a:spcAft>
                <a:spcPts val="0"/>
              </a:spcAft>
              <a:buClrTx/>
              <a:buSzTx/>
              <a:buFontTx/>
              <a:buNone/>
              <a:tabLst/>
              <a:defRPr/>
            </a:pPr>
            <a:fld id="{F3F250AB-27C9-4843-B305-22ABF7AC8460}" type="slidenum">
              <a:rPr kumimoji="0" lang="et-EE" sz="1149" b="0" i="0" u="none" strike="noStrike" kern="1200" cap="none" spc="0" normalizeH="0" baseline="0" noProof="0" smtClean="0">
                <a:ln>
                  <a:noFill/>
                </a:ln>
                <a:solidFill>
                  <a:srgbClr val="707372"/>
                </a:solidFill>
                <a:effectLst/>
                <a:uLnTx/>
                <a:uFillTx/>
                <a:latin typeface="Calibri" panose="020F0502020204030204"/>
                <a:ea typeface="+mn-ea"/>
                <a:cs typeface="+mn-cs"/>
              </a:rPr>
              <a:pPr marL="0" marR="0" lvl="0" indent="0" algn="r" defTabSz="414772" rtl="0" eaLnBrk="1" fontAlgn="auto" latinLnBrk="0" hangingPunct="1">
                <a:lnSpc>
                  <a:spcPct val="100000"/>
                </a:lnSpc>
                <a:spcBef>
                  <a:spcPts val="0"/>
                </a:spcBef>
                <a:spcAft>
                  <a:spcPts val="0"/>
                </a:spcAft>
                <a:buClrTx/>
                <a:buSzTx/>
                <a:buFontTx/>
                <a:buNone/>
                <a:tabLst/>
                <a:defRPr/>
              </a:pPr>
              <a:t>16</a:t>
            </a:fld>
            <a:endParaRPr kumimoji="0" lang="et-EE" sz="1149" b="0" i="0" u="none" strike="noStrike" kern="1200" cap="none" spc="0" normalizeH="0" baseline="0" noProof="0">
              <a:ln>
                <a:noFill/>
              </a:ln>
              <a:solidFill>
                <a:srgbClr val="707372"/>
              </a:solidFill>
              <a:effectLst/>
              <a:uLnTx/>
              <a:uFillTx/>
              <a:latin typeface="Calibri" panose="020F0502020204030204"/>
              <a:ea typeface="+mn-ea"/>
              <a:cs typeface="+mn-cs"/>
            </a:endParaRPr>
          </a:p>
        </p:txBody>
      </p:sp>
      <p:sp>
        <p:nvSpPr>
          <p:cNvPr id="74" name="TextBox 73">
            <a:extLst>
              <a:ext uri="{FF2B5EF4-FFF2-40B4-BE49-F238E27FC236}">
                <a16:creationId xmlns:a16="http://schemas.microsoft.com/office/drawing/2014/main" id="{39C159D9-3580-F287-A379-D9166DAF5ACA}"/>
              </a:ext>
            </a:extLst>
          </p:cNvPr>
          <p:cNvSpPr txBox="1"/>
          <p:nvPr/>
        </p:nvSpPr>
        <p:spPr>
          <a:xfrm>
            <a:off x="4656820" y="1295451"/>
            <a:ext cx="2852030" cy="822978"/>
          </a:xfrm>
          <a:prstGeom prst="rect">
            <a:avLst/>
          </a:prstGeom>
          <a:solidFill>
            <a:srgbClr val="A2C02F">
              <a:lumMod val="20000"/>
              <a:lumOff val="80000"/>
            </a:srgbClr>
          </a:solidFill>
        </p:spPr>
        <p:txBody>
          <a:bodyPr vert="horz" wrap="square" lIns="32658" tIns="32658" rIns="32658" bIns="32658" rtlCol="0" anchor="t">
            <a:noAutofit/>
          </a:bodyPr>
          <a:lstStyle/>
          <a:p>
            <a:pPr marL="0" marR="0" lvl="0" indent="0" defTabSz="414772" eaLnBrk="1" fontAlgn="auto" latinLnBrk="0" hangingPunct="1">
              <a:lnSpc>
                <a:spcPct val="100000"/>
              </a:lnSpc>
              <a:spcBef>
                <a:spcPts val="0"/>
              </a:spcBef>
              <a:spcAft>
                <a:spcPts val="0"/>
              </a:spcAft>
              <a:buClrTx/>
              <a:buSzTx/>
              <a:buFontTx/>
              <a:buNone/>
              <a:tabLst/>
              <a:defRPr/>
            </a:pPr>
            <a:r>
              <a:rPr kumimoji="0" lang="et-EE" sz="900" b="1" i="0" u="none" strike="noStrike" kern="0" cap="none" spc="0" normalizeH="0" baseline="0" noProof="0">
                <a:ln>
                  <a:noFill/>
                </a:ln>
                <a:solidFill>
                  <a:srgbClr val="000000"/>
                </a:solidFill>
                <a:effectLst/>
                <a:uLnTx/>
                <a:uFillTx/>
              </a:rPr>
              <a:t>Juba töös: &lt;0.1GW (9 tuulikut)</a:t>
            </a:r>
          </a:p>
          <a:p>
            <a:pPr marL="0" marR="0" lvl="0" indent="0" defTabSz="414772" eaLnBrk="1" fontAlgn="auto" latinLnBrk="0" hangingPunct="1">
              <a:lnSpc>
                <a:spcPct val="100000"/>
              </a:lnSpc>
              <a:spcBef>
                <a:spcPts val="0"/>
              </a:spcBef>
              <a:spcAft>
                <a:spcPts val="0"/>
              </a:spcAft>
              <a:buClrTx/>
              <a:buSzTx/>
              <a:buFontTx/>
              <a:buNone/>
              <a:tabLst/>
              <a:defRPr/>
            </a:pPr>
            <a:r>
              <a:rPr kumimoji="0" lang="et-EE" sz="900" b="1" i="0" u="none" strike="noStrike" kern="0" cap="none" spc="0" normalizeH="0" baseline="0" noProof="0">
                <a:ln>
                  <a:noFill/>
                </a:ln>
                <a:solidFill>
                  <a:srgbClr val="000000"/>
                </a:solidFill>
                <a:effectLst/>
                <a:uLnTx/>
                <a:uFillTx/>
              </a:rPr>
              <a:t>Meretuule eesmärk 2030: 3.1GW</a:t>
            </a:r>
          </a:p>
          <a:p>
            <a:pPr marL="0" marR="0" lvl="0" indent="0" defTabSz="414772" eaLnBrk="1" fontAlgn="auto" latinLnBrk="0" hangingPunct="1">
              <a:lnSpc>
                <a:spcPct val="100000"/>
              </a:lnSpc>
              <a:spcBef>
                <a:spcPts val="0"/>
              </a:spcBef>
              <a:spcAft>
                <a:spcPts val="0"/>
              </a:spcAft>
              <a:buClrTx/>
              <a:buSzTx/>
              <a:buFontTx/>
              <a:buNone/>
              <a:tabLst/>
              <a:defRPr/>
            </a:pPr>
            <a:endParaRPr kumimoji="0" lang="et-EE" sz="900" b="1" i="0" u="none" strike="noStrike" kern="0" cap="none" spc="0" normalizeH="0" baseline="0" noProof="0">
              <a:ln>
                <a:noFill/>
              </a:ln>
              <a:solidFill>
                <a:srgbClr val="000000"/>
              </a:solidFill>
              <a:effectLst/>
              <a:uLnTx/>
              <a:uFillTx/>
            </a:endParaRPr>
          </a:p>
          <a:p>
            <a:pPr marL="155539" marR="0" lvl="0" indent="-155539" algn="just" defTabSz="414772" eaLnBrk="1" fontAlgn="auto" latinLnBrk="0" hangingPunct="1">
              <a:lnSpc>
                <a:spcPct val="90000"/>
              </a:lnSpc>
              <a:spcBef>
                <a:spcPts val="0"/>
              </a:spcBef>
              <a:spcAft>
                <a:spcPts val="0"/>
              </a:spcAft>
              <a:buClrTx/>
              <a:buSzTx/>
              <a:buFontTx/>
              <a:buChar char="-"/>
              <a:tabLst/>
              <a:defRPr/>
            </a:pPr>
            <a:r>
              <a:rPr kumimoji="0" lang="et-EE" sz="900" b="0" i="0" u="none" strike="noStrike" kern="0" cap="none" spc="0" normalizeH="0" baseline="0" noProof="0">
                <a:ln>
                  <a:noFill/>
                </a:ln>
                <a:solidFill>
                  <a:srgbClr val="000000"/>
                </a:solidFill>
                <a:effectLst/>
                <a:uLnTx/>
                <a:uFillTx/>
              </a:rPr>
              <a:t>2023 oksjon 1.5GW-le kasutades </a:t>
            </a:r>
            <a:r>
              <a:rPr kumimoji="0" lang="et-EE" sz="900" b="0" i="0" u="none" strike="noStrike" kern="0" cap="none" spc="0" normalizeH="0" baseline="0" noProof="0" err="1">
                <a:ln>
                  <a:noFill/>
                </a:ln>
                <a:solidFill>
                  <a:srgbClr val="000000"/>
                </a:solidFill>
                <a:effectLst/>
                <a:uLnTx/>
                <a:uFillTx/>
              </a:rPr>
              <a:t>CfD</a:t>
            </a:r>
            <a:endParaRPr kumimoji="0" lang="et-EE" sz="900" b="0" i="0" u="none" strike="noStrike" kern="0" cap="none" spc="0" normalizeH="0" baseline="0" noProof="0">
              <a:ln>
                <a:noFill/>
              </a:ln>
              <a:solidFill>
                <a:srgbClr val="000000"/>
              </a:solidFill>
              <a:effectLst/>
              <a:uLnTx/>
              <a:uFillTx/>
            </a:endParaRPr>
          </a:p>
        </p:txBody>
      </p:sp>
      <p:sp>
        <p:nvSpPr>
          <p:cNvPr id="75" name="TextBox 74">
            <a:extLst>
              <a:ext uri="{FF2B5EF4-FFF2-40B4-BE49-F238E27FC236}">
                <a16:creationId xmlns:a16="http://schemas.microsoft.com/office/drawing/2014/main" id="{CEED9058-4A76-A59E-7549-EA97E8963CCC}"/>
              </a:ext>
            </a:extLst>
          </p:cNvPr>
          <p:cNvSpPr txBox="1"/>
          <p:nvPr/>
        </p:nvSpPr>
        <p:spPr>
          <a:xfrm>
            <a:off x="4656820" y="1103719"/>
            <a:ext cx="2852030" cy="191732"/>
          </a:xfrm>
          <a:prstGeom prst="rect">
            <a:avLst/>
          </a:prstGeom>
          <a:solidFill>
            <a:srgbClr val="A2C02F">
              <a:lumMod val="50000"/>
            </a:srgbClr>
          </a:solidFill>
        </p:spPr>
        <p:txBody>
          <a:bodyPr vert="horz" wrap="square" lIns="32658" tIns="32658" rIns="32658" bIns="32658" rtlCol="0" anchor="ctr">
            <a:noAutofit/>
          </a:bodyPr>
          <a:lstStyle/>
          <a:p>
            <a:pPr marL="407571" marR="0" lvl="0" indent="0" defTabSz="414772" eaLnBrk="1" fontAlgn="auto" latinLnBrk="0" hangingPunct="1">
              <a:lnSpc>
                <a:spcPct val="100000"/>
              </a:lnSpc>
              <a:spcBef>
                <a:spcPts val="0"/>
              </a:spcBef>
              <a:spcAft>
                <a:spcPts val="0"/>
              </a:spcAft>
              <a:buClrTx/>
              <a:buSzTx/>
              <a:buFontTx/>
              <a:buNone/>
              <a:tabLst/>
              <a:defRPr/>
            </a:pPr>
            <a:r>
              <a:rPr kumimoji="0" lang="et-EE" sz="900" b="1" i="0" u="none" strike="noStrike" kern="0" cap="none" spc="0" normalizeH="0" baseline="0" noProof="0">
                <a:ln>
                  <a:noFill/>
                </a:ln>
                <a:solidFill>
                  <a:srgbClr val="FFFFFF"/>
                </a:solidFill>
                <a:effectLst/>
                <a:uLnTx/>
                <a:uFillTx/>
              </a:rPr>
              <a:t>Norra</a:t>
            </a:r>
            <a:endParaRPr kumimoji="0" lang="et-EE" sz="900" b="0" i="0" u="none" strike="noStrike" kern="0" cap="none" spc="0" normalizeH="0" baseline="0" noProof="0">
              <a:ln>
                <a:noFill/>
              </a:ln>
              <a:solidFill>
                <a:srgbClr val="FFFFFF"/>
              </a:solidFill>
              <a:effectLst/>
              <a:uLnTx/>
              <a:uFillTx/>
            </a:endParaRPr>
          </a:p>
        </p:txBody>
      </p:sp>
      <p:pic>
        <p:nvPicPr>
          <p:cNvPr id="76" name="Picture 75" descr="A picture containing transport, aircraft, balloon&#10;&#10;Description automatically generated">
            <a:extLst>
              <a:ext uri="{FF2B5EF4-FFF2-40B4-BE49-F238E27FC236}">
                <a16:creationId xmlns:a16="http://schemas.microsoft.com/office/drawing/2014/main" id="{5D6C6EF8-32EB-E438-7F37-C518852FE83A}"/>
              </a:ext>
            </a:extLst>
          </p:cNvPr>
          <p:cNvPicPr>
            <a:picLocks noChangeAspect="1"/>
          </p:cNvPicPr>
          <p:nvPr/>
        </p:nvPicPr>
        <p:blipFill>
          <a:blip r:embed="rId3"/>
          <a:stretch>
            <a:fillRect/>
          </a:stretch>
        </p:blipFill>
        <p:spPr>
          <a:xfrm>
            <a:off x="4590569" y="1027546"/>
            <a:ext cx="347013" cy="347013"/>
          </a:xfrm>
          <a:prstGeom prst="rect">
            <a:avLst/>
          </a:prstGeom>
        </p:spPr>
      </p:pic>
      <p:sp>
        <p:nvSpPr>
          <p:cNvPr id="77" name="TextBox 76">
            <a:extLst>
              <a:ext uri="{FF2B5EF4-FFF2-40B4-BE49-F238E27FC236}">
                <a16:creationId xmlns:a16="http://schemas.microsoft.com/office/drawing/2014/main" id="{F63EB8B2-DF6E-5EC4-EC12-D3CE8F2D7540}"/>
              </a:ext>
            </a:extLst>
          </p:cNvPr>
          <p:cNvSpPr txBox="1"/>
          <p:nvPr/>
        </p:nvSpPr>
        <p:spPr>
          <a:xfrm>
            <a:off x="4668941" y="2349118"/>
            <a:ext cx="2852030" cy="759114"/>
          </a:xfrm>
          <a:prstGeom prst="rect">
            <a:avLst/>
          </a:prstGeom>
          <a:solidFill>
            <a:srgbClr val="FFFFFF">
              <a:lumMod val="95000"/>
            </a:srgbClr>
          </a:solidFill>
        </p:spPr>
        <p:txBody>
          <a:bodyPr vert="horz" wrap="square" lIns="32658" tIns="32658" rIns="32658" bIns="32658" rtlCol="0" anchor="t">
            <a:noAutofit/>
          </a:bodyPr>
          <a:lstStyle/>
          <a:p>
            <a:pPr marL="0" marR="0" lvl="0" indent="0" defTabSz="414772" eaLnBrk="1" fontAlgn="auto" latinLnBrk="0" hangingPunct="1">
              <a:lnSpc>
                <a:spcPct val="100000"/>
              </a:lnSpc>
              <a:spcBef>
                <a:spcPts val="0"/>
              </a:spcBef>
              <a:spcAft>
                <a:spcPts val="0"/>
              </a:spcAft>
              <a:buClrTx/>
              <a:buSzTx/>
              <a:buFontTx/>
              <a:buNone/>
              <a:tabLst/>
              <a:defRPr/>
            </a:pPr>
            <a:r>
              <a:rPr kumimoji="0" lang="et-EE" sz="900" b="1" i="0" u="none" strike="noStrike" kern="0" cap="none" spc="0" normalizeH="0" baseline="0" noProof="0">
                <a:ln>
                  <a:noFill/>
                </a:ln>
                <a:solidFill>
                  <a:srgbClr val="000000"/>
                </a:solidFill>
                <a:effectLst/>
                <a:uLnTx/>
                <a:uFillTx/>
              </a:rPr>
              <a:t>Juba töös: 2.3W (631 tuulikut)</a:t>
            </a:r>
          </a:p>
          <a:p>
            <a:pPr marL="0" marR="0" lvl="0" indent="0" defTabSz="414772" eaLnBrk="1" fontAlgn="auto" latinLnBrk="0" hangingPunct="1">
              <a:lnSpc>
                <a:spcPct val="100000"/>
              </a:lnSpc>
              <a:spcBef>
                <a:spcPts val="0"/>
              </a:spcBef>
              <a:spcAft>
                <a:spcPts val="0"/>
              </a:spcAft>
              <a:buClrTx/>
              <a:buSzTx/>
              <a:buFontTx/>
              <a:buNone/>
              <a:tabLst/>
              <a:defRPr/>
            </a:pPr>
            <a:r>
              <a:rPr kumimoji="0" lang="et-EE" sz="900" b="1" i="0" u="none" strike="noStrike" kern="0" cap="none" spc="0" normalizeH="0" baseline="0" noProof="0">
                <a:ln>
                  <a:noFill/>
                </a:ln>
                <a:solidFill>
                  <a:srgbClr val="000000"/>
                </a:solidFill>
                <a:effectLst/>
                <a:uLnTx/>
                <a:uFillTx/>
              </a:rPr>
              <a:t>Meretuule eesmärk 2030: 14.2GW (Põhja- ja Läänemeri</a:t>
            </a:r>
            <a:r>
              <a:rPr kumimoji="0" lang="et-EE" sz="900" b="0" i="0" u="none" strike="noStrike" kern="0" cap="none" spc="0" normalizeH="0" baseline="0" noProof="0">
                <a:ln>
                  <a:noFill/>
                </a:ln>
                <a:solidFill>
                  <a:srgbClr val="000000"/>
                </a:solidFill>
                <a:effectLst/>
                <a:uLnTx/>
                <a:uFillTx/>
              </a:rPr>
              <a:t>)</a:t>
            </a:r>
          </a:p>
          <a:p>
            <a:pPr marL="155539" marR="0" lvl="0" indent="-155539" algn="just" defTabSz="414772" eaLnBrk="1" fontAlgn="auto" latinLnBrk="0" hangingPunct="1">
              <a:lnSpc>
                <a:spcPct val="100000"/>
              </a:lnSpc>
              <a:spcBef>
                <a:spcPts val="0"/>
              </a:spcBef>
              <a:spcAft>
                <a:spcPts val="0"/>
              </a:spcAft>
              <a:buClrTx/>
              <a:buSzTx/>
              <a:buFontTx/>
              <a:buChar char="-"/>
              <a:tabLst/>
              <a:defRPr/>
            </a:pPr>
            <a:r>
              <a:rPr kumimoji="0" lang="et-EE" sz="900" b="0" i="0" u="none" strike="noStrike" kern="0" cap="none" spc="0" normalizeH="0" baseline="0" noProof="0">
                <a:ln>
                  <a:noFill/>
                </a:ln>
                <a:solidFill>
                  <a:srgbClr val="000000"/>
                </a:solidFill>
                <a:effectLst/>
                <a:uLnTx/>
                <a:uFillTx/>
              </a:rPr>
              <a:t>Taanis on kehtestatud 20-aastane </a:t>
            </a:r>
            <a:r>
              <a:rPr kumimoji="0" lang="et-EE" sz="900" b="0" i="0" u="none" strike="noStrike" kern="0" cap="none" spc="0" normalizeH="0" baseline="0" noProof="0" err="1">
                <a:ln>
                  <a:noFill/>
                </a:ln>
                <a:solidFill>
                  <a:srgbClr val="000000"/>
                </a:solidFill>
                <a:effectLst/>
                <a:uLnTx/>
                <a:uFillTx/>
              </a:rPr>
              <a:t>CfD</a:t>
            </a:r>
            <a:endParaRPr kumimoji="0" lang="et-EE" sz="900" b="0" i="0" u="none" strike="noStrike" kern="0" cap="none" spc="0" normalizeH="0" baseline="0" noProof="0">
              <a:ln>
                <a:noFill/>
              </a:ln>
              <a:solidFill>
                <a:srgbClr val="000000"/>
              </a:solidFill>
              <a:effectLst/>
              <a:uLnTx/>
              <a:uFillTx/>
            </a:endParaRPr>
          </a:p>
          <a:p>
            <a:pPr marL="155539" marR="0" lvl="0" indent="-155539" algn="just" defTabSz="414772" eaLnBrk="1" fontAlgn="auto" latinLnBrk="0" hangingPunct="1">
              <a:lnSpc>
                <a:spcPct val="100000"/>
              </a:lnSpc>
              <a:spcBef>
                <a:spcPts val="0"/>
              </a:spcBef>
              <a:spcAft>
                <a:spcPts val="0"/>
              </a:spcAft>
              <a:buClrTx/>
              <a:buSzTx/>
              <a:buFontTx/>
              <a:buChar char="-"/>
              <a:tabLst/>
              <a:defRPr/>
            </a:pPr>
            <a:endParaRPr kumimoji="0" lang="et-EE" sz="900" b="0" i="0" u="none" strike="noStrike" kern="0" cap="none" spc="0" normalizeH="0" baseline="0" noProof="0">
              <a:ln>
                <a:noFill/>
              </a:ln>
              <a:solidFill>
                <a:srgbClr val="000000"/>
              </a:solidFill>
              <a:effectLst/>
              <a:uLnTx/>
              <a:uFillTx/>
            </a:endParaRPr>
          </a:p>
        </p:txBody>
      </p:sp>
      <p:sp>
        <p:nvSpPr>
          <p:cNvPr id="78" name="TextBox 77">
            <a:extLst>
              <a:ext uri="{FF2B5EF4-FFF2-40B4-BE49-F238E27FC236}">
                <a16:creationId xmlns:a16="http://schemas.microsoft.com/office/drawing/2014/main" id="{191A7588-ED82-92B0-8966-9CA781EEEBB4}"/>
              </a:ext>
            </a:extLst>
          </p:cNvPr>
          <p:cNvSpPr txBox="1"/>
          <p:nvPr/>
        </p:nvSpPr>
        <p:spPr>
          <a:xfrm>
            <a:off x="4668941" y="2163866"/>
            <a:ext cx="2852030" cy="191732"/>
          </a:xfrm>
          <a:prstGeom prst="rect">
            <a:avLst/>
          </a:prstGeom>
          <a:solidFill>
            <a:srgbClr val="FFFFFF">
              <a:lumMod val="75000"/>
            </a:srgbClr>
          </a:solidFill>
        </p:spPr>
        <p:txBody>
          <a:bodyPr vert="horz" wrap="square" lIns="32658" tIns="32658" rIns="32658" bIns="32658" rtlCol="0" anchor="ctr">
            <a:noAutofit/>
          </a:bodyPr>
          <a:lstStyle/>
          <a:p>
            <a:pPr marL="407571" marR="0" lvl="0" indent="0" defTabSz="414772" eaLnBrk="1" fontAlgn="auto" latinLnBrk="0" hangingPunct="1">
              <a:lnSpc>
                <a:spcPct val="100000"/>
              </a:lnSpc>
              <a:spcBef>
                <a:spcPts val="0"/>
              </a:spcBef>
              <a:spcAft>
                <a:spcPts val="0"/>
              </a:spcAft>
              <a:buClrTx/>
              <a:buSzTx/>
              <a:buFontTx/>
              <a:buNone/>
              <a:tabLst/>
              <a:defRPr/>
            </a:pPr>
            <a:r>
              <a:rPr kumimoji="0" lang="et-EE" sz="900" b="1" i="0" u="none" strike="noStrike" kern="0" cap="none" spc="0" normalizeH="0" baseline="0" noProof="0">
                <a:ln>
                  <a:noFill/>
                </a:ln>
                <a:solidFill>
                  <a:srgbClr val="FFFFFF"/>
                </a:solidFill>
                <a:effectLst/>
                <a:uLnTx/>
                <a:uFillTx/>
              </a:rPr>
              <a:t>Taani</a:t>
            </a:r>
          </a:p>
        </p:txBody>
      </p:sp>
      <p:pic>
        <p:nvPicPr>
          <p:cNvPr id="79" name="Picture 78" descr="A red and white flag&#10;&#10;Description automatically generated with medium confidence">
            <a:extLst>
              <a:ext uri="{FF2B5EF4-FFF2-40B4-BE49-F238E27FC236}">
                <a16:creationId xmlns:a16="http://schemas.microsoft.com/office/drawing/2014/main" id="{281B3DD0-BA0A-4BB7-7CDA-9B2C28C00CB9}"/>
              </a:ext>
            </a:extLst>
          </p:cNvPr>
          <p:cNvPicPr>
            <a:picLocks noChangeAspect="1"/>
          </p:cNvPicPr>
          <p:nvPr/>
        </p:nvPicPr>
        <p:blipFill>
          <a:blip r:embed="rId4"/>
          <a:stretch>
            <a:fillRect/>
          </a:stretch>
        </p:blipFill>
        <p:spPr>
          <a:xfrm>
            <a:off x="4564829" y="2061053"/>
            <a:ext cx="347013" cy="347013"/>
          </a:xfrm>
          <a:prstGeom prst="rect">
            <a:avLst/>
          </a:prstGeom>
        </p:spPr>
      </p:pic>
      <p:sp>
        <p:nvSpPr>
          <p:cNvPr id="80" name="TextBox 79">
            <a:extLst>
              <a:ext uri="{FF2B5EF4-FFF2-40B4-BE49-F238E27FC236}">
                <a16:creationId xmlns:a16="http://schemas.microsoft.com/office/drawing/2014/main" id="{CF88AC4B-E0A4-40EE-3E86-8393692859A7}"/>
              </a:ext>
            </a:extLst>
          </p:cNvPr>
          <p:cNvSpPr txBox="1"/>
          <p:nvPr/>
        </p:nvSpPr>
        <p:spPr>
          <a:xfrm>
            <a:off x="7706060" y="2312181"/>
            <a:ext cx="2852031" cy="1035991"/>
          </a:xfrm>
          <a:prstGeom prst="rect">
            <a:avLst/>
          </a:prstGeom>
          <a:solidFill>
            <a:srgbClr val="A2C02F">
              <a:lumMod val="20000"/>
              <a:lumOff val="80000"/>
            </a:srgbClr>
          </a:solidFill>
        </p:spPr>
        <p:txBody>
          <a:bodyPr vert="horz" wrap="square" lIns="32658" tIns="32658" rIns="32658" bIns="32658" rtlCol="0" anchor="t">
            <a:noAutofit/>
          </a:bodyPr>
          <a:lstStyle/>
          <a:p>
            <a:pPr marL="0" marR="0" lvl="0" indent="0" defTabSz="414772" eaLnBrk="1" fontAlgn="auto" latinLnBrk="0" hangingPunct="1">
              <a:lnSpc>
                <a:spcPct val="100000"/>
              </a:lnSpc>
              <a:spcBef>
                <a:spcPts val="0"/>
              </a:spcBef>
              <a:spcAft>
                <a:spcPts val="0"/>
              </a:spcAft>
              <a:buClrTx/>
              <a:buSzTx/>
              <a:buFontTx/>
              <a:buNone/>
              <a:tabLst/>
              <a:defRPr/>
            </a:pPr>
            <a:r>
              <a:rPr kumimoji="0" lang="et-EE" sz="900" b="1" i="0" u="none" strike="noStrike" kern="0" cap="none" spc="0" normalizeH="0" baseline="0" noProof="0">
                <a:ln>
                  <a:noFill/>
                </a:ln>
                <a:solidFill>
                  <a:srgbClr val="000000"/>
                </a:solidFill>
                <a:effectLst/>
                <a:uLnTx/>
                <a:uFillTx/>
              </a:rPr>
              <a:t>Juba töös: 8.6GW (1539 tuulikut)</a:t>
            </a:r>
          </a:p>
          <a:p>
            <a:pPr marL="0" marR="0" lvl="0" indent="0" defTabSz="414772" eaLnBrk="1" fontAlgn="auto" latinLnBrk="0" hangingPunct="1">
              <a:lnSpc>
                <a:spcPct val="100000"/>
              </a:lnSpc>
              <a:spcBef>
                <a:spcPts val="0"/>
              </a:spcBef>
              <a:spcAft>
                <a:spcPts val="0"/>
              </a:spcAft>
              <a:buClrTx/>
              <a:buSzTx/>
              <a:buFontTx/>
              <a:buNone/>
              <a:tabLst/>
              <a:defRPr/>
            </a:pPr>
            <a:r>
              <a:rPr kumimoji="0" lang="et-EE" sz="900" b="1" i="0" u="none" strike="noStrike" kern="0" cap="none" spc="0" normalizeH="0" baseline="0" noProof="0">
                <a:ln>
                  <a:noFill/>
                </a:ln>
                <a:solidFill>
                  <a:srgbClr val="000000"/>
                </a:solidFill>
                <a:effectLst/>
                <a:uLnTx/>
                <a:uFillTx/>
              </a:rPr>
              <a:t>Meretuule eesmärk 2030: 30.5GW (Põhja- ja Läänemeri)</a:t>
            </a:r>
          </a:p>
          <a:p>
            <a:pPr marL="155539" marR="0" lvl="0" indent="-155539" defTabSz="414772" eaLnBrk="1" fontAlgn="auto" latinLnBrk="0" hangingPunct="1">
              <a:lnSpc>
                <a:spcPct val="90000"/>
              </a:lnSpc>
              <a:spcBef>
                <a:spcPts val="0"/>
              </a:spcBef>
              <a:spcAft>
                <a:spcPts val="0"/>
              </a:spcAft>
              <a:buClrTx/>
              <a:buSzTx/>
              <a:buFontTx/>
              <a:buChar char="-"/>
              <a:tabLst/>
              <a:defRPr/>
            </a:pPr>
            <a:r>
              <a:rPr kumimoji="0" lang="et-EE" sz="900" b="0" i="0" u="none" strike="noStrike" kern="0" cap="none" spc="0" normalizeH="0" baseline="0" noProof="0">
                <a:ln>
                  <a:noFill/>
                </a:ln>
                <a:solidFill>
                  <a:srgbClr val="000000"/>
                </a:solidFill>
                <a:effectLst/>
                <a:uLnTx/>
                <a:uFillTx/>
              </a:rPr>
              <a:t>Saksamaa kasutab turupreemiapõhist toetussüsteem</a:t>
            </a:r>
          </a:p>
          <a:p>
            <a:pPr marL="155539" marR="0" lvl="0" indent="-155539" defTabSz="414772" eaLnBrk="1" fontAlgn="auto" latinLnBrk="0" hangingPunct="1">
              <a:lnSpc>
                <a:spcPct val="90000"/>
              </a:lnSpc>
              <a:spcBef>
                <a:spcPts val="0"/>
              </a:spcBef>
              <a:spcAft>
                <a:spcPts val="0"/>
              </a:spcAft>
              <a:buClrTx/>
              <a:buSzTx/>
              <a:buFontTx/>
              <a:buChar char="-"/>
              <a:tabLst/>
              <a:defRPr/>
            </a:pPr>
            <a:r>
              <a:rPr kumimoji="0" lang="et-EE" sz="900" b="0" i="0" u="none" strike="noStrike" kern="0" cap="none" spc="0" normalizeH="0" baseline="0" noProof="0">
                <a:ln>
                  <a:noFill/>
                </a:ln>
                <a:solidFill>
                  <a:srgbClr val="000000"/>
                </a:solidFill>
                <a:effectLst/>
                <a:uLnTx/>
                <a:uFillTx/>
              </a:rPr>
              <a:t>2023. aastal toimub 7 GW võimsuse enampakkumine</a:t>
            </a:r>
          </a:p>
        </p:txBody>
      </p:sp>
      <p:sp>
        <p:nvSpPr>
          <p:cNvPr id="81" name="TextBox 80">
            <a:extLst>
              <a:ext uri="{FF2B5EF4-FFF2-40B4-BE49-F238E27FC236}">
                <a16:creationId xmlns:a16="http://schemas.microsoft.com/office/drawing/2014/main" id="{63FA8E61-D583-0D92-2560-7EE5E4C7A383}"/>
              </a:ext>
            </a:extLst>
          </p:cNvPr>
          <p:cNvSpPr txBox="1"/>
          <p:nvPr/>
        </p:nvSpPr>
        <p:spPr>
          <a:xfrm>
            <a:off x="7706060" y="2108718"/>
            <a:ext cx="2852031" cy="191732"/>
          </a:xfrm>
          <a:prstGeom prst="rect">
            <a:avLst/>
          </a:prstGeom>
          <a:solidFill>
            <a:srgbClr val="A2C02F">
              <a:lumMod val="50000"/>
            </a:srgbClr>
          </a:solidFill>
        </p:spPr>
        <p:txBody>
          <a:bodyPr vert="horz" wrap="square" lIns="32658" tIns="32658" rIns="32658" bIns="32658" rtlCol="0" anchor="ctr">
            <a:noAutofit/>
          </a:bodyPr>
          <a:lstStyle/>
          <a:p>
            <a:pPr marL="407571" marR="0" lvl="0" indent="0" defTabSz="414772" eaLnBrk="1" fontAlgn="auto" latinLnBrk="0" hangingPunct="1">
              <a:lnSpc>
                <a:spcPct val="100000"/>
              </a:lnSpc>
              <a:spcBef>
                <a:spcPts val="0"/>
              </a:spcBef>
              <a:spcAft>
                <a:spcPts val="0"/>
              </a:spcAft>
              <a:buClrTx/>
              <a:buSzTx/>
              <a:buFontTx/>
              <a:buNone/>
              <a:tabLst/>
              <a:defRPr/>
            </a:pPr>
            <a:r>
              <a:rPr kumimoji="0" lang="et-EE" sz="900" b="1" i="0" u="none" strike="noStrike" kern="0" cap="none" spc="0" normalizeH="0" baseline="0" noProof="0">
                <a:ln>
                  <a:noFill/>
                </a:ln>
                <a:solidFill>
                  <a:srgbClr val="FFFFFF"/>
                </a:solidFill>
                <a:effectLst/>
                <a:uLnTx/>
                <a:uFillTx/>
              </a:rPr>
              <a:t>Saksamaa</a:t>
            </a:r>
          </a:p>
        </p:txBody>
      </p:sp>
      <p:sp>
        <p:nvSpPr>
          <p:cNvPr id="83" name="TextBox 82">
            <a:extLst>
              <a:ext uri="{FF2B5EF4-FFF2-40B4-BE49-F238E27FC236}">
                <a16:creationId xmlns:a16="http://schemas.microsoft.com/office/drawing/2014/main" id="{9BFC79AD-9B0E-5DC0-8708-A96C0C224BF4}"/>
              </a:ext>
            </a:extLst>
          </p:cNvPr>
          <p:cNvSpPr txBox="1"/>
          <p:nvPr/>
        </p:nvSpPr>
        <p:spPr>
          <a:xfrm>
            <a:off x="4678735" y="3376310"/>
            <a:ext cx="2852030" cy="1149356"/>
          </a:xfrm>
          <a:prstGeom prst="rect">
            <a:avLst/>
          </a:prstGeom>
          <a:solidFill>
            <a:srgbClr val="A2C02F">
              <a:lumMod val="20000"/>
              <a:lumOff val="80000"/>
            </a:srgbClr>
          </a:solidFill>
        </p:spPr>
        <p:txBody>
          <a:bodyPr vert="horz" wrap="square" lIns="32658" tIns="32658" rIns="32658" bIns="32658" rtlCol="0" anchor="t">
            <a:noAutofit/>
          </a:bodyPr>
          <a:lstStyle/>
          <a:p>
            <a:pPr marL="0" marR="0" lvl="0" indent="0" defTabSz="414772" eaLnBrk="1" fontAlgn="auto" latinLnBrk="0" hangingPunct="1">
              <a:lnSpc>
                <a:spcPct val="100000"/>
              </a:lnSpc>
              <a:spcBef>
                <a:spcPts val="0"/>
              </a:spcBef>
              <a:spcAft>
                <a:spcPts val="0"/>
              </a:spcAft>
              <a:buClrTx/>
              <a:buSzTx/>
              <a:buFontTx/>
              <a:buNone/>
              <a:tabLst/>
              <a:defRPr/>
            </a:pPr>
            <a:r>
              <a:rPr kumimoji="0" lang="et-EE" sz="900" b="1" i="0" u="none" strike="noStrike" kern="0" cap="none" spc="0" normalizeH="0" baseline="0" noProof="0">
                <a:ln>
                  <a:noFill/>
                </a:ln>
                <a:solidFill>
                  <a:srgbClr val="000000"/>
                </a:solidFill>
                <a:effectLst/>
                <a:uLnTx/>
                <a:uFillTx/>
              </a:rPr>
              <a:t>Juba töös: 0GW</a:t>
            </a:r>
          </a:p>
          <a:p>
            <a:pPr marL="0" marR="0" lvl="0" indent="0" defTabSz="414772" eaLnBrk="1" fontAlgn="auto" latinLnBrk="0" hangingPunct="1">
              <a:lnSpc>
                <a:spcPct val="100000"/>
              </a:lnSpc>
              <a:spcBef>
                <a:spcPts val="0"/>
              </a:spcBef>
              <a:spcAft>
                <a:spcPts val="0"/>
              </a:spcAft>
              <a:buClrTx/>
              <a:buSzTx/>
              <a:buFontTx/>
              <a:buNone/>
              <a:tabLst/>
              <a:defRPr/>
            </a:pPr>
            <a:r>
              <a:rPr kumimoji="0" lang="et-EE" sz="900" b="1" i="0" u="none" strike="noStrike" kern="0" cap="none" spc="0" normalizeH="0" baseline="0" noProof="0">
                <a:ln>
                  <a:noFill/>
                </a:ln>
                <a:solidFill>
                  <a:srgbClr val="000000"/>
                </a:solidFill>
                <a:effectLst/>
                <a:uLnTx/>
                <a:uFillTx/>
              </a:rPr>
              <a:t>Meretuule eesmärk 2030: 5.9GW</a:t>
            </a:r>
          </a:p>
          <a:p>
            <a:pPr marL="155539" marR="0" lvl="0" indent="-155539" defTabSz="414772" eaLnBrk="1" fontAlgn="auto" latinLnBrk="0" hangingPunct="1">
              <a:lnSpc>
                <a:spcPct val="100000"/>
              </a:lnSpc>
              <a:spcBef>
                <a:spcPts val="0"/>
              </a:spcBef>
              <a:spcAft>
                <a:spcPts val="0"/>
              </a:spcAft>
              <a:buClrTx/>
              <a:buSzTx/>
              <a:buFontTx/>
              <a:buChar char="-"/>
              <a:tabLst/>
              <a:defRPr/>
            </a:pPr>
            <a:r>
              <a:rPr kumimoji="0" lang="et-EE" sz="900" b="0" i="0" u="none" strike="noStrike" kern="0" cap="none" spc="0" normalizeH="0" baseline="0" noProof="0">
                <a:ln>
                  <a:noFill/>
                </a:ln>
                <a:solidFill>
                  <a:srgbClr val="000000"/>
                </a:solidFill>
                <a:effectLst/>
                <a:uLnTx/>
                <a:uFillTx/>
              </a:rPr>
              <a:t>2021. aastal jaotati 25-aastased </a:t>
            </a:r>
            <a:r>
              <a:rPr kumimoji="0" lang="et-EE" sz="900" b="0" i="0" u="none" strike="noStrike" kern="0" cap="none" spc="0" normalizeH="0" baseline="0" noProof="0" err="1">
                <a:ln>
                  <a:noFill/>
                </a:ln>
                <a:solidFill>
                  <a:srgbClr val="000000"/>
                </a:solidFill>
                <a:effectLst/>
                <a:uLnTx/>
                <a:uFillTx/>
              </a:rPr>
              <a:t>CfD</a:t>
            </a:r>
            <a:r>
              <a:rPr kumimoji="0" lang="et-EE" sz="900" b="0" i="0" u="none" strike="noStrike" kern="0" cap="none" spc="0" normalizeH="0" baseline="0" noProof="0">
                <a:ln>
                  <a:noFill/>
                </a:ln>
                <a:solidFill>
                  <a:srgbClr val="000000"/>
                </a:solidFill>
                <a:effectLst/>
                <a:uLnTx/>
                <a:uFillTx/>
              </a:rPr>
              <a:t>-d alghinnaga 71,8 €/MWh 100 000 MWh/MW eest. Projektide piiratud </a:t>
            </a:r>
            <a:r>
              <a:rPr kumimoji="0" lang="et-EE" sz="900" b="0" i="0" u="none" strike="noStrike" kern="0" cap="none" spc="0" normalizeH="0" baseline="0" noProof="0" err="1">
                <a:ln>
                  <a:noFill/>
                </a:ln>
                <a:solidFill>
                  <a:srgbClr val="000000"/>
                </a:solidFill>
                <a:effectLst/>
                <a:uLnTx/>
                <a:uFillTx/>
              </a:rPr>
              <a:t>saadavuse</a:t>
            </a:r>
            <a:r>
              <a:rPr kumimoji="0" lang="et-EE" sz="900" b="0" i="0" u="none" strike="noStrike" kern="0" cap="none" spc="0" normalizeH="0" baseline="0" noProof="0">
                <a:ln>
                  <a:noFill/>
                </a:ln>
                <a:solidFill>
                  <a:srgbClr val="000000"/>
                </a:solidFill>
                <a:effectLst/>
                <a:uLnTx/>
                <a:uFillTx/>
              </a:rPr>
              <a:t> tõttu oksjonit ei korraldatud</a:t>
            </a:r>
          </a:p>
          <a:p>
            <a:pPr marL="155539" marR="0" lvl="0" indent="-155539" defTabSz="414772" eaLnBrk="1" fontAlgn="auto" latinLnBrk="0" hangingPunct="1">
              <a:lnSpc>
                <a:spcPct val="100000"/>
              </a:lnSpc>
              <a:spcBef>
                <a:spcPts val="0"/>
              </a:spcBef>
              <a:spcAft>
                <a:spcPts val="0"/>
              </a:spcAft>
              <a:buClrTx/>
              <a:buSzTx/>
              <a:buFontTx/>
              <a:buChar char="-"/>
              <a:tabLst/>
              <a:defRPr/>
            </a:pPr>
            <a:r>
              <a:rPr kumimoji="0" lang="et-EE" sz="900" b="0" i="0" u="none" strike="noStrike" kern="0" cap="none" spc="0" normalizeH="0" baseline="0" noProof="0">
                <a:ln>
                  <a:noFill/>
                </a:ln>
                <a:solidFill>
                  <a:srgbClr val="000000"/>
                </a:solidFill>
                <a:effectLst/>
                <a:uLnTx/>
                <a:uFillTx/>
              </a:rPr>
              <a:t>Eeldatakse, et 2025. ja 2027. täiendavad </a:t>
            </a:r>
            <a:r>
              <a:rPr kumimoji="0" lang="et-EE" sz="900" b="0" i="0" u="none" strike="noStrike" kern="0" cap="none" spc="0" normalizeH="0" baseline="0" noProof="0" err="1">
                <a:ln>
                  <a:noFill/>
                </a:ln>
                <a:solidFill>
                  <a:srgbClr val="000000"/>
                </a:solidFill>
                <a:effectLst/>
                <a:uLnTx/>
                <a:uFillTx/>
              </a:rPr>
              <a:t>CfD</a:t>
            </a:r>
            <a:r>
              <a:rPr kumimoji="0" lang="et-EE" sz="900" b="0" i="0" u="none" strike="noStrike" kern="0" cap="none" spc="0" normalizeH="0" baseline="0" noProof="0">
                <a:ln>
                  <a:noFill/>
                </a:ln>
                <a:solidFill>
                  <a:srgbClr val="000000"/>
                </a:solidFill>
                <a:effectLst/>
                <a:uLnTx/>
                <a:uFillTx/>
              </a:rPr>
              <a:t> 5 GW-</a:t>
            </a:r>
            <a:r>
              <a:rPr kumimoji="0" lang="et-EE" sz="900" b="0" i="0" u="none" strike="noStrike" kern="0" cap="none" spc="0" normalizeH="0" baseline="0" noProof="0" err="1">
                <a:ln>
                  <a:noFill/>
                </a:ln>
                <a:solidFill>
                  <a:srgbClr val="000000"/>
                </a:solidFill>
                <a:effectLst/>
                <a:uLnTx/>
                <a:uFillTx/>
              </a:rPr>
              <a:t>le</a:t>
            </a:r>
            <a:endParaRPr kumimoji="0" lang="et-EE" sz="900" b="0" i="0" u="none" strike="noStrike" kern="0" cap="none" spc="0" normalizeH="0" baseline="0" noProof="0">
              <a:ln>
                <a:noFill/>
              </a:ln>
              <a:solidFill>
                <a:srgbClr val="000000"/>
              </a:solidFill>
              <a:effectLst/>
              <a:uLnTx/>
              <a:uFillTx/>
            </a:endParaRPr>
          </a:p>
        </p:txBody>
      </p:sp>
      <p:sp>
        <p:nvSpPr>
          <p:cNvPr id="84" name="TextBox 83">
            <a:extLst>
              <a:ext uri="{FF2B5EF4-FFF2-40B4-BE49-F238E27FC236}">
                <a16:creationId xmlns:a16="http://schemas.microsoft.com/office/drawing/2014/main" id="{A871B927-D4F4-9250-FACD-FDEFE403F1BB}"/>
              </a:ext>
            </a:extLst>
          </p:cNvPr>
          <p:cNvSpPr txBox="1"/>
          <p:nvPr/>
        </p:nvSpPr>
        <p:spPr>
          <a:xfrm>
            <a:off x="4678735" y="3181684"/>
            <a:ext cx="2852030" cy="191732"/>
          </a:xfrm>
          <a:prstGeom prst="rect">
            <a:avLst/>
          </a:prstGeom>
          <a:solidFill>
            <a:srgbClr val="A2C02F">
              <a:lumMod val="50000"/>
            </a:srgbClr>
          </a:solidFill>
        </p:spPr>
        <p:txBody>
          <a:bodyPr vert="horz" wrap="square" lIns="32658" tIns="32658" rIns="32658" bIns="32658" rtlCol="0" anchor="ctr">
            <a:noAutofit/>
          </a:bodyPr>
          <a:lstStyle/>
          <a:p>
            <a:pPr marL="407571" marR="0" lvl="0" indent="0" defTabSz="414772" eaLnBrk="1" fontAlgn="auto" latinLnBrk="0" hangingPunct="1">
              <a:lnSpc>
                <a:spcPct val="100000"/>
              </a:lnSpc>
              <a:spcBef>
                <a:spcPts val="0"/>
              </a:spcBef>
              <a:spcAft>
                <a:spcPts val="0"/>
              </a:spcAft>
              <a:buClrTx/>
              <a:buSzTx/>
              <a:buFontTx/>
              <a:buNone/>
              <a:tabLst/>
              <a:defRPr/>
            </a:pPr>
            <a:r>
              <a:rPr kumimoji="0" lang="et-EE" sz="900" b="1" i="0" u="none" strike="noStrike" kern="0" cap="none" spc="0" normalizeH="0" baseline="0" noProof="0">
                <a:ln>
                  <a:noFill/>
                </a:ln>
                <a:solidFill>
                  <a:srgbClr val="FFFFFF"/>
                </a:solidFill>
                <a:effectLst/>
                <a:uLnTx/>
                <a:uFillTx/>
              </a:rPr>
              <a:t>Poola </a:t>
            </a:r>
            <a:endParaRPr kumimoji="0" lang="et-EE" sz="900" b="0" i="0" u="none" strike="noStrike" kern="0" cap="none" spc="0" normalizeH="0" baseline="0" noProof="0">
              <a:ln>
                <a:noFill/>
              </a:ln>
              <a:solidFill>
                <a:srgbClr val="FFFFFF"/>
              </a:solidFill>
              <a:effectLst/>
              <a:uLnTx/>
              <a:uFillTx/>
            </a:endParaRPr>
          </a:p>
        </p:txBody>
      </p:sp>
      <p:pic>
        <p:nvPicPr>
          <p:cNvPr id="85" name="Picture 84" descr="Shape&#10;&#10;Description automatically generated with low confidence">
            <a:extLst>
              <a:ext uri="{FF2B5EF4-FFF2-40B4-BE49-F238E27FC236}">
                <a16:creationId xmlns:a16="http://schemas.microsoft.com/office/drawing/2014/main" id="{92B0D3AC-BE45-F04F-7050-42520B96D2F8}"/>
              </a:ext>
            </a:extLst>
          </p:cNvPr>
          <p:cNvPicPr>
            <a:picLocks noChangeAspect="1"/>
          </p:cNvPicPr>
          <p:nvPr/>
        </p:nvPicPr>
        <p:blipFill>
          <a:blip r:embed="rId5"/>
          <a:stretch>
            <a:fillRect/>
          </a:stretch>
        </p:blipFill>
        <p:spPr>
          <a:xfrm>
            <a:off x="4585494" y="3095334"/>
            <a:ext cx="347013" cy="347013"/>
          </a:xfrm>
          <a:prstGeom prst="rect">
            <a:avLst/>
          </a:prstGeom>
        </p:spPr>
      </p:pic>
      <p:sp>
        <p:nvSpPr>
          <p:cNvPr id="86" name="TextBox 85">
            <a:extLst>
              <a:ext uri="{FF2B5EF4-FFF2-40B4-BE49-F238E27FC236}">
                <a16:creationId xmlns:a16="http://schemas.microsoft.com/office/drawing/2014/main" id="{0609E291-5A7C-606B-4291-2C15367AF779}"/>
              </a:ext>
            </a:extLst>
          </p:cNvPr>
          <p:cNvSpPr txBox="1"/>
          <p:nvPr/>
        </p:nvSpPr>
        <p:spPr>
          <a:xfrm>
            <a:off x="7720751" y="1295450"/>
            <a:ext cx="2852031" cy="769776"/>
          </a:xfrm>
          <a:prstGeom prst="rect">
            <a:avLst/>
          </a:prstGeom>
          <a:solidFill>
            <a:srgbClr val="FFFFFF">
              <a:lumMod val="95000"/>
            </a:srgbClr>
          </a:solidFill>
        </p:spPr>
        <p:txBody>
          <a:bodyPr vert="horz" wrap="square" lIns="32658" tIns="32658" rIns="32658" bIns="32658" rtlCol="0" anchor="t">
            <a:noAutofit/>
          </a:bodyPr>
          <a:lstStyle/>
          <a:p>
            <a:pPr marL="0" marR="0" lvl="0" indent="0" defTabSz="414772" eaLnBrk="1" fontAlgn="auto" latinLnBrk="0" hangingPunct="1">
              <a:lnSpc>
                <a:spcPct val="100000"/>
              </a:lnSpc>
              <a:spcBef>
                <a:spcPts val="0"/>
              </a:spcBef>
              <a:spcAft>
                <a:spcPts val="0"/>
              </a:spcAft>
              <a:buClrTx/>
              <a:buSzTx/>
              <a:buFontTx/>
              <a:buNone/>
              <a:tabLst/>
              <a:defRPr/>
            </a:pPr>
            <a:r>
              <a:rPr kumimoji="0" lang="et-EE" sz="900" b="1" i="0" u="none" strike="noStrike" kern="0" cap="none" spc="0" normalizeH="0" baseline="0" noProof="0">
                <a:ln>
                  <a:noFill/>
                </a:ln>
                <a:solidFill>
                  <a:srgbClr val="000000"/>
                </a:solidFill>
                <a:effectLst/>
                <a:uLnTx/>
                <a:uFillTx/>
              </a:rPr>
              <a:t>Juba töös: 2.8GW (496 tuulikut)</a:t>
            </a:r>
          </a:p>
          <a:p>
            <a:pPr marL="0" marR="0" lvl="0" indent="0" defTabSz="414772" eaLnBrk="1" fontAlgn="auto" latinLnBrk="0" hangingPunct="1">
              <a:lnSpc>
                <a:spcPct val="100000"/>
              </a:lnSpc>
              <a:spcBef>
                <a:spcPts val="0"/>
              </a:spcBef>
              <a:spcAft>
                <a:spcPts val="0"/>
              </a:spcAft>
              <a:buClrTx/>
              <a:buSzTx/>
              <a:buFontTx/>
              <a:buNone/>
              <a:tabLst/>
              <a:defRPr/>
            </a:pPr>
            <a:r>
              <a:rPr kumimoji="0" lang="et-EE" sz="900" b="1" i="0" u="none" strike="noStrike" kern="0" cap="none" spc="0" normalizeH="0" baseline="0" noProof="0">
                <a:ln>
                  <a:noFill/>
                </a:ln>
                <a:solidFill>
                  <a:srgbClr val="000000"/>
                </a:solidFill>
                <a:effectLst/>
                <a:uLnTx/>
                <a:uFillTx/>
              </a:rPr>
              <a:t>Meretuule eesmärk 2030: 16GW</a:t>
            </a:r>
          </a:p>
          <a:p>
            <a:pPr marL="155539" marR="0" lvl="0" indent="-155539" defTabSz="414772" eaLnBrk="1" fontAlgn="auto" latinLnBrk="0" hangingPunct="1">
              <a:lnSpc>
                <a:spcPct val="100000"/>
              </a:lnSpc>
              <a:spcBef>
                <a:spcPts val="0"/>
              </a:spcBef>
              <a:spcAft>
                <a:spcPts val="0"/>
              </a:spcAft>
              <a:buClrTx/>
              <a:buSzTx/>
              <a:buFontTx/>
              <a:buChar char="-"/>
              <a:tabLst/>
              <a:defRPr/>
            </a:pPr>
            <a:r>
              <a:rPr kumimoji="0" lang="et-EE" sz="900" b="0" i="0" u="none" strike="noStrike" kern="0" cap="none" spc="0" normalizeH="0" baseline="0" noProof="0">
                <a:ln>
                  <a:noFill/>
                </a:ln>
                <a:solidFill>
                  <a:srgbClr val="000000"/>
                </a:solidFill>
                <a:effectLst/>
                <a:uLnTx/>
                <a:uFillTx/>
                <a:ea typeface="Times New Roman" panose="02020603050405020304" pitchFamily="18" charset="0"/>
                <a:cs typeface="Times New Roman" panose="02020603050405020304" pitchFamily="18" charset="0"/>
              </a:rPr>
              <a:t>Holland kavatseb hüppeliselt suurendada mereparkide </a:t>
            </a:r>
            <a:r>
              <a:rPr kumimoji="0" lang="et-EE" sz="900" b="0" i="0" u="none" strike="noStrike" kern="0" cap="none" spc="0" normalizeH="0" baseline="0" noProof="0" err="1">
                <a:ln>
                  <a:noFill/>
                </a:ln>
                <a:solidFill>
                  <a:srgbClr val="000000"/>
                </a:solidFill>
                <a:effectLst/>
                <a:uLnTx/>
                <a:uFillTx/>
                <a:ea typeface="Times New Roman" panose="02020603050405020304" pitchFamily="18" charset="0"/>
                <a:cs typeface="Times New Roman" panose="02020603050405020304" pitchFamily="18" charset="0"/>
              </a:rPr>
              <a:t>CfD</a:t>
            </a:r>
            <a:r>
              <a:rPr kumimoji="0" lang="et-EE" sz="900" b="0" i="0" u="none" strike="noStrike" kern="0" cap="none" spc="0" normalizeH="0" baseline="0" noProof="0">
                <a:ln>
                  <a:noFill/>
                </a:ln>
                <a:solidFill>
                  <a:srgbClr val="000000"/>
                </a:solidFill>
                <a:effectLst/>
                <a:uLnTx/>
                <a:uFillTx/>
                <a:ea typeface="Times New Roman" panose="02020603050405020304" pitchFamily="18" charset="0"/>
                <a:cs typeface="Times New Roman" panose="02020603050405020304" pitchFamily="18" charset="0"/>
              </a:rPr>
              <a:t> vähempakkumisi.</a:t>
            </a:r>
          </a:p>
          <a:p>
            <a:pPr marL="155539" marR="0" lvl="0" indent="-155539" defTabSz="414772" eaLnBrk="1" fontAlgn="auto" latinLnBrk="0" hangingPunct="1">
              <a:lnSpc>
                <a:spcPct val="100000"/>
              </a:lnSpc>
              <a:spcBef>
                <a:spcPts val="0"/>
              </a:spcBef>
              <a:spcAft>
                <a:spcPts val="0"/>
              </a:spcAft>
              <a:buClrTx/>
              <a:buSzTx/>
              <a:buFontTx/>
              <a:buChar char="-"/>
              <a:tabLst/>
              <a:defRPr/>
            </a:pPr>
            <a:r>
              <a:rPr kumimoji="0" lang="et-EE" sz="900" b="0" i="0" u="none" strike="noStrike" kern="0" cap="none" spc="0" normalizeH="0" baseline="0" noProof="0">
                <a:ln>
                  <a:noFill/>
                </a:ln>
                <a:solidFill>
                  <a:srgbClr val="000000"/>
                </a:solidFill>
                <a:effectLst/>
                <a:uLnTx/>
                <a:uFillTx/>
                <a:ea typeface="Times New Roman" panose="02020603050405020304" pitchFamily="18" charset="0"/>
                <a:cs typeface="Times New Roman" panose="02020603050405020304" pitchFamily="18" charset="0"/>
              </a:rPr>
              <a:t>Oksjonid viiakse läbi järgmise 5 aasta jooksul </a:t>
            </a:r>
          </a:p>
          <a:p>
            <a:pPr marL="0" marR="0" lvl="0" indent="0" defTabSz="414772" eaLnBrk="1" fontAlgn="auto" latinLnBrk="0" hangingPunct="1">
              <a:lnSpc>
                <a:spcPct val="100000"/>
              </a:lnSpc>
              <a:spcBef>
                <a:spcPts val="0"/>
              </a:spcBef>
              <a:spcAft>
                <a:spcPts val="0"/>
              </a:spcAft>
              <a:buClrTx/>
              <a:buSzTx/>
              <a:buFontTx/>
              <a:buNone/>
              <a:tabLst/>
              <a:defRPr/>
            </a:pPr>
            <a:endParaRPr kumimoji="0" lang="et-EE" sz="900" b="1" i="0" u="none" strike="noStrike" kern="0" cap="none" spc="0" normalizeH="0" baseline="0" noProof="0">
              <a:ln>
                <a:noFill/>
              </a:ln>
              <a:solidFill>
                <a:srgbClr val="000000"/>
              </a:solidFill>
              <a:effectLst/>
              <a:uLnTx/>
              <a:uFillTx/>
            </a:endParaRPr>
          </a:p>
        </p:txBody>
      </p:sp>
      <p:sp>
        <p:nvSpPr>
          <p:cNvPr id="87" name="TextBox 86">
            <a:extLst>
              <a:ext uri="{FF2B5EF4-FFF2-40B4-BE49-F238E27FC236}">
                <a16:creationId xmlns:a16="http://schemas.microsoft.com/office/drawing/2014/main" id="{784F3D7F-3B8A-199B-0DE0-D7F442E891B7}"/>
              </a:ext>
            </a:extLst>
          </p:cNvPr>
          <p:cNvSpPr txBox="1"/>
          <p:nvPr/>
        </p:nvSpPr>
        <p:spPr>
          <a:xfrm>
            <a:off x="7720751" y="1103719"/>
            <a:ext cx="2852031" cy="191732"/>
          </a:xfrm>
          <a:prstGeom prst="rect">
            <a:avLst/>
          </a:prstGeom>
          <a:solidFill>
            <a:srgbClr val="FFFFFF">
              <a:lumMod val="75000"/>
            </a:srgbClr>
          </a:solidFill>
        </p:spPr>
        <p:txBody>
          <a:bodyPr vert="horz" wrap="square" lIns="32658" tIns="32658" rIns="32658" bIns="32658" rtlCol="0" anchor="ctr">
            <a:noAutofit/>
          </a:bodyPr>
          <a:lstStyle/>
          <a:p>
            <a:pPr marL="407571" marR="0" lvl="0" indent="0" defTabSz="414772" eaLnBrk="1" fontAlgn="auto" latinLnBrk="0" hangingPunct="1">
              <a:lnSpc>
                <a:spcPct val="100000"/>
              </a:lnSpc>
              <a:spcBef>
                <a:spcPts val="0"/>
              </a:spcBef>
              <a:spcAft>
                <a:spcPts val="0"/>
              </a:spcAft>
              <a:buClrTx/>
              <a:buSzTx/>
              <a:buFontTx/>
              <a:buNone/>
              <a:tabLst/>
              <a:defRPr/>
            </a:pPr>
            <a:r>
              <a:rPr kumimoji="0" lang="et-EE" sz="900" b="1" i="0" u="none" strike="noStrike" kern="0" cap="none" spc="0" normalizeH="0" baseline="0" noProof="0">
                <a:ln>
                  <a:noFill/>
                </a:ln>
                <a:solidFill>
                  <a:srgbClr val="FFFFFF"/>
                </a:solidFill>
                <a:effectLst/>
                <a:uLnTx/>
                <a:uFillTx/>
              </a:rPr>
              <a:t>Holland</a:t>
            </a:r>
          </a:p>
        </p:txBody>
      </p:sp>
      <p:sp>
        <p:nvSpPr>
          <p:cNvPr id="88" name="TextBox 87">
            <a:extLst>
              <a:ext uri="{FF2B5EF4-FFF2-40B4-BE49-F238E27FC236}">
                <a16:creationId xmlns:a16="http://schemas.microsoft.com/office/drawing/2014/main" id="{37984210-9245-4BC5-8B54-80A7F47194E8}"/>
              </a:ext>
            </a:extLst>
          </p:cNvPr>
          <p:cNvSpPr txBox="1"/>
          <p:nvPr/>
        </p:nvSpPr>
        <p:spPr>
          <a:xfrm>
            <a:off x="4673838" y="4815443"/>
            <a:ext cx="2852030" cy="868473"/>
          </a:xfrm>
          <a:prstGeom prst="rect">
            <a:avLst/>
          </a:prstGeom>
          <a:solidFill>
            <a:srgbClr val="FFFFFF">
              <a:lumMod val="95000"/>
            </a:srgbClr>
          </a:solidFill>
        </p:spPr>
        <p:txBody>
          <a:bodyPr vert="horz" wrap="square" lIns="32658" tIns="32658" rIns="32658" bIns="32658" rtlCol="0" anchor="t">
            <a:noAutofit/>
          </a:bodyPr>
          <a:lstStyle/>
          <a:p>
            <a:pPr marL="0" marR="0" lvl="0" indent="0" defTabSz="414772" eaLnBrk="1" fontAlgn="auto" latinLnBrk="0" hangingPunct="1">
              <a:lnSpc>
                <a:spcPct val="100000"/>
              </a:lnSpc>
              <a:spcBef>
                <a:spcPts val="0"/>
              </a:spcBef>
              <a:spcAft>
                <a:spcPts val="0"/>
              </a:spcAft>
              <a:buClrTx/>
              <a:buSzTx/>
              <a:buFontTx/>
              <a:buNone/>
              <a:tabLst/>
              <a:defRPr/>
            </a:pPr>
            <a:r>
              <a:rPr kumimoji="0" lang="et-EE" sz="900" b="1" i="0" u="none" strike="noStrike" kern="0" cap="none" spc="0" normalizeH="0" baseline="0" noProof="0">
                <a:ln>
                  <a:noFill/>
                </a:ln>
                <a:solidFill>
                  <a:srgbClr val="000000"/>
                </a:solidFill>
                <a:effectLst/>
                <a:uLnTx/>
                <a:uFillTx/>
              </a:rPr>
              <a:t>Juba töös: 13.9GW (2679 tuulikut)</a:t>
            </a:r>
          </a:p>
          <a:p>
            <a:pPr marL="0" marR="0" lvl="0" indent="0" defTabSz="414772" eaLnBrk="1" fontAlgn="auto" latinLnBrk="0" hangingPunct="1">
              <a:lnSpc>
                <a:spcPct val="100000"/>
              </a:lnSpc>
              <a:spcBef>
                <a:spcPts val="0"/>
              </a:spcBef>
              <a:spcAft>
                <a:spcPts val="0"/>
              </a:spcAft>
              <a:buClrTx/>
              <a:buSzTx/>
              <a:buFontTx/>
              <a:buNone/>
              <a:tabLst/>
              <a:defRPr/>
            </a:pPr>
            <a:r>
              <a:rPr kumimoji="0" lang="et-EE" sz="900" b="1" i="0" u="none" strike="noStrike" kern="0" cap="none" spc="0" normalizeH="0" baseline="0" noProof="0">
                <a:ln>
                  <a:noFill/>
                </a:ln>
                <a:solidFill>
                  <a:srgbClr val="000000"/>
                </a:solidFill>
                <a:effectLst/>
                <a:uLnTx/>
                <a:uFillTx/>
              </a:rPr>
              <a:t>Meretuule eesmärk 2030: 50GW</a:t>
            </a:r>
          </a:p>
          <a:p>
            <a:pPr marL="155539" marR="0" lvl="0" indent="-155539" defTabSz="414772" eaLnBrk="1" fontAlgn="auto" latinLnBrk="0" hangingPunct="1">
              <a:lnSpc>
                <a:spcPct val="90000"/>
              </a:lnSpc>
              <a:spcBef>
                <a:spcPts val="0"/>
              </a:spcBef>
              <a:spcAft>
                <a:spcPts val="0"/>
              </a:spcAft>
              <a:buClrTx/>
              <a:buSzTx/>
              <a:buFontTx/>
              <a:buChar char="-"/>
              <a:tabLst/>
              <a:defRPr/>
            </a:pPr>
            <a:r>
              <a:rPr kumimoji="0" lang="et-EE" sz="900" b="0" i="0" u="none" strike="noStrike" kern="0" cap="none" spc="0" normalizeH="0" baseline="0" noProof="0" err="1">
                <a:ln>
                  <a:noFill/>
                </a:ln>
                <a:solidFill>
                  <a:srgbClr val="000000"/>
                </a:solidFill>
                <a:effectLst/>
                <a:uLnTx/>
                <a:uFillTx/>
              </a:rPr>
              <a:t>CfD</a:t>
            </a:r>
            <a:r>
              <a:rPr kumimoji="0" lang="et-EE" sz="900" b="0" i="0" u="none" strike="noStrike" kern="0" cap="none" spc="0" normalizeH="0" baseline="0" noProof="0">
                <a:ln>
                  <a:noFill/>
                </a:ln>
                <a:solidFill>
                  <a:srgbClr val="000000"/>
                </a:solidFill>
                <a:effectLst/>
                <a:uLnTx/>
                <a:uFillTx/>
              </a:rPr>
              <a:t> hinnad on viimasel ajal olnud pidevalt turuhindadest madalamad</a:t>
            </a:r>
          </a:p>
          <a:p>
            <a:pPr marL="155539" marR="0" lvl="0" indent="-155539" defTabSz="414772" eaLnBrk="1" fontAlgn="auto" latinLnBrk="0" hangingPunct="1">
              <a:lnSpc>
                <a:spcPct val="90000"/>
              </a:lnSpc>
              <a:spcBef>
                <a:spcPts val="0"/>
              </a:spcBef>
              <a:spcAft>
                <a:spcPts val="0"/>
              </a:spcAft>
              <a:buClrTx/>
              <a:buSzTx/>
              <a:buFontTx/>
              <a:buChar char="-"/>
              <a:tabLst/>
              <a:defRPr/>
            </a:pPr>
            <a:r>
              <a:rPr kumimoji="0" lang="et-EE" sz="900" b="0" i="0" u="none" strike="noStrike" kern="0" cap="none" spc="0" normalizeH="0" baseline="0" noProof="0">
                <a:ln>
                  <a:noFill/>
                </a:ln>
                <a:solidFill>
                  <a:srgbClr val="000000"/>
                </a:solidFill>
                <a:effectLst/>
                <a:uLnTx/>
                <a:uFillTx/>
              </a:rPr>
              <a:t>Igal järgneval aastal  5-7 GW ulatuses </a:t>
            </a:r>
            <a:r>
              <a:rPr kumimoji="0" lang="et-EE" sz="900" b="0" i="0" u="none" strike="noStrike" kern="0" cap="none" spc="0" normalizeH="0" baseline="0" noProof="0" err="1">
                <a:ln>
                  <a:noFill/>
                </a:ln>
                <a:solidFill>
                  <a:srgbClr val="000000"/>
                </a:solidFill>
                <a:effectLst/>
                <a:uLnTx/>
                <a:uFillTx/>
              </a:rPr>
              <a:t>CfD</a:t>
            </a:r>
            <a:r>
              <a:rPr kumimoji="0" lang="et-EE" sz="900" b="0" i="0" u="none" strike="noStrike" kern="0" cap="none" spc="0" normalizeH="0" baseline="0" noProof="0">
                <a:ln>
                  <a:noFill/>
                </a:ln>
                <a:solidFill>
                  <a:srgbClr val="000000"/>
                </a:solidFill>
                <a:effectLst/>
                <a:uLnTx/>
                <a:uFillTx/>
              </a:rPr>
              <a:t> vähempakkumisi</a:t>
            </a:r>
          </a:p>
        </p:txBody>
      </p:sp>
      <p:sp>
        <p:nvSpPr>
          <p:cNvPr id="89" name="TextBox 88">
            <a:extLst>
              <a:ext uri="{FF2B5EF4-FFF2-40B4-BE49-F238E27FC236}">
                <a16:creationId xmlns:a16="http://schemas.microsoft.com/office/drawing/2014/main" id="{57207B3A-1EC1-2DCC-E0D1-C49DAF380274}"/>
              </a:ext>
            </a:extLst>
          </p:cNvPr>
          <p:cNvSpPr txBox="1"/>
          <p:nvPr/>
        </p:nvSpPr>
        <p:spPr>
          <a:xfrm>
            <a:off x="4690281" y="4641949"/>
            <a:ext cx="2852030" cy="191732"/>
          </a:xfrm>
          <a:prstGeom prst="rect">
            <a:avLst/>
          </a:prstGeom>
          <a:solidFill>
            <a:srgbClr val="FFFFFF">
              <a:lumMod val="75000"/>
            </a:srgbClr>
          </a:solidFill>
        </p:spPr>
        <p:txBody>
          <a:bodyPr vert="horz" wrap="square" lIns="32658" tIns="32658" rIns="32658" bIns="32658" rtlCol="0" anchor="ctr">
            <a:noAutofit/>
          </a:bodyPr>
          <a:lstStyle/>
          <a:p>
            <a:pPr marL="407571" marR="0" lvl="0" indent="0" defTabSz="414772" eaLnBrk="1" fontAlgn="auto" latinLnBrk="0" hangingPunct="1">
              <a:lnSpc>
                <a:spcPct val="100000"/>
              </a:lnSpc>
              <a:spcBef>
                <a:spcPts val="0"/>
              </a:spcBef>
              <a:spcAft>
                <a:spcPts val="0"/>
              </a:spcAft>
              <a:buClrTx/>
              <a:buSzTx/>
              <a:buFontTx/>
              <a:buNone/>
              <a:tabLst/>
              <a:defRPr/>
            </a:pPr>
            <a:r>
              <a:rPr kumimoji="0" lang="et-EE" sz="900" b="1" i="0" u="none" strike="noStrike" kern="0" cap="none" spc="0" normalizeH="0" baseline="0" noProof="0">
                <a:ln>
                  <a:noFill/>
                </a:ln>
                <a:solidFill>
                  <a:srgbClr val="FFFFFF"/>
                </a:solidFill>
                <a:effectLst/>
                <a:uLnTx/>
                <a:uFillTx/>
              </a:rPr>
              <a:t>UK </a:t>
            </a:r>
          </a:p>
        </p:txBody>
      </p:sp>
      <p:pic>
        <p:nvPicPr>
          <p:cNvPr id="90" name="Picture 89" descr="Logo, company name&#10;&#10;Description automatically generated">
            <a:extLst>
              <a:ext uri="{FF2B5EF4-FFF2-40B4-BE49-F238E27FC236}">
                <a16:creationId xmlns:a16="http://schemas.microsoft.com/office/drawing/2014/main" id="{124FD99C-EFFD-B6B8-35A2-6F554861B34C}"/>
              </a:ext>
            </a:extLst>
          </p:cNvPr>
          <p:cNvPicPr>
            <a:picLocks noChangeAspect="1"/>
          </p:cNvPicPr>
          <p:nvPr/>
        </p:nvPicPr>
        <p:blipFill>
          <a:blip r:embed="rId6"/>
          <a:stretch>
            <a:fillRect/>
          </a:stretch>
        </p:blipFill>
        <p:spPr>
          <a:xfrm>
            <a:off x="4603509" y="4514651"/>
            <a:ext cx="347013" cy="347013"/>
          </a:xfrm>
          <a:prstGeom prst="rect">
            <a:avLst/>
          </a:prstGeom>
        </p:spPr>
      </p:pic>
      <p:sp>
        <p:nvSpPr>
          <p:cNvPr id="91" name="TextBox 90">
            <a:extLst>
              <a:ext uri="{FF2B5EF4-FFF2-40B4-BE49-F238E27FC236}">
                <a16:creationId xmlns:a16="http://schemas.microsoft.com/office/drawing/2014/main" id="{5A8BC252-14C8-E05B-8119-00C6D8938F9E}"/>
              </a:ext>
            </a:extLst>
          </p:cNvPr>
          <p:cNvSpPr txBox="1"/>
          <p:nvPr/>
        </p:nvSpPr>
        <p:spPr>
          <a:xfrm>
            <a:off x="7701602" y="4667479"/>
            <a:ext cx="2852031" cy="1078074"/>
          </a:xfrm>
          <a:prstGeom prst="rect">
            <a:avLst/>
          </a:prstGeom>
          <a:solidFill>
            <a:srgbClr val="A2C02F">
              <a:lumMod val="20000"/>
              <a:lumOff val="80000"/>
            </a:srgbClr>
          </a:solidFill>
        </p:spPr>
        <p:txBody>
          <a:bodyPr vert="horz" wrap="square" lIns="32658" tIns="32658" rIns="32658" bIns="32658" rtlCol="0" anchor="t">
            <a:noAutofit/>
          </a:bodyPr>
          <a:lstStyle/>
          <a:p>
            <a:pPr marL="0" marR="0" lvl="0" indent="0" defTabSz="414772" eaLnBrk="1" fontAlgn="auto" latinLnBrk="0" hangingPunct="1">
              <a:lnSpc>
                <a:spcPct val="100000"/>
              </a:lnSpc>
              <a:spcBef>
                <a:spcPts val="0"/>
              </a:spcBef>
              <a:spcAft>
                <a:spcPts val="0"/>
              </a:spcAft>
              <a:buClrTx/>
              <a:buSzTx/>
              <a:buFontTx/>
              <a:buNone/>
              <a:tabLst/>
              <a:defRPr/>
            </a:pPr>
            <a:r>
              <a:rPr kumimoji="0" lang="et-EE" sz="900" b="1" i="0" u="none" strike="noStrike" kern="0" cap="none" spc="0" normalizeH="0" baseline="0" noProof="0">
                <a:ln>
                  <a:noFill/>
                </a:ln>
                <a:solidFill>
                  <a:srgbClr val="000000"/>
                </a:solidFill>
                <a:effectLst/>
                <a:uLnTx/>
                <a:uFillTx/>
              </a:rPr>
              <a:t>Juba töös: &lt;0.1GW</a:t>
            </a:r>
            <a:r>
              <a:rPr kumimoji="0" lang="en-US" sz="900" b="1" i="0" u="none" strike="noStrike" kern="0" cap="none" spc="0" normalizeH="0" baseline="0" noProof="0">
                <a:ln>
                  <a:noFill/>
                </a:ln>
                <a:solidFill>
                  <a:srgbClr val="000000"/>
                </a:solidFill>
                <a:effectLst/>
                <a:uLnTx/>
                <a:uFillTx/>
              </a:rPr>
              <a:t> (7 </a:t>
            </a:r>
            <a:r>
              <a:rPr kumimoji="0" lang="en-US" sz="900" b="1" i="0" u="none" strike="noStrike" kern="0" cap="none" spc="0" normalizeH="0" baseline="0" noProof="0" err="1">
                <a:ln>
                  <a:noFill/>
                </a:ln>
                <a:solidFill>
                  <a:srgbClr val="000000"/>
                </a:solidFill>
                <a:effectLst/>
                <a:uLnTx/>
                <a:uFillTx/>
              </a:rPr>
              <a:t>tuulikut</a:t>
            </a:r>
            <a:r>
              <a:rPr kumimoji="0" lang="en-US" sz="900" b="1" i="0" u="none" strike="noStrike" kern="0" cap="none" spc="0" normalizeH="0" baseline="0" noProof="0">
                <a:ln>
                  <a:noFill/>
                </a:ln>
                <a:solidFill>
                  <a:srgbClr val="000000"/>
                </a:solidFill>
                <a:effectLst/>
                <a:uLnTx/>
                <a:uFillTx/>
              </a:rPr>
              <a:t>)</a:t>
            </a:r>
            <a:endParaRPr kumimoji="0" lang="et-EE" sz="900" b="1" i="0" u="none" strike="noStrike" kern="0" cap="none" spc="0" normalizeH="0" baseline="0" noProof="0">
              <a:ln>
                <a:noFill/>
              </a:ln>
              <a:solidFill>
                <a:srgbClr val="000000"/>
              </a:solidFill>
              <a:effectLst/>
              <a:uLnTx/>
              <a:uFillTx/>
            </a:endParaRPr>
          </a:p>
          <a:p>
            <a:pPr marL="0" marR="0" lvl="0" indent="0" defTabSz="414772" eaLnBrk="1" fontAlgn="auto" latinLnBrk="0" hangingPunct="1">
              <a:lnSpc>
                <a:spcPct val="100000"/>
              </a:lnSpc>
              <a:spcBef>
                <a:spcPts val="0"/>
              </a:spcBef>
              <a:spcAft>
                <a:spcPts val="0"/>
              </a:spcAft>
              <a:buClrTx/>
              <a:buSzTx/>
              <a:buFontTx/>
              <a:buNone/>
              <a:tabLst/>
              <a:defRPr/>
            </a:pPr>
            <a:r>
              <a:rPr kumimoji="0" lang="et-EE" sz="900" b="1" i="0" u="none" strike="noStrike" kern="0" cap="none" spc="0" normalizeH="0" baseline="0" noProof="0">
                <a:ln>
                  <a:noFill/>
                </a:ln>
                <a:solidFill>
                  <a:srgbClr val="000000"/>
                </a:solidFill>
                <a:effectLst/>
                <a:uLnTx/>
                <a:uFillTx/>
              </a:rPr>
              <a:t>Meretuule eesmärk 2030: 5-6GW (Põhjameri ja </a:t>
            </a:r>
            <a:r>
              <a:rPr kumimoji="0" lang="et-EE" sz="900" b="1" i="0" u="none" strike="noStrike" kern="0" cap="none" spc="0" normalizeH="0" baseline="0" noProof="0" err="1">
                <a:ln>
                  <a:noFill/>
                </a:ln>
                <a:solidFill>
                  <a:srgbClr val="000000"/>
                </a:solidFill>
                <a:effectLst/>
                <a:uLnTx/>
                <a:uFillTx/>
              </a:rPr>
              <a:t>Atland</a:t>
            </a:r>
            <a:r>
              <a:rPr kumimoji="0" lang="et-EE" sz="900" b="1" i="0" u="none" strike="noStrike" kern="0" cap="none" spc="0" normalizeH="0" baseline="0" noProof="0">
                <a:ln>
                  <a:noFill/>
                </a:ln>
                <a:solidFill>
                  <a:srgbClr val="000000"/>
                </a:solidFill>
                <a:effectLst/>
                <a:uLnTx/>
                <a:uFillTx/>
              </a:rPr>
              <a:t>)</a:t>
            </a:r>
          </a:p>
          <a:p>
            <a:pPr marL="155539" marR="0" lvl="0" indent="-155539" defTabSz="414772" eaLnBrk="1" fontAlgn="auto" latinLnBrk="0" hangingPunct="1">
              <a:lnSpc>
                <a:spcPct val="90000"/>
              </a:lnSpc>
              <a:spcBef>
                <a:spcPts val="0"/>
              </a:spcBef>
              <a:spcAft>
                <a:spcPts val="0"/>
              </a:spcAft>
              <a:buClrTx/>
              <a:buSzTx/>
              <a:buFontTx/>
              <a:buChar char="-"/>
              <a:tabLst/>
              <a:defRPr/>
            </a:pPr>
            <a:r>
              <a:rPr kumimoji="0" lang="et-EE" sz="900" b="0" i="0" u="none" strike="noStrike" kern="0" cap="none" spc="0" normalizeH="0" baseline="0" noProof="0">
                <a:ln>
                  <a:noFill/>
                </a:ln>
                <a:solidFill>
                  <a:srgbClr val="000000"/>
                </a:solidFill>
                <a:effectLst/>
                <a:uLnTx/>
                <a:uFillTx/>
              </a:rPr>
              <a:t>2023 esimene </a:t>
            </a:r>
            <a:r>
              <a:rPr kumimoji="0" lang="et-EE" sz="900" b="0" i="0" u="none" strike="noStrike" kern="0" cap="none" spc="0" normalizeH="0" baseline="0" noProof="0" err="1">
                <a:ln>
                  <a:noFill/>
                </a:ln>
                <a:solidFill>
                  <a:srgbClr val="000000"/>
                </a:solidFill>
                <a:effectLst/>
                <a:uLnTx/>
                <a:uFillTx/>
              </a:rPr>
              <a:t>CfD</a:t>
            </a:r>
            <a:r>
              <a:rPr kumimoji="0" lang="et-EE" sz="900" b="0" i="0" u="none" strike="noStrike" kern="0" cap="none" spc="0" normalizeH="0" baseline="0" noProof="0">
                <a:ln>
                  <a:noFill/>
                </a:ln>
                <a:solidFill>
                  <a:srgbClr val="000000"/>
                </a:solidFill>
                <a:effectLst/>
                <a:uLnTx/>
                <a:uFillTx/>
              </a:rPr>
              <a:t> vähempakkumine</a:t>
            </a:r>
          </a:p>
          <a:p>
            <a:pPr marL="155539" marR="0" lvl="0" indent="-155539" defTabSz="414772" eaLnBrk="1" fontAlgn="auto" latinLnBrk="0" hangingPunct="1">
              <a:lnSpc>
                <a:spcPct val="90000"/>
              </a:lnSpc>
              <a:spcBef>
                <a:spcPts val="0"/>
              </a:spcBef>
              <a:spcAft>
                <a:spcPts val="0"/>
              </a:spcAft>
              <a:buClrTx/>
              <a:buSzTx/>
              <a:buFontTx/>
              <a:buChar char="-"/>
              <a:tabLst/>
              <a:defRPr/>
            </a:pPr>
            <a:r>
              <a:rPr kumimoji="0" lang="et-EE" sz="900" b="0" i="0" u="none" strike="noStrike" kern="0" cap="none" spc="0" normalizeH="0" baseline="0" noProof="0">
                <a:ln>
                  <a:noFill/>
                </a:ln>
                <a:solidFill>
                  <a:srgbClr val="000000"/>
                </a:solidFill>
                <a:effectLst/>
                <a:uLnTx/>
                <a:uFillTx/>
              </a:rPr>
              <a:t>Täiendavad mahud 2023 a. teises pooles ja järgnevatel aastatel</a:t>
            </a:r>
          </a:p>
          <a:p>
            <a:pPr marL="155539" marR="0" lvl="0" indent="-155539" defTabSz="414772" eaLnBrk="1" fontAlgn="auto" latinLnBrk="0" hangingPunct="1">
              <a:lnSpc>
                <a:spcPct val="90000"/>
              </a:lnSpc>
              <a:spcBef>
                <a:spcPts val="0"/>
              </a:spcBef>
              <a:spcAft>
                <a:spcPts val="0"/>
              </a:spcAft>
              <a:buClrTx/>
              <a:buSzTx/>
              <a:buFontTx/>
              <a:buChar char="-"/>
              <a:tabLst/>
              <a:defRPr/>
            </a:pPr>
            <a:r>
              <a:rPr kumimoji="0" lang="et-EE" sz="900" b="0" i="0" u="none" strike="noStrike" kern="0" cap="none" spc="0" normalizeH="0" baseline="0" noProof="0" err="1">
                <a:ln>
                  <a:noFill/>
                </a:ln>
                <a:solidFill>
                  <a:srgbClr val="000000"/>
                </a:solidFill>
                <a:effectLst/>
                <a:uLnTx/>
                <a:uFillTx/>
              </a:rPr>
              <a:t>CfD</a:t>
            </a:r>
            <a:r>
              <a:rPr kumimoji="0" lang="et-EE" sz="900" b="0" i="0" u="none" strike="noStrike" kern="0" cap="none" spc="0" normalizeH="0" baseline="0" noProof="0">
                <a:ln>
                  <a:noFill/>
                </a:ln>
                <a:solidFill>
                  <a:srgbClr val="000000"/>
                </a:solidFill>
                <a:effectLst/>
                <a:uLnTx/>
                <a:uFillTx/>
              </a:rPr>
              <a:t> vähempakkumisi korraldatakse suuremas mahus kui 2030 a. eesmärk, et kindlasti projekti realiseeruksid</a:t>
            </a:r>
          </a:p>
        </p:txBody>
      </p:sp>
      <p:sp>
        <p:nvSpPr>
          <p:cNvPr id="92" name="TextBox 91">
            <a:extLst>
              <a:ext uri="{FF2B5EF4-FFF2-40B4-BE49-F238E27FC236}">
                <a16:creationId xmlns:a16="http://schemas.microsoft.com/office/drawing/2014/main" id="{BAEE8485-0D96-0231-3437-3F2A73F603A3}"/>
              </a:ext>
            </a:extLst>
          </p:cNvPr>
          <p:cNvSpPr txBox="1"/>
          <p:nvPr/>
        </p:nvSpPr>
        <p:spPr>
          <a:xfrm>
            <a:off x="7737134" y="4500052"/>
            <a:ext cx="2801047" cy="191732"/>
          </a:xfrm>
          <a:prstGeom prst="rect">
            <a:avLst/>
          </a:prstGeom>
          <a:solidFill>
            <a:srgbClr val="A2C02F">
              <a:lumMod val="50000"/>
            </a:srgbClr>
          </a:solidFill>
        </p:spPr>
        <p:txBody>
          <a:bodyPr vert="horz" wrap="square" lIns="32658" tIns="32658" rIns="32658" bIns="32658" rtlCol="0" anchor="ctr">
            <a:noAutofit/>
          </a:bodyPr>
          <a:lstStyle/>
          <a:p>
            <a:pPr marL="407571" marR="0" lvl="0" indent="0" defTabSz="414772" eaLnBrk="1" fontAlgn="auto" latinLnBrk="0" hangingPunct="1">
              <a:lnSpc>
                <a:spcPct val="100000"/>
              </a:lnSpc>
              <a:spcBef>
                <a:spcPts val="0"/>
              </a:spcBef>
              <a:spcAft>
                <a:spcPts val="0"/>
              </a:spcAft>
              <a:buClrTx/>
              <a:buSzTx/>
              <a:buFontTx/>
              <a:buNone/>
              <a:tabLst/>
              <a:defRPr/>
            </a:pPr>
            <a:r>
              <a:rPr kumimoji="0" lang="et-EE" sz="900" b="1" i="0" u="none" strike="noStrike" kern="0" cap="none" spc="0" normalizeH="0" baseline="0" noProof="0">
                <a:ln>
                  <a:noFill/>
                </a:ln>
                <a:solidFill>
                  <a:srgbClr val="FFFFFF"/>
                </a:solidFill>
                <a:effectLst/>
                <a:uLnTx/>
                <a:uFillTx/>
              </a:rPr>
              <a:t>Iirimaa</a:t>
            </a:r>
          </a:p>
        </p:txBody>
      </p:sp>
      <p:pic>
        <p:nvPicPr>
          <p:cNvPr id="94" name="Picture 93" descr="A picture containing transport, balloon, aircraft&#10;&#10;Description automatically generated">
            <a:extLst>
              <a:ext uri="{FF2B5EF4-FFF2-40B4-BE49-F238E27FC236}">
                <a16:creationId xmlns:a16="http://schemas.microsoft.com/office/drawing/2014/main" id="{518AC97F-CE34-E5AD-089F-3E5329BD8AEF}"/>
              </a:ext>
            </a:extLst>
          </p:cNvPr>
          <p:cNvPicPr>
            <a:picLocks noChangeAspect="1"/>
          </p:cNvPicPr>
          <p:nvPr/>
        </p:nvPicPr>
        <p:blipFill>
          <a:blip r:embed="rId7"/>
          <a:stretch>
            <a:fillRect/>
          </a:stretch>
        </p:blipFill>
        <p:spPr>
          <a:xfrm>
            <a:off x="7662865" y="1013543"/>
            <a:ext cx="347013" cy="347013"/>
          </a:xfrm>
          <a:prstGeom prst="rect">
            <a:avLst/>
          </a:prstGeom>
        </p:spPr>
      </p:pic>
      <p:sp>
        <p:nvSpPr>
          <p:cNvPr id="95" name="TextBox 94">
            <a:extLst>
              <a:ext uri="{FF2B5EF4-FFF2-40B4-BE49-F238E27FC236}">
                <a16:creationId xmlns:a16="http://schemas.microsoft.com/office/drawing/2014/main" id="{F6D0FE07-47D3-130B-E453-63C1B9D22362}"/>
              </a:ext>
            </a:extLst>
          </p:cNvPr>
          <p:cNvSpPr txBox="1"/>
          <p:nvPr/>
        </p:nvSpPr>
        <p:spPr>
          <a:xfrm>
            <a:off x="4680488" y="5967650"/>
            <a:ext cx="2852030" cy="666776"/>
          </a:xfrm>
          <a:prstGeom prst="rect">
            <a:avLst/>
          </a:prstGeom>
          <a:solidFill>
            <a:srgbClr val="A2C02F">
              <a:lumMod val="20000"/>
              <a:lumOff val="80000"/>
            </a:srgbClr>
          </a:solidFill>
        </p:spPr>
        <p:txBody>
          <a:bodyPr vert="horz" wrap="square" lIns="32658" tIns="32658" rIns="32658" bIns="32658" rtlCol="0" anchor="t">
            <a:noAutofit/>
          </a:bodyPr>
          <a:lstStyle/>
          <a:p>
            <a:pPr marL="0" marR="0" lvl="0" indent="0" defTabSz="414772" eaLnBrk="1" fontAlgn="auto" latinLnBrk="0" hangingPunct="1">
              <a:lnSpc>
                <a:spcPct val="100000"/>
              </a:lnSpc>
              <a:spcBef>
                <a:spcPts val="0"/>
              </a:spcBef>
              <a:spcAft>
                <a:spcPts val="0"/>
              </a:spcAft>
              <a:buClrTx/>
              <a:buSzTx/>
              <a:buFontTx/>
              <a:buNone/>
              <a:tabLst/>
              <a:defRPr/>
            </a:pPr>
            <a:r>
              <a:rPr kumimoji="0" lang="et-EE" sz="900" b="1" i="0" u="none" strike="noStrike" kern="0" cap="none" spc="0" normalizeH="0" baseline="0" noProof="0">
                <a:ln>
                  <a:noFill/>
                </a:ln>
                <a:solidFill>
                  <a:srgbClr val="000000"/>
                </a:solidFill>
                <a:effectLst/>
                <a:uLnTx/>
                <a:uFillTx/>
              </a:rPr>
              <a:t>Juba töös: 0GW</a:t>
            </a:r>
          </a:p>
          <a:p>
            <a:pPr marL="0" marR="0" lvl="0" indent="0" defTabSz="414772" eaLnBrk="1" fontAlgn="auto" latinLnBrk="0" hangingPunct="1">
              <a:lnSpc>
                <a:spcPct val="100000"/>
              </a:lnSpc>
              <a:spcBef>
                <a:spcPts val="0"/>
              </a:spcBef>
              <a:spcAft>
                <a:spcPts val="0"/>
              </a:spcAft>
              <a:buClrTx/>
              <a:buSzTx/>
              <a:buFontTx/>
              <a:buNone/>
              <a:tabLst/>
              <a:defRPr/>
            </a:pPr>
            <a:r>
              <a:rPr kumimoji="0" lang="et-EE" sz="900" b="1" i="0" u="none" strike="noStrike" kern="0" cap="none" spc="0" normalizeH="0" baseline="0" noProof="0">
                <a:ln>
                  <a:noFill/>
                </a:ln>
                <a:solidFill>
                  <a:srgbClr val="000000"/>
                </a:solidFill>
                <a:effectLst/>
                <a:uLnTx/>
                <a:uFillTx/>
              </a:rPr>
              <a:t>Meretuule eesmärk 2030: 10GW</a:t>
            </a:r>
          </a:p>
          <a:p>
            <a:pPr marL="0" marR="0" lvl="0" indent="0" defTabSz="414772" eaLnBrk="1" fontAlgn="auto" latinLnBrk="0" hangingPunct="1">
              <a:lnSpc>
                <a:spcPct val="100000"/>
              </a:lnSpc>
              <a:spcBef>
                <a:spcPts val="0"/>
              </a:spcBef>
              <a:spcAft>
                <a:spcPts val="0"/>
              </a:spcAft>
              <a:buClrTx/>
              <a:buSzTx/>
              <a:buFontTx/>
              <a:buNone/>
              <a:tabLst/>
              <a:defRPr/>
            </a:pPr>
            <a:r>
              <a:rPr kumimoji="0" lang="et-EE" sz="900" b="0" i="0" u="none" strike="noStrike" kern="0" cap="none" spc="0" normalizeH="0" baseline="0" noProof="0">
                <a:ln>
                  <a:noFill/>
                </a:ln>
                <a:solidFill>
                  <a:srgbClr val="000000"/>
                </a:solidFill>
                <a:effectLst/>
                <a:uLnTx/>
                <a:uFillTx/>
                <a:ea typeface="Times New Roman" panose="02020603050405020304" pitchFamily="18" charset="0"/>
                <a:cs typeface="Times New Roman" panose="02020603050405020304" pitchFamily="18" charset="0"/>
              </a:rPr>
              <a:t>- 2023 toimub esimene </a:t>
            </a:r>
            <a:r>
              <a:rPr kumimoji="0" lang="et-EE" sz="900" b="0" i="0" u="none" strike="noStrike" kern="0" cap="none" spc="0" normalizeH="0" baseline="0" noProof="0" err="1">
                <a:ln>
                  <a:noFill/>
                </a:ln>
                <a:solidFill>
                  <a:srgbClr val="000000"/>
                </a:solidFill>
                <a:effectLst/>
                <a:uLnTx/>
                <a:uFillTx/>
                <a:ea typeface="Times New Roman" panose="02020603050405020304" pitchFamily="18" charset="0"/>
                <a:cs typeface="Times New Roman" panose="02020603050405020304" pitchFamily="18" charset="0"/>
              </a:rPr>
              <a:t>CfD</a:t>
            </a:r>
            <a:r>
              <a:rPr kumimoji="0" lang="et-EE" sz="900" b="0" i="0" u="none" strike="noStrike" kern="0" cap="none" spc="0" normalizeH="0" baseline="0" noProof="0">
                <a:ln>
                  <a:noFill/>
                </a:ln>
                <a:solidFill>
                  <a:srgbClr val="000000"/>
                </a:solidFill>
                <a:effectLst/>
                <a:uLnTx/>
                <a:uFillTx/>
                <a:ea typeface="Times New Roman" panose="02020603050405020304" pitchFamily="18" charset="0"/>
                <a:cs typeface="Times New Roman" panose="02020603050405020304" pitchFamily="18" charset="0"/>
              </a:rPr>
              <a:t> vähempakkumine vähemalt 1.5-2GW-le  </a:t>
            </a:r>
            <a:endParaRPr kumimoji="0" lang="et-EE" sz="900" b="0" i="0" u="none" strike="noStrike" kern="0" cap="none" spc="0" normalizeH="0" baseline="0" noProof="0">
              <a:ln>
                <a:noFill/>
              </a:ln>
              <a:solidFill>
                <a:srgbClr val="000000"/>
              </a:solidFill>
              <a:effectLst/>
              <a:uLnTx/>
              <a:uFillTx/>
              <a:ea typeface="Calibri" panose="020F0502020204030204" pitchFamily="34" charset="0"/>
              <a:cs typeface="Times New Roman" panose="02020603050405020304" pitchFamily="18" charset="0"/>
            </a:endParaRPr>
          </a:p>
          <a:p>
            <a:pPr marL="0" marR="0" lvl="0" indent="0" defTabSz="414772" eaLnBrk="1" fontAlgn="auto" latinLnBrk="0" hangingPunct="1">
              <a:lnSpc>
                <a:spcPct val="100000"/>
              </a:lnSpc>
              <a:spcBef>
                <a:spcPts val="0"/>
              </a:spcBef>
              <a:spcAft>
                <a:spcPts val="0"/>
              </a:spcAft>
              <a:buClrTx/>
              <a:buSzTx/>
              <a:buFontTx/>
              <a:buNone/>
              <a:tabLst/>
              <a:defRPr/>
            </a:pPr>
            <a:endParaRPr kumimoji="0" lang="et-EE" sz="900" b="1" i="0" u="none" strike="noStrike" kern="0" cap="none" spc="0" normalizeH="0" baseline="0" noProof="0">
              <a:ln>
                <a:noFill/>
              </a:ln>
              <a:solidFill>
                <a:srgbClr val="000000"/>
              </a:solidFill>
              <a:effectLst/>
              <a:uLnTx/>
              <a:uFillTx/>
            </a:endParaRPr>
          </a:p>
        </p:txBody>
      </p:sp>
      <p:sp>
        <p:nvSpPr>
          <p:cNvPr id="96" name="TextBox 95">
            <a:extLst>
              <a:ext uri="{FF2B5EF4-FFF2-40B4-BE49-F238E27FC236}">
                <a16:creationId xmlns:a16="http://schemas.microsoft.com/office/drawing/2014/main" id="{2DFD8EA9-DA40-DA51-330F-12DFBD385ECE}"/>
              </a:ext>
            </a:extLst>
          </p:cNvPr>
          <p:cNvSpPr txBox="1"/>
          <p:nvPr/>
        </p:nvSpPr>
        <p:spPr>
          <a:xfrm>
            <a:off x="4680488" y="5775916"/>
            <a:ext cx="2852030" cy="191732"/>
          </a:xfrm>
          <a:prstGeom prst="rect">
            <a:avLst/>
          </a:prstGeom>
          <a:solidFill>
            <a:srgbClr val="A2C02F">
              <a:lumMod val="50000"/>
            </a:srgbClr>
          </a:solidFill>
        </p:spPr>
        <p:txBody>
          <a:bodyPr vert="horz" wrap="square" lIns="32658" tIns="32658" rIns="32658" bIns="32658" rtlCol="0" anchor="ctr">
            <a:noAutofit/>
          </a:bodyPr>
          <a:lstStyle/>
          <a:p>
            <a:pPr marL="407571" marR="0" lvl="0" indent="0" defTabSz="414772" eaLnBrk="1" fontAlgn="auto" latinLnBrk="0" hangingPunct="1">
              <a:lnSpc>
                <a:spcPct val="100000"/>
              </a:lnSpc>
              <a:spcBef>
                <a:spcPts val="0"/>
              </a:spcBef>
              <a:spcAft>
                <a:spcPts val="0"/>
              </a:spcAft>
              <a:buClrTx/>
              <a:buSzTx/>
              <a:buFontTx/>
              <a:buNone/>
              <a:tabLst/>
              <a:defRPr/>
            </a:pPr>
            <a:r>
              <a:rPr kumimoji="0" lang="et-EE" sz="900" b="1" i="0" u="none" strike="noStrike" kern="0" cap="none" spc="0" normalizeH="0" baseline="0" noProof="0">
                <a:ln>
                  <a:noFill/>
                </a:ln>
                <a:solidFill>
                  <a:srgbClr val="FFFFFF"/>
                </a:solidFill>
                <a:effectLst/>
                <a:uLnTx/>
                <a:uFillTx/>
              </a:rPr>
              <a:t>Portugal</a:t>
            </a:r>
          </a:p>
        </p:txBody>
      </p:sp>
      <p:sp>
        <p:nvSpPr>
          <p:cNvPr id="97" name="TextBox 96">
            <a:extLst>
              <a:ext uri="{FF2B5EF4-FFF2-40B4-BE49-F238E27FC236}">
                <a16:creationId xmlns:a16="http://schemas.microsoft.com/office/drawing/2014/main" id="{00684D7F-FE73-C193-F924-9485CAD87955}"/>
              </a:ext>
            </a:extLst>
          </p:cNvPr>
          <p:cNvSpPr txBox="1"/>
          <p:nvPr/>
        </p:nvSpPr>
        <p:spPr>
          <a:xfrm>
            <a:off x="7721393" y="5989257"/>
            <a:ext cx="2852031" cy="625039"/>
          </a:xfrm>
          <a:prstGeom prst="rect">
            <a:avLst/>
          </a:prstGeom>
          <a:solidFill>
            <a:srgbClr val="FFFFFF">
              <a:lumMod val="95000"/>
            </a:srgbClr>
          </a:solidFill>
        </p:spPr>
        <p:txBody>
          <a:bodyPr vert="horz" wrap="square" lIns="32658" tIns="32658" rIns="32658" bIns="32658" rtlCol="0" anchor="t">
            <a:noAutofit/>
          </a:bodyPr>
          <a:lstStyle/>
          <a:p>
            <a:pPr marL="0" marR="0" lvl="0" indent="0" defTabSz="414772" eaLnBrk="1" fontAlgn="auto" latinLnBrk="0" hangingPunct="1">
              <a:lnSpc>
                <a:spcPct val="100000"/>
              </a:lnSpc>
              <a:spcBef>
                <a:spcPts val="0"/>
              </a:spcBef>
              <a:spcAft>
                <a:spcPts val="0"/>
              </a:spcAft>
              <a:buClrTx/>
              <a:buSzTx/>
              <a:buFontTx/>
              <a:buNone/>
              <a:tabLst/>
              <a:defRPr/>
            </a:pPr>
            <a:r>
              <a:rPr kumimoji="0" lang="et-EE" sz="900" b="1" i="0" u="none" strike="noStrike" kern="0" cap="none" spc="0" normalizeH="0" baseline="0" noProof="0">
                <a:ln>
                  <a:noFill/>
                </a:ln>
                <a:solidFill>
                  <a:srgbClr val="000000"/>
                </a:solidFill>
                <a:effectLst/>
                <a:uLnTx/>
                <a:uFillTx/>
              </a:rPr>
              <a:t>Juba töös: 30MW </a:t>
            </a:r>
            <a:r>
              <a:rPr kumimoji="0" lang="en-US" sz="900" b="1" i="0" u="none" strike="noStrike" kern="0" cap="none" spc="0" normalizeH="0" baseline="0" noProof="0">
                <a:ln>
                  <a:noFill/>
                </a:ln>
                <a:solidFill>
                  <a:srgbClr val="000000"/>
                </a:solidFill>
                <a:effectLst/>
                <a:uLnTx/>
                <a:uFillTx/>
              </a:rPr>
              <a:t> (10 </a:t>
            </a:r>
            <a:r>
              <a:rPr kumimoji="0" lang="en-US" sz="900" b="1" i="0" u="none" strike="noStrike" kern="0" cap="none" spc="0" normalizeH="0" baseline="0" noProof="0" err="1">
                <a:ln>
                  <a:noFill/>
                </a:ln>
                <a:solidFill>
                  <a:srgbClr val="000000"/>
                </a:solidFill>
                <a:effectLst/>
                <a:uLnTx/>
                <a:uFillTx/>
              </a:rPr>
              <a:t>tuulikut</a:t>
            </a:r>
            <a:r>
              <a:rPr kumimoji="0" lang="en-US" sz="900" b="1" i="0" u="none" strike="noStrike" kern="0" cap="none" spc="0" normalizeH="0" baseline="0" noProof="0">
                <a:ln>
                  <a:noFill/>
                </a:ln>
                <a:solidFill>
                  <a:srgbClr val="000000"/>
                </a:solidFill>
                <a:effectLst/>
                <a:uLnTx/>
                <a:uFillTx/>
              </a:rPr>
              <a:t>)</a:t>
            </a:r>
            <a:endParaRPr kumimoji="0" lang="et-EE" sz="900" b="1" i="0" u="none" strike="noStrike" kern="0" cap="none" spc="0" normalizeH="0" baseline="0" noProof="0">
              <a:ln>
                <a:noFill/>
              </a:ln>
              <a:solidFill>
                <a:srgbClr val="000000"/>
              </a:solidFill>
              <a:effectLst/>
              <a:uLnTx/>
              <a:uFillTx/>
            </a:endParaRPr>
          </a:p>
          <a:p>
            <a:pPr marL="0" marR="0" lvl="0" indent="0" defTabSz="414772" eaLnBrk="1" fontAlgn="auto" latinLnBrk="0" hangingPunct="1">
              <a:lnSpc>
                <a:spcPct val="100000"/>
              </a:lnSpc>
              <a:spcBef>
                <a:spcPts val="0"/>
              </a:spcBef>
              <a:spcAft>
                <a:spcPts val="0"/>
              </a:spcAft>
              <a:buClrTx/>
              <a:buSzTx/>
              <a:buFontTx/>
              <a:buNone/>
              <a:tabLst/>
              <a:defRPr/>
            </a:pPr>
            <a:r>
              <a:rPr kumimoji="0" lang="et-EE" sz="900" b="1" i="0" u="none" strike="noStrike" kern="0" cap="none" spc="0" normalizeH="0" baseline="0" noProof="0">
                <a:ln>
                  <a:noFill/>
                </a:ln>
                <a:solidFill>
                  <a:srgbClr val="000000"/>
                </a:solidFill>
                <a:effectLst/>
                <a:uLnTx/>
                <a:uFillTx/>
              </a:rPr>
              <a:t>Meretuule eesmärk 2030: 3.5GW</a:t>
            </a:r>
          </a:p>
          <a:p>
            <a:pPr marL="155539" marR="0" lvl="0" indent="-155539" defTabSz="414772" eaLnBrk="1" fontAlgn="auto" latinLnBrk="0" hangingPunct="1">
              <a:lnSpc>
                <a:spcPct val="100000"/>
              </a:lnSpc>
              <a:spcBef>
                <a:spcPts val="0"/>
              </a:spcBef>
              <a:spcAft>
                <a:spcPts val="0"/>
              </a:spcAft>
              <a:buClrTx/>
              <a:buSzTx/>
              <a:buFontTx/>
              <a:buChar char="-"/>
              <a:tabLst/>
              <a:defRPr/>
            </a:pPr>
            <a:r>
              <a:rPr kumimoji="0" lang="et-EE" sz="900" b="0" i="0" u="none" strike="noStrike" kern="0" cap="none" spc="0" normalizeH="0" baseline="0" noProof="0">
                <a:ln>
                  <a:noFill/>
                </a:ln>
                <a:solidFill>
                  <a:srgbClr val="000000"/>
                </a:solidFill>
                <a:effectLst/>
                <a:uLnTx/>
                <a:uFillTx/>
                <a:ea typeface="Times New Roman" panose="02020603050405020304" pitchFamily="18" charset="0"/>
                <a:cs typeface="Times New Roman" panose="02020603050405020304" pitchFamily="18" charset="0"/>
              </a:rPr>
              <a:t>kogu maht on kaetud CfD-dega</a:t>
            </a:r>
          </a:p>
          <a:p>
            <a:pPr marL="155539" marR="0" lvl="0" indent="-155539" defTabSz="414772" eaLnBrk="1" fontAlgn="auto" latinLnBrk="0" hangingPunct="1">
              <a:lnSpc>
                <a:spcPct val="100000"/>
              </a:lnSpc>
              <a:spcBef>
                <a:spcPts val="0"/>
              </a:spcBef>
              <a:spcAft>
                <a:spcPts val="0"/>
              </a:spcAft>
              <a:buClrTx/>
              <a:buSzTx/>
              <a:buFontTx/>
              <a:buChar char="-"/>
              <a:tabLst/>
              <a:defRPr/>
            </a:pPr>
            <a:r>
              <a:rPr kumimoji="0" lang="et-EE" sz="900" b="0" i="0" u="none" strike="noStrike" kern="0" cap="none" spc="0" normalizeH="0" baseline="0" noProof="0">
                <a:ln>
                  <a:noFill/>
                </a:ln>
                <a:solidFill>
                  <a:srgbClr val="000000"/>
                </a:solidFill>
                <a:effectLst/>
                <a:uLnTx/>
                <a:uFillTx/>
                <a:ea typeface="Times New Roman" panose="02020603050405020304" pitchFamily="18" charset="0"/>
                <a:cs typeface="Times New Roman" panose="02020603050405020304" pitchFamily="18" charset="0"/>
              </a:rPr>
              <a:t>oksjonid viiakse läbi 2023-2026</a:t>
            </a:r>
            <a:endParaRPr kumimoji="0" lang="et-EE" sz="900" b="0" i="0" u="none" strike="noStrike" kern="0" cap="none" spc="0" normalizeH="0" baseline="0" noProof="0">
              <a:ln>
                <a:noFill/>
              </a:ln>
              <a:solidFill>
                <a:srgbClr val="000000"/>
              </a:solidFill>
              <a:effectLst/>
              <a:uLnTx/>
              <a:uFillTx/>
              <a:ea typeface="Calibri" panose="020F0502020204030204" pitchFamily="34" charset="0"/>
              <a:cs typeface="Times New Roman" panose="02020603050405020304" pitchFamily="18" charset="0"/>
            </a:endParaRPr>
          </a:p>
          <a:p>
            <a:pPr marL="0" marR="0" lvl="0" indent="0" defTabSz="414772" eaLnBrk="1" fontAlgn="auto" latinLnBrk="0" hangingPunct="1">
              <a:lnSpc>
                <a:spcPct val="100000"/>
              </a:lnSpc>
              <a:spcBef>
                <a:spcPts val="0"/>
              </a:spcBef>
              <a:spcAft>
                <a:spcPts val="0"/>
              </a:spcAft>
              <a:buClrTx/>
              <a:buSzTx/>
              <a:buFontTx/>
              <a:buNone/>
              <a:tabLst/>
              <a:defRPr/>
            </a:pPr>
            <a:endParaRPr kumimoji="0" lang="et-EE" sz="900" b="1" i="0" u="none" strike="noStrike" kern="0" cap="none" spc="0" normalizeH="0" baseline="0" noProof="0">
              <a:ln>
                <a:noFill/>
              </a:ln>
              <a:solidFill>
                <a:srgbClr val="000000"/>
              </a:solidFill>
              <a:effectLst/>
              <a:uLnTx/>
              <a:uFillTx/>
            </a:endParaRPr>
          </a:p>
        </p:txBody>
      </p:sp>
      <p:sp>
        <p:nvSpPr>
          <p:cNvPr id="98" name="TextBox 97">
            <a:extLst>
              <a:ext uri="{FF2B5EF4-FFF2-40B4-BE49-F238E27FC236}">
                <a16:creationId xmlns:a16="http://schemas.microsoft.com/office/drawing/2014/main" id="{A8FD5137-FCD9-5172-ED89-CE828742FA92}"/>
              </a:ext>
            </a:extLst>
          </p:cNvPr>
          <p:cNvSpPr txBox="1"/>
          <p:nvPr/>
        </p:nvSpPr>
        <p:spPr>
          <a:xfrm>
            <a:off x="7721393" y="5822008"/>
            <a:ext cx="2852031" cy="191732"/>
          </a:xfrm>
          <a:prstGeom prst="rect">
            <a:avLst/>
          </a:prstGeom>
          <a:solidFill>
            <a:srgbClr val="FFFFFF">
              <a:lumMod val="75000"/>
            </a:srgbClr>
          </a:solidFill>
        </p:spPr>
        <p:txBody>
          <a:bodyPr vert="horz" wrap="square" lIns="32658" tIns="32658" rIns="32658" bIns="32658" rtlCol="0" anchor="ctr">
            <a:noAutofit/>
          </a:bodyPr>
          <a:lstStyle/>
          <a:p>
            <a:pPr marL="407571" marR="0" lvl="0" indent="0" defTabSz="414772" eaLnBrk="1" fontAlgn="auto" latinLnBrk="0" hangingPunct="1">
              <a:lnSpc>
                <a:spcPct val="100000"/>
              </a:lnSpc>
              <a:spcBef>
                <a:spcPts val="0"/>
              </a:spcBef>
              <a:spcAft>
                <a:spcPts val="0"/>
              </a:spcAft>
              <a:buClrTx/>
              <a:buSzTx/>
              <a:buFontTx/>
              <a:buNone/>
              <a:tabLst/>
              <a:defRPr/>
            </a:pPr>
            <a:r>
              <a:rPr kumimoji="0" lang="et-EE" sz="900" b="1" i="0" u="none" strike="noStrike" kern="0" cap="none" spc="0" normalizeH="0" baseline="0" noProof="0">
                <a:ln>
                  <a:noFill/>
                </a:ln>
                <a:solidFill>
                  <a:srgbClr val="FFFFFF"/>
                </a:solidFill>
                <a:effectLst/>
                <a:uLnTx/>
                <a:uFillTx/>
              </a:rPr>
              <a:t>Itaalia</a:t>
            </a:r>
          </a:p>
        </p:txBody>
      </p:sp>
      <p:sp>
        <p:nvSpPr>
          <p:cNvPr id="99" name="TextBox 98">
            <a:extLst>
              <a:ext uri="{FF2B5EF4-FFF2-40B4-BE49-F238E27FC236}">
                <a16:creationId xmlns:a16="http://schemas.microsoft.com/office/drawing/2014/main" id="{2EC83CBC-77A2-080D-B5B2-5ECDE8BE5B2F}"/>
              </a:ext>
            </a:extLst>
          </p:cNvPr>
          <p:cNvSpPr txBox="1"/>
          <p:nvPr/>
        </p:nvSpPr>
        <p:spPr>
          <a:xfrm>
            <a:off x="7686151" y="3604287"/>
            <a:ext cx="2852031" cy="847119"/>
          </a:xfrm>
          <a:prstGeom prst="rect">
            <a:avLst/>
          </a:prstGeom>
          <a:solidFill>
            <a:srgbClr val="FFFFFF">
              <a:lumMod val="95000"/>
            </a:srgbClr>
          </a:solidFill>
        </p:spPr>
        <p:txBody>
          <a:bodyPr vert="horz" wrap="square" lIns="32658" tIns="32658" rIns="32658" bIns="32658" rtlCol="0" anchor="t">
            <a:noAutofit/>
          </a:bodyPr>
          <a:lstStyle/>
          <a:p>
            <a:pPr marL="0" marR="0" lvl="0" indent="0" defTabSz="414772" eaLnBrk="1" fontAlgn="auto" latinLnBrk="0" hangingPunct="1">
              <a:lnSpc>
                <a:spcPct val="100000"/>
              </a:lnSpc>
              <a:spcBef>
                <a:spcPts val="0"/>
              </a:spcBef>
              <a:spcAft>
                <a:spcPts val="0"/>
              </a:spcAft>
              <a:buClrTx/>
              <a:buSzTx/>
              <a:buFontTx/>
              <a:buNone/>
              <a:tabLst/>
              <a:defRPr/>
            </a:pPr>
            <a:r>
              <a:rPr kumimoji="0" lang="et-EE" sz="900" b="1" i="0" u="none" strike="noStrike" kern="0" cap="none" spc="0" normalizeH="0" baseline="0" noProof="0">
                <a:ln>
                  <a:noFill/>
                </a:ln>
                <a:solidFill>
                  <a:srgbClr val="000000"/>
                </a:solidFill>
                <a:effectLst/>
                <a:uLnTx/>
                <a:uFillTx/>
              </a:rPr>
              <a:t>Juba töös: 0.5GW </a:t>
            </a:r>
            <a:r>
              <a:rPr kumimoji="0" lang="en-US" sz="900" b="1" i="0" u="none" strike="noStrike" kern="0" cap="none" spc="0" normalizeH="0" baseline="0" noProof="0">
                <a:ln>
                  <a:noFill/>
                </a:ln>
                <a:solidFill>
                  <a:srgbClr val="000000"/>
                </a:solidFill>
                <a:effectLst/>
                <a:uLnTx/>
                <a:uFillTx/>
              </a:rPr>
              <a:t> (80 </a:t>
            </a:r>
            <a:r>
              <a:rPr kumimoji="0" lang="en-US" sz="900" b="1" i="0" u="none" strike="noStrike" kern="0" cap="none" spc="0" normalizeH="0" baseline="0" noProof="0" err="1">
                <a:ln>
                  <a:noFill/>
                </a:ln>
                <a:solidFill>
                  <a:srgbClr val="000000"/>
                </a:solidFill>
                <a:effectLst/>
                <a:uLnTx/>
                <a:uFillTx/>
              </a:rPr>
              <a:t>tuulikut</a:t>
            </a:r>
            <a:r>
              <a:rPr kumimoji="0" lang="en-US" sz="900" b="1" i="0" u="none" strike="noStrike" kern="0" cap="none" spc="0" normalizeH="0" baseline="0" noProof="0">
                <a:ln>
                  <a:noFill/>
                </a:ln>
                <a:solidFill>
                  <a:srgbClr val="000000"/>
                </a:solidFill>
                <a:effectLst/>
                <a:uLnTx/>
                <a:uFillTx/>
              </a:rPr>
              <a:t>)</a:t>
            </a:r>
            <a:endParaRPr kumimoji="0" lang="et-EE" sz="900" b="1" i="0" u="none" strike="noStrike" kern="0" cap="none" spc="0" normalizeH="0" baseline="0" noProof="0">
              <a:ln>
                <a:noFill/>
              </a:ln>
              <a:solidFill>
                <a:srgbClr val="000000"/>
              </a:solidFill>
              <a:effectLst/>
              <a:uLnTx/>
              <a:uFillTx/>
            </a:endParaRPr>
          </a:p>
          <a:p>
            <a:pPr marL="0" marR="0" lvl="0" indent="0" defTabSz="414772" eaLnBrk="1" fontAlgn="auto" latinLnBrk="0" hangingPunct="1">
              <a:lnSpc>
                <a:spcPct val="100000"/>
              </a:lnSpc>
              <a:spcBef>
                <a:spcPts val="0"/>
              </a:spcBef>
              <a:spcAft>
                <a:spcPts val="0"/>
              </a:spcAft>
              <a:buClrTx/>
              <a:buSzTx/>
              <a:buFontTx/>
              <a:buNone/>
              <a:tabLst/>
              <a:defRPr/>
            </a:pPr>
            <a:r>
              <a:rPr kumimoji="0" lang="et-EE" sz="900" b="1" i="0" u="none" strike="noStrike" kern="0" cap="none" spc="0" normalizeH="0" baseline="0" noProof="0">
                <a:ln>
                  <a:noFill/>
                </a:ln>
                <a:solidFill>
                  <a:srgbClr val="000000"/>
                </a:solidFill>
                <a:effectLst/>
                <a:uLnTx/>
                <a:uFillTx/>
              </a:rPr>
              <a:t>Meretuule eesmärk 2030: 3.8GW (Atlandi ja Põhjameri)</a:t>
            </a:r>
          </a:p>
          <a:p>
            <a:pPr marL="155539" marR="0" lvl="0" indent="-155539" defTabSz="414772" eaLnBrk="1" fontAlgn="auto" latinLnBrk="0" hangingPunct="1">
              <a:lnSpc>
                <a:spcPct val="100000"/>
              </a:lnSpc>
              <a:spcBef>
                <a:spcPts val="0"/>
              </a:spcBef>
              <a:spcAft>
                <a:spcPts val="0"/>
              </a:spcAft>
              <a:buClrTx/>
              <a:buSzTx/>
              <a:buFontTx/>
              <a:buChar char="-"/>
              <a:tabLst/>
              <a:defRPr/>
            </a:pPr>
            <a:r>
              <a:rPr kumimoji="0" lang="et-EE" sz="900" b="0" i="0" u="none" strike="noStrike" kern="0" cap="none" spc="0" normalizeH="0" baseline="0" noProof="0">
                <a:ln>
                  <a:noFill/>
                </a:ln>
                <a:solidFill>
                  <a:srgbClr val="000000"/>
                </a:solidFill>
                <a:effectLst/>
                <a:uLnTx/>
                <a:uFillTx/>
                <a:ea typeface="Times New Roman" panose="02020603050405020304" pitchFamily="18" charset="0"/>
                <a:cs typeface="Times New Roman" panose="02020603050405020304" pitchFamily="18" charset="0"/>
              </a:rPr>
              <a:t>Oksjonid planeeritud iga-aastaselt</a:t>
            </a:r>
          </a:p>
          <a:p>
            <a:pPr marL="155539" marR="0" lvl="0" indent="-155539" defTabSz="414772" eaLnBrk="1" fontAlgn="auto" latinLnBrk="0" hangingPunct="1">
              <a:lnSpc>
                <a:spcPct val="100000"/>
              </a:lnSpc>
              <a:spcBef>
                <a:spcPts val="0"/>
              </a:spcBef>
              <a:spcAft>
                <a:spcPts val="0"/>
              </a:spcAft>
              <a:buClrTx/>
              <a:buSzTx/>
              <a:buFontTx/>
              <a:buChar char="-"/>
              <a:tabLst/>
              <a:defRPr/>
            </a:pPr>
            <a:r>
              <a:rPr kumimoji="0" lang="et-EE" sz="900" b="0" i="0" u="none" strike="noStrike" kern="0" cap="none" spc="0" normalizeH="0" baseline="0" noProof="0" err="1">
                <a:ln>
                  <a:noFill/>
                </a:ln>
                <a:solidFill>
                  <a:srgbClr val="000000"/>
                </a:solidFill>
                <a:effectLst/>
                <a:uLnTx/>
                <a:uFillTx/>
                <a:ea typeface="Times New Roman" panose="02020603050405020304" pitchFamily="18" charset="0"/>
                <a:cs typeface="Times New Roman" panose="02020603050405020304" pitchFamily="18" charset="0"/>
              </a:rPr>
              <a:t>CfD</a:t>
            </a:r>
            <a:r>
              <a:rPr kumimoji="0" lang="et-EE" sz="900" b="0" i="0" u="none" strike="noStrike" kern="0" cap="none" spc="0" normalizeH="0" baseline="0" noProof="0">
                <a:ln>
                  <a:noFill/>
                </a:ln>
                <a:solidFill>
                  <a:srgbClr val="000000"/>
                </a:solidFill>
                <a:effectLst/>
                <a:uLnTx/>
                <a:uFillTx/>
                <a:ea typeface="Times New Roman" panose="02020603050405020304" pitchFamily="18" charset="0"/>
                <a:cs typeface="Times New Roman" panose="02020603050405020304" pitchFamily="18" charset="0"/>
              </a:rPr>
              <a:t> abil soovitakse saavutada 2030. aasta eesmärk toota 33% oma energiavajadusest taastuvatest allikatest</a:t>
            </a:r>
          </a:p>
          <a:p>
            <a:pPr marL="155539" marR="0" lvl="0" indent="-155539" defTabSz="414772" eaLnBrk="1" fontAlgn="auto" latinLnBrk="0" hangingPunct="1">
              <a:lnSpc>
                <a:spcPct val="100000"/>
              </a:lnSpc>
              <a:spcBef>
                <a:spcPts val="0"/>
              </a:spcBef>
              <a:spcAft>
                <a:spcPts val="0"/>
              </a:spcAft>
              <a:buClrTx/>
              <a:buSzTx/>
              <a:buFontTx/>
              <a:buChar char="-"/>
              <a:tabLst/>
              <a:defRPr/>
            </a:pPr>
            <a:endParaRPr kumimoji="0" lang="et-EE" sz="900" b="0" i="0" u="none" strike="noStrike" kern="0" cap="none" spc="0" normalizeH="0" baseline="0" noProof="0">
              <a:ln>
                <a:noFill/>
              </a:ln>
              <a:solidFill>
                <a:srgbClr val="000000"/>
              </a:solidFill>
              <a:effectLst/>
              <a:uLnTx/>
              <a:uFillTx/>
              <a:ea typeface="Calibri" panose="020F0502020204030204" pitchFamily="34" charset="0"/>
              <a:cs typeface="Times New Roman" panose="02020603050405020304" pitchFamily="18" charset="0"/>
            </a:endParaRPr>
          </a:p>
          <a:p>
            <a:pPr marL="0" marR="0" lvl="0" indent="0" defTabSz="414772" eaLnBrk="1" fontAlgn="auto" latinLnBrk="0" hangingPunct="1">
              <a:lnSpc>
                <a:spcPct val="100000"/>
              </a:lnSpc>
              <a:spcBef>
                <a:spcPts val="0"/>
              </a:spcBef>
              <a:spcAft>
                <a:spcPts val="0"/>
              </a:spcAft>
              <a:buClrTx/>
              <a:buSzTx/>
              <a:buFontTx/>
              <a:buNone/>
              <a:tabLst/>
              <a:defRPr/>
            </a:pPr>
            <a:endParaRPr kumimoji="0" lang="et-EE" sz="900" b="1" i="0" u="none" strike="noStrike" kern="0" cap="none" spc="0" normalizeH="0" baseline="0" noProof="0">
              <a:ln>
                <a:noFill/>
              </a:ln>
              <a:solidFill>
                <a:srgbClr val="000000"/>
              </a:solidFill>
              <a:effectLst/>
              <a:uLnTx/>
              <a:uFillTx/>
            </a:endParaRPr>
          </a:p>
        </p:txBody>
      </p:sp>
      <p:sp>
        <p:nvSpPr>
          <p:cNvPr id="100" name="TextBox 99">
            <a:extLst>
              <a:ext uri="{FF2B5EF4-FFF2-40B4-BE49-F238E27FC236}">
                <a16:creationId xmlns:a16="http://schemas.microsoft.com/office/drawing/2014/main" id="{D60BE8E7-C730-982A-031D-256AD4BF065E}"/>
              </a:ext>
            </a:extLst>
          </p:cNvPr>
          <p:cNvSpPr txBox="1"/>
          <p:nvPr/>
        </p:nvSpPr>
        <p:spPr>
          <a:xfrm>
            <a:off x="7686151" y="3445086"/>
            <a:ext cx="2852031" cy="191732"/>
          </a:xfrm>
          <a:prstGeom prst="rect">
            <a:avLst/>
          </a:prstGeom>
          <a:solidFill>
            <a:srgbClr val="FFFFFF">
              <a:lumMod val="75000"/>
            </a:srgbClr>
          </a:solidFill>
        </p:spPr>
        <p:txBody>
          <a:bodyPr vert="horz" wrap="square" lIns="32658" tIns="32658" rIns="32658" bIns="32658" rtlCol="0" anchor="ctr">
            <a:noAutofit/>
          </a:bodyPr>
          <a:lstStyle/>
          <a:p>
            <a:pPr marL="407571" marR="0" lvl="0" indent="0" defTabSz="414772" eaLnBrk="1" fontAlgn="auto" latinLnBrk="0" hangingPunct="1">
              <a:lnSpc>
                <a:spcPct val="100000"/>
              </a:lnSpc>
              <a:spcBef>
                <a:spcPts val="0"/>
              </a:spcBef>
              <a:spcAft>
                <a:spcPts val="0"/>
              </a:spcAft>
              <a:buClrTx/>
              <a:buSzTx/>
              <a:buFontTx/>
              <a:buNone/>
              <a:tabLst/>
              <a:defRPr/>
            </a:pPr>
            <a:r>
              <a:rPr kumimoji="0" lang="et-EE" sz="900" b="1" i="0" u="none" strike="noStrike" kern="0" cap="none" spc="0" normalizeH="0" baseline="0" noProof="0">
                <a:ln>
                  <a:noFill/>
                </a:ln>
                <a:solidFill>
                  <a:srgbClr val="FFFFFF"/>
                </a:solidFill>
                <a:effectLst/>
                <a:uLnTx/>
                <a:uFillTx/>
              </a:rPr>
              <a:t>Prantsusmaa</a:t>
            </a:r>
          </a:p>
        </p:txBody>
      </p:sp>
      <p:pic>
        <p:nvPicPr>
          <p:cNvPr id="101" name="Picture 2" descr="download portugal flag svg eps png psd ai vector color free #portugal #logo  #flag #svg #eps #psd #ai #vector #color #free #art… | Portugal flag,  Portugal logo, Flag">
            <a:extLst>
              <a:ext uri="{FF2B5EF4-FFF2-40B4-BE49-F238E27FC236}">
                <a16:creationId xmlns:a16="http://schemas.microsoft.com/office/drawing/2014/main" id="{A9863A0A-4051-EFA2-2A19-752A995B755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29501" y="5694230"/>
            <a:ext cx="295027" cy="295027"/>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01">
            <a:extLst>
              <a:ext uri="{FF2B5EF4-FFF2-40B4-BE49-F238E27FC236}">
                <a16:creationId xmlns:a16="http://schemas.microsoft.com/office/drawing/2014/main" id="{028F0601-0276-D0C9-B6BA-8252B365DF8E}"/>
              </a:ext>
            </a:extLst>
          </p:cNvPr>
          <p:cNvPicPr>
            <a:picLocks noChangeAspect="1"/>
          </p:cNvPicPr>
          <p:nvPr/>
        </p:nvPicPr>
        <p:blipFill>
          <a:blip r:embed="rId9"/>
          <a:stretch>
            <a:fillRect/>
          </a:stretch>
        </p:blipFill>
        <p:spPr>
          <a:xfrm>
            <a:off x="7605471" y="5683736"/>
            <a:ext cx="415394" cy="414119"/>
          </a:xfrm>
          <a:prstGeom prst="rect">
            <a:avLst/>
          </a:prstGeom>
        </p:spPr>
      </p:pic>
      <p:pic>
        <p:nvPicPr>
          <p:cNvPr id="93" name="Picture 92" descr="Logo, icon&#10;&#10;Description automatically generated">
            <a:extLst>
              <a:ext uri="{FF2B5EF4-FFF2-40B4-BE49-F238E27FC236}">
                <a16:creationId xmlns:a16="http://schemas.microsoft.com/office/drawing/2014/main" id="{8FA0A8B4-9F8C-7E62-443D-623ACAA3332A}"/>
              </a:ext>
            </a:extLst>
          </p:cNvPr>
          <p:cNvPicPr>
            <a:picLocks noChangeAspect="1"/>
          </p:cNvPicPr>
          <p:nvPr/>
        </p:nvPicPr>
        <p:blipFill>
          <a:blip r:embed="rId10"/>
          <a:stretch>
            <a:fillRect/>
          </a:stretch>
        </p:blipFill>
        <p:spPr>
          <a:xfrm>
            <a:off x="7662865" y="4399168"/>
            <a:ext cx="347013" cy="347013"/>
          </a:xfrm>
          <a:prstGeom prst="rect">
            <a:avLst/>
          </a:prstGeom>
        </p:spPr>
      </p:pic>
      <p:pic>
        <p:nvPicPr>
          <p:cNvPr id="103" name="Picture 102">
            <a:extLst>
              <a:ext uri="{FF2B5EF4-FFF2-40B4-BE49-F238E27FC236}">
                <a16:creationId xmlns:a16="http://schemas.microsoft.com/office/drawing/2014/main" id="{FB193E42-1954-7406-85E2-0EB76E43A1DF}"/>
              </a:ext>
            </a:extLst>
          </p:cNvPr>
          <p:cNvPicPr>
            <a:picLocks noChangeAspect="1"/>
          </p:cNvPicPr>
          <p:nvPr/>
        </p:nvPicPr>
        <p:blipFill>
          <a:blip r:embed="rId11"/>
          <a:stretch>
            <a:fillRect/>
          </a:stretch>
        </p:blipFill>
        <p:spPr>
          <a:xfrm>
            <a:off x="7664261" y="3345399"/>
            <a:ext cx="295027" cy="295027"/>
          </a:xfrm>
          <a:prstGeom prst="rect">
            <a:avLst/>
          </a:prstGeom>
        </p:spPr>
      </p:pic>
      <p:pic>
        <p:nvPicPr>
          <p:cNvPr id="82" name="Picture 81" descr="A picture containing balloon, aircraft, transport&#10;&#10;Description automatically generated">
            <a:extLst>
              <a:ext uri="{FF2B5EF4-FFF2-40B4-BE49-F238E27FC236}">
                <a16:creationId xmlns:a16="http://schemas.microsoft.com/office/drawing/2014/main" id="{896560F2-1FBC-C936-20B4-2B04EF51A759}"/>
              </a:ext>
            </a:extLst>
          </p:cNvPr>
          <p:cNvPicPr>
            <a:picLocks noChangeAspect="1"/>
          </p:cNvPicPr>
          <p:nvPr/>
        </p:nvPicPr>
        <p:blipFill>
          <a:blip r:embed="rId12"/>
          <a:stretch>
            <a:fillRect/>
          </a:stretch>
        </p:blipFill>
        <p:spPr>
          <a:xfrm>
            <a:off x="7638269" y="2026092"/>
            <a:ext cx="347013" cy="347013"/>
          </a:xfrm>
          <a:prstGeom prst="rect">
            <a:avLst/>
          </a:prstGeom>
        </p:spPr>
      </p:pic>
    </p:spTree>
    <p:extLst>
      <p:ext uri="{BB962C8B-B14F-4D97-AF65-F5344CB8AC3E}">
        <p14:creationId xmlns:p14="http://schemas.microsoft.com/office/powerpoint/2010/main" val="30021237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242021A0-B6BF-446A-9981-1681AD960C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76901" y="789210"/>
            <a:ext cx="3482165" cy="4974522"/>
          </a:xfrm>
          <a:prstGeom prst="rect">
            <a:avLst/>
          </a:prstGeom>
        </p:spPr>
      </p:pic>
      <p:pic>
        <p:nvPicPr>
          <p:cNvPr id="7" name="Picture 6">
            <a:extLst>
              <a:ext uri="{FF2B5EF4-FFF2-40B4-BE49-F238E27FC236}">
                <a16:creationId xmlns:a16="http://schemas.microsoft.com/office/drawing/2014/main" id="{E8C2AA25-B11D-094E-ABCD-CF5B8606C07F}"/>
              </a:ext>
            </a:extLst>
          </p:cNvPr>
          <p:cNvPicPr>
            <a:picLocks noChangeAspect="1"/>
          </p:cNvPicPr>
          <p:nvPr/>
        </p:nvPicPr>
        <p:blipFill>
          <a:blip r:embed="rId3"/>
          <a:stretch>
            <a:fillRect/>
          </a:stretch>
        </p:blipFill>
        <p:spPr>
          <a:xfrm>
            <a:off x="4397869" y="3751638"/>
            <a:ext cx="3766761" cy="1422999"/>
          </a:xfrm>
          <a:prstGeom prst="rect">
            <a:avLst/>
          </a:prstGeom>
        </p:spPr>
      </p:pic>
      <p:sp>
        <p:nvSpPr>
          <p:cNvPr id="3" name="TextBox 2">
            <a:extLst>
              <a:ext uri="{FF2B5EF4-FFF2-40B4-BE49-F238E27FC236}">
                <a16:creationId xmlns:a16="http://schemas.microsoft.com/office/drawing/2014/main" id="{EBC47F98-3F87-6E4E-9235-F1BED46C0D1B}"/>
              </a:ext>
            </a:extLst>
          </p:cNvPr>
          <p:cNvSpPr txBox="1"/>
          <p:nvPr/>
        </p:nvSpPr>
        <p:spPr>
          <a:xfrm>
            <a:off x="5012871" y="2691696"/>
            <a:ext cx="3037115" cy="646331"/>
          </a:xfrm>
          <a:prstGeom prst="rect">
            <a:avLst/>
          </a:prstGeom>
          <a:noFill/>
        </p:spPr>
        <p:txBody>
          <a:bodyPr wrap="square" rtlCol="0">
            <a:spAutoFit/>
          </a:bodyPr>
          <a:lstStyle/>
          <a:p>
            <a:r>
              <a:rPr lang="et-EE" sz="3600"/>
              <a:t>Tänan!</a:t>
            </a:r>
          </a:p>
        </p:txBody>
      </p:sp>
    </p:spTree>
    <p:extLst>
      <p:ext uri="{BB962C8B-B14F-4D97-AF65-F5344CB8AC3E}">
        <p14:creationId xmlns:p14="http://schemas.microsoft.com/office/powerpoint/2010/main" val="11463072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222670F-D9A4-8341-B5CD-54009DAA5297}"/>
              </a:ext>
            </a:extLst>
          </p:cNvPr>
          <p:cNvPicPr>
            <a:picLocks noChangeAspect="1"/>
          </p:cNvPicPr>
          <p:nvPr/>
        </p:nvPicPr>
        <p:blipFill>
          <a:blip r:embed="rId3"/>
          <a:stretch>
            <a:fillRect/>
          </a:stretch>
        </p:blipFill>
        <p:spPr>
          <a:xfrm>
            <a:off x="8899071" y="5382906"/>
            <a:ext cx="2473899" cy="934583"/>
          </a:xfrm>
          <a:prstGeom prst="rect">
            <a:avLst/>
          </a:prstGeom>
        </p:spPr>
      </p:pic>
      <p:sp>
        <p:nvSpPr>
          <p:cNvPr id="2" name="TextBox 1">
            <a:extLst>
              <a:ext uri="{FF2B5EF4-FFF2-40B4-BE49-F238E27FC236}">
                <a16:creationId xmlns:a16="http://schemas.microsoft.com/office/drawing/2014/main" id="{91E02A16-174D-A841-871E-D4AC1191896A}"/>
              </a:ext>
            </a:extLst>
          </p:cNvPr>
          <p:cNvSpPr txBox="1"/>
          <p:nvPr/>
        </p:nvSpPr>
        <p:spPr>
          <a:xfrm>
            <a:off x="604157" y="324625"/>
            <a:ext cx="6531429" cy="646331"/>
          </a:xfrm>
          <a:prstGeom prst="rect">
            <a:avLst/>
          </a:prstGeom>
          <a:noFill/>
        </p:spPr>
        <p:txBody>
          <a:bodyPr wrap="square" rtlCol="0">
            <a:spAutoFit/>
          </a:bodyPr>
          <a:lstStyle/>
          <a:p>
            <a:r>
              <a:rPr lang="et-EE" sz="3600">
                <a:latin typeface="+mj-lt"/>
              </a:rPr>
              <a:t>Esinejad ja teemad </a:t>
            </a:r>
          </a:p>
        </p:txBody>
      </p:sp>
      <p:sp>
        <p:nvSpPr>
          <p:cNvPr id="4" name="TextBox 3">
            <a:extLst>
              <a:ext uri="{FF2B5EF4-FFF2-40B4-BE49-F238E27FC236}">
                <a16:creationId xmlns:a16="http://schemas.microsoft.com/office/drawing/2014/main" id="{8D176432-C227-764F-8C64-C0C6C8BA0984}"/>
              </a:ext>
            </a:extLst>
          </p:cNvPr>
          <p:cNvSpPr txBox="1"/>
          <p:nvPr/>
        </p:nvSpPr>
        <p:spPr>
          <a:xfrm>
            <a:off x="326573" y="1731618"/>
            <a:ext cx="11299370" cy="4585871"/>
          </a:xfrm>
          <a:prstGeom prst="rect">
            <a:avLst/>
          </a:prstGeom>
          <a:noFill/>
        </p:spPr>
        <p:txBody>
          <a:bodyPr wrap="square" rtlCol="0">
            <a:spAutoFit/>
          </a:bodyPr>
          <a:lstStyle/>
          <a:p>
            <a:pPr marL="285750" indent="-285750">
              <a:buFont typeface="Arial" panose="020B0604020202020204" pitchFamily="34" charset="0"/>
              <a:buChar char="•"/>
            </a:pPr>
            <a:r>
              <a:rPr lang="en-US" sz="2400" b="1" err="1"/>
              <a:t>Eesti</a:t>
            </a:r>
            <a:r>
              <a:rPr lang="en-US" sz="2400" b="1"/>
              <a:t> </a:t>
            </a:r>
            <a:r>
              <a:rPr lang="en-US" sz="2400" b="1" err="1"/>
              <a:t>Tuuleenergia</a:t>
            </a:r>
            <a:r>
              <a:rPr lang="en-US" sz="2400" b="1"/>
              <a:t> </a:t>
            </a:r>
            <a:r>
              <a:rPr lang="en-US" sz="2400" b="1" err="1"/>
              <a:t>Assotsiatsioon</a:t>
            </a:r>
            <a:r>
              <a:rPr lang="en-US" sz="2400" b="1"/>
              <a:t> </a:t>
            </a:r>
            <a:r>
              <a:rPr lang="en-US" sz="2400"/>
              <a:t>Terje Talv</a:t>
            </a:r>
          </a:p>
          <a:p>
            <a:pPr marL="285750" indent="-285750">
              <a:buFont typeface="Arial" panose="020B0604020202020204" pitchFamily="34" charset="0"/>
              <a:buChar char="•"/>
            </a:pPr>
            <a:r>
              <a:rPr lang="en-US" sz="2400" b="1"/>
              <a:t>Utilitas Wind</a:t>
            </a:r>
            <a:r>
              <a:rPr lang="en-US" sz="2400"/>
              <a:t> Rene Tammist</a:t>
            </a:r>
          </a:p>
          <a:p>
            <a:pPr marL="285750" indent="-285750">
              <a:buFont typeface="Arial" panose="020B0604020202020204" pitchFamily="34" charset="0"/>
              <a:buChar char="•"/>
            </a:pPr>
            <a:r>
              <a:rPr lang="en-US" sz="2400" b="1" err="1"/>
              <a:t>Enefit</a:t>
            </a:r>
            <a:r>
              <a:rPr lang="en-US" sz="2400" b="1"/>
              <a:t> Green</a:t>
            </a:r>
            <a:r>
              <a:rPr lang="en-US" sz="2400"/>
              <a:t>  Johann-Gustav Lend </a:t>
            </a:r>
          </a:p>
          <a:p>
            <a:pPr marL="285750" indent="-285750">
              <a:buFont typeface="Arial" panose="020B0604020202020204" pitchFamily="34" charset="0"/>
              <a:buChar char="•"/>
            </a:pPr>
            <a:r>
              <a:rPr lang="en-US" sz="2400" b="1" err="1"/>
              <a:t>Saare</a:t>
            </a:r>
            <a:r>
              <a:rPr lang="en-US" sz="2400" b="1"/>
              <a:t> Wind Energy </a:t>
            </a:r>
            <a:r>
              <a:rPr lang="en-US" sz="2400"/>
              <a:t> </a:t>
            </a:r>
            <a:r>
              <a:rPr lang="en-US" sz="2400" err="1"/>
              <a:t>Kuido</a:t>
            </a:r>
            <a:r>
              <a:rPr lang="en-US" sz="2400"/>
              <a:t> </a:t>
            </a:r>
            <a:r>
              <a:rPr lang="en-US" sz="2400" err="1"/>
              <a:t>Kartau</a:t>
            </a:r>
            <a:endParaRPr lang="en-US" sz="2400"/>
          </a:p>
          <a:p>
            <a:br>
              <a:rPr lang="en-US" sz="2000"/>
            </a:br>
            <a:endParaRPr lang="en-US" sz="2000"/>
          </a:p>
          <a:p>
            <a:pPr marL="285750" indent="-285750">
              <a:buFont typeface="Arial" panose="020B0604020202020204" pitchFamily="34" charset="0"/>
              <a:buChar char="•"/>
            </a:pPr>
            <a:r>
              <a:rPr lang="en-US" sz="2000" err="1"/>
              <a:t>Järgmised</a:t>
            </a:r>
            <a:r>
              <a:rPr lang="en-US" sz="2000"/>
              <a:t> </a:t>
            </a:r>
            <a:r>
              <a:rPr lang="en-US" sz="2000" err="1"/>
              <a:t>sammud</a:t>
            </a:r>
            <a:r>
              <a:rPr lang="en-US" sz="2000"/>
              <a:t> </a:t>
            </a:r>
            <a:r>
              <a:rPr lang="en-US" sz="2000" err="1"/>
              <a:t>meretuuleparkide</a:t>
            </a:r>
            <a:r>
              <a:rPr lang="en-US" sz="2000"/>
              <a:t> </a:t>
            </a:r>
            <a:r>
              <a:rPr lang="en-US" sz="2000" err="1"/>
              <a:t>arendamises</a:t>
            </a:r>
            <a:endParaRPr lang="en-US" sz="2000"/>
          </a:p>
          <a:p>
            <a:pPr marL="285750" indent="-285750">
              <a:buFont typeface="Arial" panose="020B0604020202020204" pitchFamily="34" charset="0"/>
              <a:buChar char="•"/>
            </a:pPr>
            <a:r>
              <a:rPr lang="en-US" sz="2000" err="1"/>
              <a:t>Investeerimiseks</a:t>
            </a:r>
            <a:r>
              <a:rPr lang="en-US" sz="2000"/>
              <a:t> </a:t>
            </a:r>
            <a:r>
              <a:rPr lang="en-US" sz="2000" err="1"/>
              <a:t>vajalike</a:t>
            </a:r>
            <a:r>
              <a:rPr lang="en-US" sz="2000"/>
              <a:t> </a:t>
            </a:r>
            <a:r>
              <a:rPr lang="en-US" sz="2000" err="1"/>
              <a:t>eelduste</a:t>
            </a:r>
            <a:r>
              <a:rPr lang="en-US" sz="2000"/>
              <a:t> </a:t>
            </a:r>
            <a:r>
              <a:rPr lang="en-US" sz="2000" err="1"/>
              <a:t>loomine</a:t>
            </a:r>
            <a:endParaRPr lang="en-US" sz="2000"/>
          </a:p>
          <a:p>
            <a:pPr marL="285750" indent="-285750">
              <a:buFont typeface="Arial" panose="020B0604020202020204" pitchFamily="34" charset="0"/>
              <a:buChar char="•"/>
            </a:pPr>
            <a:r>
              <a:rPr lang="en-US" sz="2000" err="1"/>
              <a:t>CfD</a:t>
            </a:r>
            <a:r>
              <a:rPr lang="en-US" sz="2000"/>
              <a:t> </a:t>
            </a:r>
            <a:r>
              <a:rPr lang="en-US" sz="2000" err="1"/>
              <a:t>olemus</a:t>
            </a:r>
            <a:r>
              <a:rPr lang="en-US" sz="2000"/>
              <a:t> </a:t>
            </a:r>
            <a:r>
              <a:rPr lang="en-US" sz="2000" err="1"/>
              <a:t>Eesti</a:t>
            </a:r>
            <a:r>
              <a:rPr lang="en-US" sz="2000"/>
              <a:t> </a:t>
            </a:r>
            <a:r>
              <a:rPr lang="en-US" sz="2000" err="1"/>
              <a:t>näitel</a:t>
            </a:r>
            <a:r>
              <a:rPr lang="en-US" sz="2000"/>
              <a:t> – </a:t>
            </a:r>
            <a:r>
              <a:rPr lang="en-US" sz="2000" err="1"/>
              <a:t>kui</a:t>
            </a:r>
            <a:r>
              <a:rPr lang="en-US" sz="2000"/>
              <a:t> </a:t>
            </a:r>
            <a:r>
              <a:rPr lang="en-US" sz="2000" err="1"/>
              <a:t>suur</a:t>
            </a:r>
            <a:r>
              <a:rPr lang="en-US" sz="2000"/>
              <a:t> on </a:t>
            </a:r>
            <a:r>
              <a:rPr lang="en-US" sz="2000" err="1"/>
              <a:t>võimalik</a:t>
            </a:r>
            <a:r>
              <a:rPr lang="en-US" sz="2000"/>
              <a:t> </a:t>
            </a:r>
            <a:r>
              <a:rPr lang="en-US" sz="2000" err="1"/>
              <a:t>kulu</a:t>
            </a:r>
            <a:r>
              <a:rPr lang="en-US" sz="2000"/>
              <a:t> </a:t>
            </a:r>
            <a:r>
              <a:rPr lang="en-US" sz="2000" err="1"/>
              <a:t>riigile</a:t>
            </a:r>
            <a:r>
              <a:rPr lang="en-US" sz="2000"/>
              <a:t> </a:t>
            </a:r>
            <a:r>
              <a:rPr lang="en-US" sz="2000" err="1"/>
              <a:t>ning</a:t>
            </a:r>
            <a:r>
              <a:rPr lang="en-US" sz="2000"/>
              <a:t> </a:t>
            </a:r>
            <a:r>
              <a:rPr lang="en-US" sz="2000" err="1"/>
              <a:t>kui</a:t>
            </a:r>
            <a:r>
              <a:rPr lang="en-US" sz="2000"/>
              <a:t> </a:t>
            </a:r>
            <a:r>
              <a:rPr lang="en-US" sz="2000" err="1"/>
              <a:t>palju</a:t>
            </a:r>
            <a:r>
              <a:rPr lang="en-US" sz="2000"/>
              <a:t> </a:t>
            </a:r>
            <a:r>
              <a:rPr lang="en-US" sz="2000" err="1"/>
              <a:t>võidavad</a:t>
            </a:r>
            <a:r>
              <a:rPr lang="en-US" sz="2000"/>
              <a:t> </a:t>
            </a:r>
            <a:r>
              <a:rPr lang="en-US" sz="2000" err="1"/>
              <a:t>tarbijad</a:t>
            </a:r>
            <a:r>
              <a:rPr lang="en-US" sz="2000"/>
              <a:t> </a:t>
            </a:r>
            <a:r>
              <a:rPr lang="en-US" sz="2000" err="1"/>
              <a:t>tänu</a:t>
            </a:r>
            <a:r>
              <a:rPr lang="en-US" sz="2000"/>
              <a:t> </a:t>
            </a:r>
            <a:r>
              <a:rPr lang="en-US" sz="2000" err="1"/>
              <a:t>madalamast</a:t>
            </a:r>
            <a:r>
              <a:rPr lang="en-US" sz="2000"/>
              <a:t> </a:t>
            </a:r>
            <a:r>
              <a:rPr lang="en-US" sz="2000" err="1"/>
              <a:t>elektrihinnast</a:t>
            </a:r>
            <a:r>
              <a:rPr lang="en-US" sz="2000"/>
              <a:t> </a:t>
            </a:r>
            <a:r>
              <a:rPr lang="en-US" sz="2000" err="1"/>
              <a:t>tekkivale</a:t>
            </a:r>
            <a:r>
              <a:rPr lang="en-US" sz="2000"/>
              <a:t> </a:t>
            </a:r>
            <a:r>
              <a:rPr lang="en-US" sz="2000" err="1"/>
              <a:t>säästule</a:t>
            </a:r>
            <a:endParaRPr lang="en-US" sz="2000"/>
          </a:p>
          <a:p>
            <a:pPr marL="285750" indent="-285750">
              <a:buFont typeface="Arial" panose="020B0604020202020204" pitchFamily="34" charset="0"/>
              <a:buChar char="•"/>
            </a:pPr>
            <a:r>
              <a:rPr lang="en-US" sz="2000" err="1"/>
              <a:t>Meretuule</a:t>
            </a:r>
            <a:r>
              <a:rPr lang="en-US" sz="2000"/>
              <a:t> </a:t>
            </a:r>
            <a:r>
              <a:rPr lang="en-US" sz="2000" err="1"/>
              <a:t>arenduste</a:t>
            </a:r>
            <a:r>
              <a:rPr lang="en-US" sz="2000"/>
              <a:t> </a:t>
            </a:r>
            <a:r>
              <a:rPr lang="en-US" sz="2000" err="1"/>
              <a:t>ning</a:t>
            </a:r>
            <a:r>
              <a:rPr lang="en-US" sz="2000"/>
              <a:t> </a:t>
            </a:r>
            <a:r>
              <a:rPr lang="en-US" sz="2000" err="1"/>
              <a:t>hinnapõranda</a:t>
            </a:r>
            <a:r>
              <a:rPr lang="en-US" sz="2000"/>
              <a:t> ja </a:t>
            </a:r>
            <a:r>
              <a:rPr lang="en-US" sz="2000" err="1"/>
              <a:t>lae</a:t>
            </a:r>
            <a:r>
              <a:rPr lang="en-US" sz="2000"/>
              <a:t> </a:t>
            </a:r>
            <a:r>
              <a:rPr lang="en-US" sz="2000" err="1"/>
              <a:t>vähempakkumise</a:t>
            </a:r>
            <a:r>
              <a:rPr lang="en-US" sz="2000"/>
              <a:t> </a:t>
            </a:r>
            <a:r>
              <a:rPr lang="en-US" sz="2000" err="1"/>
              <a:t>olukord</a:t>
            </a:r>
            <a:r>
              <a:rPr lang="en-US" sz="2000"/>
              <a:t> </a:t>
            </a:r>
            <a:r>
              <a:rPr lang="en-US" sz="2000" err="1"/>
              <a:t>regioonis</a:t>
            </a:r>
            <a:endParaRPr lang="en-US" sz="2000"/>
          </a:p>
          <a:p>
            <a:pPr marL="285750" indent="-285750">
              <a:buFont typeface="Arial" panose="020B0604020202020204" pitchFamily="34" charset="0"/>
              <a:buChar char="•"/>
            </a:pPr>
            <a:r>
              <a:rPr lang="en-US" sz="2000" err="1"/>
              <a:t>Rahvusvaheline</a:t>
            </a:r>
            <a:r>
              <a:rPr lang="en-US" sz="2000"/>
              <a:t> </a:t>
            </a:r>
            <a:r>
              <a:rPr lang="en-US" sz="2000" err="1"/>
              <a:t>kogemus</a:t>
            </a:r>
            <a:r>
              <a:rPr lang="en-US" sz="2000"/>
              <a:t> ja </a:t>
            </a:r>
            <a:r>
              <a:rPr lang="en-US" sz="2000" err="1"/>
              <a:t>parimad</a:t>
            </a:r>
            <a:r>
              <a:rPr lang="en-US" sz="2000"/>
              <a:t> </a:t>
            </a:r>
            <a:r>
              <a:rPr lang="en-US" sz="2000" err="1"/>
              <a:t>praktikad</a:t>
            </a:r>
            <a:endParaRPr lang="en-US" sz="2000"/>
          </a:p>
          <a:p>
            <a:pPr marL="285750" indent="-285750">
              <a:buFont typeface="Arial" panose="020B0604020202020204" pitchFamily="34" charset="0"/>
              <a:buChar char="•"/>
            </a:pPr>
            <a:endParaRPr lang="en-US"/>
          </a:p>
          <a:p>
            <a:endParaRPr lang="et-EE"/>
          </a:p>
        </p:txBody>
      </p:sp>
      <p:pic>
        <p:nvPicPr>
          <p:cNvPr id="10" name="Picture 9">
            <a:extLst>
              <a:ext uri="{FF2B5EF4-FFF2-40B4-BE49-F238E27FC236}">
                <a16:creationId xmlns:a16="http://schemas.microsoft.com/office/drawing/2014/main" id="{32B2018C-444E-714A-86C0-68252BBA75E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80413" y="709702"/>
            <a:ext cx="5268685" cy="3563510"/>
          </a:xfrm>
          <a:prstGeom prst="rect">
            <a:avLst/>
          </a:prstGeom>
        </p:spPr>
      </p:pic>
    </p:spTree>
    <p:extLst>
      <p:ext uri="{BB962C8B-B14F-4D97-AF65-F5344CB8AC3E}">
        <p14:creationId xmlns:p14="http://schemas.microsoft.com/office/powerpoint/2010/main" val="35214277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28104AC-79F7-0747-8346-F765E1DC5A8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0100" y="-3368"/>
            <a:ext cx="10727871" cy="6861368"/>
          </a:xfrm>
          <a:prstGeom prst="rect">
            <a:avLst/>
          </a:prstGeom>
        </p:spPr>
      </p:pic>
    </p:spTree>
    <p:extLst>
      <p:ext uri="{BB962C8B-B14F-4D97-AF65-F5344CB8AC3E}">
        <p14:creationId xmlns:p14="http://schemas.microsoft.com/office/powerpoint/2010/main" val="19635344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222670F-D9A4-8341-B5CD-54009DAA5297}"/>
              </a:ext>
            </a:extLst>
          </p:cNvPr>
          <p:cNvPicPr>
            <a:picLocks noChangeAspect="1"/>
          </p:cNvPicPr>
          <p:nvPr/>
        </p:nvPicPr>
        <p:blipFill>
          <a:blip r:embed="rId3"/>
          <a:stretch>
            <a:fillRect/>
          </a:stretch>
        </p:blipFill>
        <p:spPr>
          <a:xfrm>
            <a:off x="653141" y="5714747"/>
            <a:ext cx="1907274" cy="720525"/>
          </a:xfrm>
          <a:prstGeom prst="rect">
            <a:avLst/>
          </a:prstGeom>
        </p:spPr>
      </p:pic>
      <p:sp>
        <p:nvSpPr>
          <p:cNvPr id="2" name="Slide Number Placeholder 1">
            <a:extLst>
              <a:ext uri="{FF2B5EF4-FFF2-40B4-BE49-F238E27FC236}">
                <a16:creationId xmlns:a16="http://schemas.microsoft.com/office/drawing/2014/main" id="{3B9B3E78-8D30-5A61-12CF-A1C4B2B49B76}"/>
              </a:ext>
            </a:extLst>
          </p:cNvPr>
          <p:cNvSpPr txBox="1">
            <a:spLocks/>
          </p:cNvSpPr>
          <p:nvPr/>
        </p:nvSpPr>
        <p:spPr>
          <a:xfrm>
            <a:off x="11725831" y="6566161"/>
            <a:ext cx="395021" cy="283706"/>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085D86C-7187-4CF2-94C7-ED50C1E71139}" type="slidenum">
              <a:rPr lang="et-EE" smtClean="0"/>
              <a:pPr/>
              <a:t>4</a:t>
            </a:fld>
            <a:endParaRPr lang="et-EE"/>
          </a:p>
        </p:txBody>
      </p:sp>
      <p:pic>
        <p:nvPicPr>
          <p:cNvPr id="3" name="Picture 2" descr="A map of europe with different continents&#10;&#10;Description automatically generated">
            <a:extLst>
              <a:ext uri="{FF2B5EF4-FFF2-40B4-BE49-F238E27FC236}">
                <a16:creationId xmlns:a16="http://schemas.microsoft.com/office/drawing/2014/main" id="{EEF3625D-F7A2-BE6C-4CE2-29ABE78DB3C6}"/>
              </a:ext>
            </a:extLst>
          </p:cNvPr>
          <p:cNvPicPr>
            <a:picLocks noChangeAspect="1"/>
          </p:cNvPicPr>
          <p:nvPr/>
        </p:nvPicPr>
        <p:blipFill rotWithShape="1">
          <a:blip r:embed="rId4"/>
          <a:srcRect r="6221"/>
          <a:stretch/>
        </p:blipFill>
        <p:spPr>
          <a:xfrm>
            <a:off x="3526513" y="0"/>
            <a:ext cx="8665489" cy="6858000"/>
          </a:xfrm>
          <a:prstGeom prst="rect">
            <a:avLst/>
          </a:prstGeom>
        </p:spPr>
      </p:pic>
      <p:sp>
        <p:nvSpPr>
          <p:cNvPr id="5" name="Title 4">
            <a:extLst>
              <a:ext uri="{FF2B5EF4-FFF2-40B4-BE49-F238E27FC236}">
                <a16:creationId xmlns:a16="http://schemas.microsoft.com/office/drawing/2014/main" id="{3E6C17A7-23E6-EC2F-6334-8FA90C4705A6}"/>
              </a:ext>
            </a:extLst>
          </p:cNvPr>
          <p:cNvSpPr txBox="1">
            <a:spLocks/>
          </p:cNvSpPr>
          <p:nvPr/>
        </p:nvSpPr>
        <p:spPr>
          <a:xfrm>
            <a:off x="606265" y="1106409"/>
            <a:ext cx="3985621" cy="3209924"/>
          </a:xfrm>
          <a:prstGeom prst="rect">
            <a:avLst/>
          </a:prstGeom>
        </p:spPr>
        <p:txBody>
          <a:bodyPr vert="horz" lIns="91440" tIns="45720" rIns="91440" bIns="45720" rtlCol="0" anchor="t">
            <a:normAutofit/>
          </a:bodyPr>
          <a:lstStyle>
            <a:lvl1pPr algn="l" defTabSz="914377" rtl="0" eaLnBrk="1" latinLnBrk="0" hangingPunct="1">
              <a:lnSpc>
                <a:spcPts val="4040"/>
              </a:lnSpc>
              <a:spcBef>
                <a:spcPct val="0"/>
              </a:spcBef>
              <a:buNone/>
              <a:defRPr sz="3400" b="1" i="0" kern="1200">
                <a:solidFill>
                  <a:srgbClr val="00973A"/>
                </a:solidFill>
                <a:latin typeface="Arial" panose="020B0604020202020204" pitchFamily="34" charset="0"/>
                <a:ea typeface="Inter" panose="020B0502030000000004" pitchFamily="34" charset="0"/>
                <a:cs typeface="Arial" panose="020B0604020202020204" pitchFamily="34" charset="0"/>
              </a:defRPr>
            </a:lvl1pPr>
          </a:lstStyle>
          <a:p>
            <a:pPr marL="0" marR="0" lvl="0" indent="0" algn="l" defTabSz="914377" rtl="0" eaLnBrk="1" fontAlgn="auto" latinLnBrk="0" hangingPunct="1">
              <a:lnSpc>
                <a:spcPct val="100000"/>
              </a:lnSpc>
              <a:spcBef>
                <a:spcPct val="0"/>
              </a:spcBef>
              <a:spcAft>
                <a:spcPts val="0"/>
              </a:spcAft>
              <a:buClrTx/>
              <a:buSzTx/>
              <a:buFontTx/>
              <a:buNone/>
              <a:tabLst/>
              <a:defRPr/>
            </a:pPr>
            <a:r>
              <a:rPr lang="et-EE" sz="2800">
                <a:solidFill>
                  <a:schemeClr val="accent5">
                    <a:lumMod val="75000"/>
                  </a:schemeClr>
                </a:solidFill>
              </a:rPr>
              <a:t>Baltikumi elektri hind ei toeta majanduse konkurentsivõimet</a:t>
            </a:r>
          </a:p>
          <a:p>
            <a:pPr marL="0" marR="0" lvl="0" indent="0" algn="l" defTabSz="914377" rtl="0" eaLnBrk="1" fontAlgn="auto" latinLnBrk="0" hangingPunct="1">
              <a:lnSpc>
                <a:spcPct val="100000"/>
              </a:lnSpc>
              <a:spcBef>
                <a:spcPct val="0"/>
              </a:spcBef>
              <a:spcAft>
                <a:spcPts val="0"/>
              </a:spcAft>
              <a:buClrTx/>
              <a:buSzTx/>
              <a:buFontTx/>
              <a:buNone/>
              <a:tabLst/>
              <a:defRPr/>
            </a:pPr>
            <a:endParaRPr kumimoji="0" lang="et-EE" sz="2800" b="1" i="0" u="none" strike="noStrike" kern="1200" cap="none" spc="0" normalizeH="0" baseline="0" noProof="0">
              <a:ln>
                <a:noFill/>
              </a:ln>
              <a:solidFill>
                <a:srgbClr val="00973A"/>
              </a:solidFill>
              <a:effectLst/>
              <a:uLnTx/>
              <a:uFillTx/>
              <a:latin typeface="Arial" panose="020B0604020202020204" pitchFamily="34" charset="0"/>
              <a:cs typeface="Arial" panose="020B0604020202020204" pitchFamily="34" charset="0"/>
            </a:endParaRPr>
          </a:p>
          <a:p>
            <a:pPr marL="0" marR="0" lvl="0" indent="0" algn="l" defTabSz="914377" rtl="0" eaLnBrk="1" fontAlgn="auto" latinLnBrk="0" hangingPunct="1">
              <a:lnSpc>
                <a:spcPct val="100000"/>
              </a:lnSpc>
              <a:spcBef>
                <a:spcPct val="0"/>
              </a:spcBef>
              <a:spcAft>
                <a:spcPts val="0"/>
              </a:spcAft>
              <a:buClrTx/>
              <a:buSzTx/>
              <a:buFontTx/>
              <a:buNone/>
              <a:tabLst/>
              <a:defRPr/>
            </a:pPr>
            <a:endParaRPr kumimoji="0" lang="et-EE" sz="2800" b="1" i="0" u="none" strike="noStrike" kern="1200" cap="none" spc="0" normalizeH="0" baseline="0" noProof="0">
              <a:ln>
                <a:noFill/>
              </a:ln>
              <a:solidFill>
                <a:srgbClr val="00973A"/>
              </a:solidFill>
              <a:effectLst/>
              <a:uLnTx/>
              <a:uFillTx/>
              <a:latin typeface="Arial" panose="020B0604020202020204" pitchFamily="34" charset="0"/>
              <a:cs typeface="Arial" panose="020B0604020202020204" pitchFamily="34" charset="0"/>
            </a:endParaRPr>
          </a:p>
        </p:txBody>
      </p:sp>
      <p:sp>
        <p:nvSpPr>
          <p:cNvPr id="7" name="Content Placeholder 5">
            <a:extLst>
              <a:ext uri="{FF2B5EF4-FFF2-40B4-BE49-F238E27FC236}">
                <a16:creationId xmlns:a16="http://schemas.microsoft.com/office/drawing/2014/main" id="{8473822B-35C7-F207-4C01-D1E2731B6D09}"/>
              </a:ext>
            </a:extLst>
          </p:cNvPr>
          <p:cNvSpPr txBox="1">
            <a:spLocks/>
          </p:cNvSpPr>
          <p:nvPr/>
        </p:nvSpPr>
        <p:spPr>
          <a:xfrm>
            <a:off x="614470" y="2767490"/>
            <a:ext cx="4563482" cy="2728435"/>
          </a:xfrm>
          <a:prstGeom prst="rect">
            <a:avLst/>
          </a:prstGeom>
        </p:spPr>
        <p:txBody>
          <a:bodyPr vert="horz" lIns="91440" tIns="45720" rIns="91440" bIns="45720" rtlCol="0">
            <a:normAutofit fontScale="85000" lnSpcReduction="10000"/>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2400" b="0" i="0" kern="1200">
                <a:solidFill>
                  <a:srgbClr val="2B2E36"/>
                </a:solidFill>
                <a:latin typeface="Arial" panose="020B0604020202020204" pitchFamily="34" charset="0"/>
                <a:ea typeface="Inter Medium" panose="02000503000000020004" pitchFamily="2" charset="0"/>
                <a:cs typeface="Arial" panose="020B0604020202020204" pitchFamily="34" charset="0"/>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2000" b="0" i="0" kern="1200">
                <a:solidFill>
                  <a:srgbClr val="2B2E36"/>
                </a:solidFill>
                <a:latin typeface="Arial" panose="020B0604020202020204" pitchFamily="34" charset="0"/>
                <a:ea typeface="Inter Medium" panose="02000503000000020004" pitchFamily="2" charset="0"/>
                <a:cs typeface="Arial" panose="020B0604020202020204" pitchFamily="34" charset="0"/>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800" b="0" i="0" kern="1200">
                <a:solidFill>
                  <a:srgbClr val="2B2E36"/>
                </a:solidFill>
                <a:latin typeface="Arial" panose="020B0604020202020204" pitchFamily="34" charset="0"/>
                <a:ea typeface="Inter Medium" panose="02000503000000020004" pitchFamily="2" charset="0"/>
                <a:cs typeface="Arial" panose="020B0604020202020204" pitchFamily="34" charset="0"/>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600" b="0" i="0" kern="1200">
                <a:solidFill>
                  <a:srgbClr val="2B2E36"/>
                </a:solidFill>
                <a:latin typeface="Arial" panose="020B0604020202020204" pitchFamily="34" charset="0"/>
                <a:ea typeface="Inter Medium" panose="02000503000000020004" pitchFamily="2" charset="0"/>
                <a:cs typeface="Arial" panose="020B0604020202020204" pitchFamily="34" charset="0"/>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600" b="0" i="0" kern="1200">
                <a:solidFill>
                  <a:srgbClr val="2B2E36"/>
                </a:solidFill>
                <a:latin typeface="Arial" panose="020B0604020202020204" pitchFamily="34" charset="0"/>
                <a:ea typeface="Inter Medium" panose="02000503000000020004" pitchFamily="2" charset="0"/>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10000"/>
              </a:lnSpc>
              <a:spcBef>
                <a:spcPts val="0"/>
              </a:spcBef>
              <a:spcAft>
                <a:spcPts val="1200"/>
              </a:spcAft>
              <a:buClr>
                <a:srgbClr val="92BE79"/>
              </a:buClr>
              <a:buSzTx/>
              <a:buFont typeface="Arial" panose="020B0604020202020204" pitchFamily="34" charset="0"/>
              <a:buNone/>
              <a:tabLst/>
              <a:defRPr/>
            </a:pPr>
            <a:r>
              <a:rPr kumimoji="0" lang="et-EE" sz="2000" b="1" i="0" u="none" strike="noStrike" kern="1200" cap="none" spc="0" normalizeH="0" baseline="0" noProof="0">
                <a:ln>
                  <a:noFill/>
                </a:ln>
                <a:solidFill>
                  <a:srgbClr val="2B2E36"/>
                </a:solidFill>
                <a:effectLst/>
                <a:uLnTx/>
                <a:uFillTx/>
                <a:latin typeface="Arial" panose="020B0604020202020204" pitchFamily="34" charset="0"/>
                <a:cs typeface="Arial" panose="020B0604020202020204" pitchFamily="34" charset="0"/>
              </a:rPr>
              <a:t>Tegurid</a:t>
            </a:r>
          </a:p>
          <a:p>
            <a:pPr>
              <a:lnSpc>
                <a:spcPct val="110000"/>
              </a:lnSpc>
              <a:spcBef>
                <a:spcPts val="0"/>
              </a:spcBef>
              <a:spcAft>
                <a:spcPts val="1200"/>
              </a:spcAft>
              <a:buClr>
                <a:srgbClr val="92BE79"/>
              </a:buClr>
            </a:pPr>
            <a:r>
              <a:rPr lang="et-EE" sz="2000"/>
              <a:t>Eesti import ~40%, Läti ~12%, Leedu ~56%</a:t>
            </a:r>
          </a:p>
          <a:p>
            <a:pPr>
              <a:lnSpc>
                <a:spcPct val="110000"/>
              </a:lnSpc>
              <a:spcBef>
                <a:spcPts val="0"/>
              </a:spcBef>
              <a:spcAft>
                <a:spcPts val="1200"/>
              </a:spcAft>
              <a:buClr>
                <a:srgbClr val="92BE79"/>
              </a:buClr>
            </a:pPr>
            <a:r>
              <a:rPr kumimoji="0" lang="et-EE" sz="2000" b="0" i="0" u="none" strike="noStrike" kern="1200" cap="none" spc="0" normalizeH="0" baseline="0" noProof="0">
                <a:ln>
                  <a:noFill/>
                </a:ln>
                <a:solidFill>
                  <a:srgbClr val="2B2E36"/>
                </a:solidFill>
                <a:effectLst/>
                <a:uLnTx/>
                <a:uFillTx/>
                <a:latin typeface="Arial" panose="020B0604020202020204" pitchFamily="34" charset="0"/>
                <a:cs typeface="Arial" panose="020B0604020202020204" pitchFamily="34" charset="0"/>
              </a:rPr>
              <a:t>Baltikum importis 2023. a </a:t>
            </a:r>
            <a:r>
              <a:rPr kumimoji="0" lang="et-EE" sz="20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rPr>
              <a:t>11,7 </a:t>
            </a:r>
            <a:r>
              <a:rPr kumimoji="0" lang="et-EE" sz="2000" b="0" i="0" u="none" strike="noStrike" kern="1200" cap="none" spc="0" normalizeH="0" baseline="0" noProof="0" err="1">
                <a:ln>
                  <a:noFill/>
                </a:ln>
                <a:solidFill>
                  <a:srgbClr val="FF0000"/>
                </a:solidFill>
                <a:effectLst/>
                <a:uLnTx/>
                <a:uFillTx/>
                <a:latin typeface="Arial" panose="020B0604020202020204" pitchFamily="34" charset="0"/>
                <a:cs typeface="Arial" panose="020B0604020202020204" pitchFamily="34" charset="0"/>
              </a:rPr>
              <a:t>TWh</a:t>
            </a:r>
            <a:endParaRPr kumimoji="0" lang="et-EE" sz="2000" b="0" i="0" u="none" strike="noStrike" kern="1200" cap="none" spc="0" normalizeH="0" baseline="0" noProof="0">
              <a:ln>
                <a:noFill/>
              </a:ln>
              <a:solidFill>
                <a:srgbClr val="FF0000"/>
              </a:solidFill>
              <a:effectLst/>
              <a:uLnTx/>
              <a:uFillTx/>
              <a:latin typeface="Arial" panose="020B0604020202020204" pitchFamily="34" charset="0"/>
              <a:cs typeface="Arial" panose="020B0604020202020204" pitchFamily="34" charset="0"/>
            </a:endParaRPr>
          </a:p>
          <a:p>
            <a:pPr marL="0" indent="0">
              <a:lnSpc>
                <a:spcPct val="110000"/>
              </a:lnSpc>
              <a:spcBef>
                <a:spcPts val="0"/>
              </a:spcBef>
              <a:spcAft>
                <a:spcPts val="1200"/>
              </a:spcAft>
              <a:buClr>
                <a:srgbClr val="92BE79"/>
              </a:buClr>
              <a:buNone/>
            </a:pPr>
            <a:r>
              <a:rPr kumimoji="0" lang="et-EE" sz="2000" b="0" i="1" strike="noStrike" kern="1200" cap="none" spc="0" normalizeH="0" baseline="0" noProof="0">
                <a:ln>
                  <a:noFill/>
                </a:ln>
                <a:solidFill>
                  <a:srgbClr val="2B2E36"/>
                </a:solidFill>
                <a:effectLst/>
                <a:uLnTx/>
                <a:uFillTx/>
                <a:latin typeface="Arial" panose="020B0604020202020204" pitchFamily="34" charset="0"/>
                <a:cs typeface="Arial" panose="020B0604020202020204" pitchFamily="34" charset="0"/>
              </a:rPr>
              <a:t>   (Eesti tarbimine ~8</a:t>
            </a:r>
            <a:r>
              <a:rPr lang="et-EE" sz="2000" i="1"/>
              <a:t>,0</a:t>
            </a:r>
            <a:r>
              <a:rPr kumimoji="0" lang="et-EE" sz="2000" b="0" i="1" strike="noStrike" kern="1200" cap="none" spc="0" normalizeH="0" baseline="0" noProof="0">
                <a:ln>
                  <a:noFill/>
                </a:ln>
                <a:solidFill>
                  <a:srgbClr val="2B2E36"/>
                </a:solidFill>
                <a:effectLst/>
                <a:uLnTx/>
                <a:uFillTx/>
                <a:latin typeface="Arial" panose="020B0604020202020204" pitchFamily="34" charset="0"/>
                <a:cs typeface="Arial" panose="020B0604020202020204" pitchFamily="34" charset="0"/>
              </a:rPr>
              <a:t> </a:t>
            </a:r>
            <a:r>
              <a:rPr kumimoji="0" lang="et-EE" sz="2000" b="0" i="1" strike="noStrike" kern="1200" cap="none" spc="0" normalizeH="0" baseline="0" noProof="0" err="1">
                <a:ln>
                  <a:noFill/>
                </a:ln>
                <a:solidFill>
                  <a:srgbClr val="2B2E36"/>
                </a:solidFill>
                <a:effectLst/>
                <a:uLnTx/>
                <a:uFillTx/>
                <a:latin typeface="Arial" panose="020B0604020202020204" pitchFamily="34" charset="0"/>
                <a:cs typeface="Arial" panose="020B0604020202020204" pitchFamily="34" charset="0"/>
              </a:rPr>
              <a:t>TWh</a:t>
            </a:r>
            <a:r>
              <a:rPr kumimoji="0" lang="et-EE" sz="2000" b="0" i="1" strike="noStrike" kern="1200" cap="none" spc="0" normalizeH="0" baseline="0" noProof="0">
                <a:ln>
                  <a:noFill/>
                </a:ln>
                <a:solidFill>
                  <a:srgbClr val="2B2E36"/>
                </a:solidFill>
                <a:effectLst/>
                <a:uLnTx/>
                <a:uFillTx/>
                <a:latin typeface="Arial" panose="020B0604020202020204" pitchFamily="34" charset="0"/>
                <a:cs typeface="Arial" panose="020B0604020202020204" pitchFamily="34" charset="0"/>
              </a:rPr>
              <a:t>)</a:t>
            </a:r>
          </a:p>
          <a:p>
            <a:pPr marL="0" indent="0">
              <a:lnSpc>
                <a:spcPct val="110000"/>
              </a:lnSpc>
              <a:spcBef>
                <a:spcPts val="0"/>
              </a:spcBef>
              <a:spcAft>
                <a:spcPts val="1200"/>
              </a:spcAft>
              <a:buClr>
                <a:srgbClr val="92BE79"/>
              </a:buClr>
              <a:buNone/>
            </a:pPr>
            <a:r>
              <a:rPr kumimoji="0" lang="et-EE" sz="2000" b="1" i="0" u="sng" strike="noStrike" kern="1200" cap="none" spc="0" normalizeH="0" baseline="0" noProof="0">
                <a:ln>
                  <a:noFill/>
                </a:ln>
                <a:solidFill>
                  <a:schemeClr val="accent5">
                    <a:lumMod val="75000"/>
                  </a:schemeClr>
                </a:solidFill>
                <a:effectLst/>
                <a:uLnTx/>
                <a:uFillTx/>
                <a:latin typeface="Arial" panose="020B0604020202020204" pitchFamily="34" charset="0"/>
                <a:cs typeface="Arial" panose="020B0604020202020204" pitchFamily="34" charset="0"/>
              </a:rPr>
              <a:t>Importiv elektrisüsteem on naturaalselt kallim naaberelektrisüsteemidest</a:t>
            </a:r>
          </a:p>
          <a:p>
            <a:pPr>
              <a:lnSpc>
                <a:spcPct val="110000"/>
              </a:lnSpc>
              <a:spcBef>
                <a:spcPts val="0"/>
              </a:spcBef>
              <a:spcAft>
                <a:spcPts val="1200"/>
              </a:spcAft>
              <a:buClr>
                <a:srgbClr val="92BE79"/>
              </a:buClr>
            </a:pPr>
            <a:endParaRPr kumimoji="0" lang="et-EE" sz="2000" b="0" i="0" u="none" strike="noStrike" kern="1200" cap="none" spc="0" normalizeH="0" baseline="0" noProof="0">
              <a:ln>
                <a:noFill/>
              </a:ln>
              <a:solidFill>
                <a:srgbClr val="2B2E36"/>
              </a:solidFill>
              <a:effectLst/>
              <a:uLnTx/>
              <a:uFillTx/>
              <a:latin typeface="Arial" panose="020B0604020202020204" pitchFamily="34" charset="0"/>
              <a:cs typeface="Arial" panose="020B0604020202020204" pitchFamily="34" charset="0"/>
            </a:endParaRPr>
          </a:p>
          <a:p>
            <a:pPr marL="0" marR="0" lvl="0" indent="0" algn="l" defTabSz="914377" rtl="0" eaLnBrk="1" fontAlgn="auto" latinLnBrk="0" hangingPunct="1">
              <a:lnSpc>
                <a:spcPct val="110000"/>
              </a:lnSpc>
              <a:spcBef>
                <a:spcPts val="0"/>
              </a:spcBef>
              <a:spcAft>
                <a:spcPts val="1200"/>
              </a:spcAft>
              <a:buClr>
                <a:srgbClr val="92BE79"/>
              </a:buClr>
              <a:buSzTx/>
              <a:buFont typeface="Arial" panose="020B0604020202020204" pitchFamily="34" charset="0"/>
              <a:buNone/>
              <a:tabLst/>
              <a:defRPr/>
            </a:pPr>
            <a:endParaRPr kumimoji="0" lang="et-EE" sz="2000" b="0" i="0" u="none" strike="noStrike" kern="1200" cap="none" spc="0" normalizeH="0" baseline="0" noProof="0">
              <a:ln>
                <a:noFill/>
              </a:ln>
              <a:solidFill>
                <a:srgbClr val="2B2E36"/>
              </a:solidFill>
              <a:effectLst/>
              <a:uLnTx/>
              <a:uFillTx/>
              <a:latin typeface="Arial" panose="020B0604020202020204" pitchFamily="34" charset="0"/>
              <a:cs typeface="Arial" panose="020B0604020202020204" pitchFamily="34" charset="0"/>
            </a:endParaRPr>
          </a:p>
          <a:p>
            <a:pPr>
              <a:lnSpc>
                <a:spcPct val="110000"/>
              </a:lnSpc>
              <a:spcBef>
                <a:spcPts val="0"/>
              </a:spcBef>
              <a:spcAft>
                <a:spcPts val="1200"/>
              </a:spcAft>
              <a:buClr>
                <a:srgbClr val="92BE79"/>
              </a:buClr>
            </a:pPr>
            <a:endParaRPr kumimoji="0" lang="et-EE" sz="2000" b="0" i="0" u="none" strike="noStrike" kern="1200" cap="none" spc="0" normalizeH="0" baseline="0" noProof="0">
              <a:ln>
                <a:noFill/>
              </a:ln>
              <a:solidFill>
                <a:srgbClr val="2B2E36"/>
              </a:solidFill>
              <a:effectLst/>
              <a:uLnTx/>
              <a:uFillTx/>
              <a:latin typeface="Arial" panose="020B0604020202020204" pitchFamily="34" charset="0"/>
              <a:cs typeface="Arial" panose="020B0604020202020204" pitchFamily="34" charset="0"/>
            </a:endParaRPr>
          </a:p>
          <a:p>
            <a:pPr marL="0" marR="0" lvl="0" indent="0" algn="l" defTabSz="914377" rtl="0" eaLnBrk="1" fontAlgn="auto" latinLnBrk="0" hangingPunct="1">
              <a:lnSpc>
                <a:spcPct val="110000"/>
              </a:lnSpc>
              <a:spcBef>
                <a:spcPts val="0"/>
              </a:spcBef>
              <a:spcAft>
                <a:spcPts val="1200"/>
              </a:spcAft>
              <a:buClr>
                <a:srgbClr val="92BE79"/>
              </a:buClr>
              <a:buSzTx/>
              <a:buFont typeface="Arial" panose="020B0604020202020204" pitchFamily="34" charset="0"/>
              <a:buNone/>
              <a:tabLst/>
              <a:defRPr/>
            </a:pPr>
            <a:endParaRPr kumimoji="0" lang="et-EE" sz="2000" b="0" i="0" u="none" strike="noStrike" kern="1200" cap="none" spc="0" normalizeH="0" baseline="0" noProof="0">
              <a:ln>
                <a:noFill/>
              </a:ln>
              <a:solidFill>
                <a:srgbClr val="2B2E36"/>
              </a:solidFill>
              <a:effectLst/>
              <a:uLnTx/>
              <a:uFillTx/>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5E3CDF18-4973-F309-0241-C62E7E2B9A91}"/>
              </a:ext>
            </a:extLst>
          </p:cNvPr>
          <p:cNvSpPr txBox="1"/>
          <p:nvPr/>
        </p:nvSpPr>
        <p:spPr>
          <a:xfrm>
            <a:off x="8685137" y="5764364"/>
            <a:ext cx="671979" cy="707886"/>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lang="et-EE" sz="1600" b="1" kern="0">
                <a:solidFill>
                  <a:srgbClr val="FFFFFF"/>
                </a:solidFill>
              </a:rPr>
              <a:t>91</a:t>
            </a:r>
            <a:r>
              <a:rPr kumimoji="0" lang="et-EE" sz="1600" b="1" i="0" u="none" strike="noStrike" kern="0" cap="none" spc="0" normalizeH="0" baseline="0" noProof="0">
                <a:ln>
                  <a:noFill/>
                </a:ln>
                <a:solidFill>
                  <a:srgbClr val="FFFFFF"/>
                </a:solidFill>
                <a:effectLst/>
                <a:uLnTx/>
                <a:uFillTx/>
              </a:rPr>
              <a:t>,7</a:t>
            </a:r>
            <a:br>
              <a:rPr kumimoji="0" lang="et-EE" sz="1800" b="0" i="0" u="none" strike="noStrike" kern="0" cap="none" spc="0" normalizeH="0" baseline="0" noProof="0">
                <a:ln>
                  <a:noFill/>
                </a:ln>
                <a:solidFill>
                  <a:srgbClr val="FFFFFF"/>
                </a:solidFill>
                <a:effectLst/>
                <a:uLnTx/>
                <a:uFillTx/>
              </a:rPr>
            </a:br>
            <a:r>
              <a:rPr kumimoji="0" lang="et-EE" sz="1200" b="0" i="0" u="none" strike="noStrike" kern="0" cap="none" spc="0" normalizeH="0" baseline="0" noProof="0">
                <a:ln>
                  <a:noFill/>
                </a:ln>
                <a:solidFill>
                  <a:srgbClr val="FFFFFF"/>
                </a:solidFill>
                <a:effectLst/>
                <a:uLnTx/>
                <a:uFillTx/>
              </a:rPr>
              <a:t>€/MWh</a:t>
            </a:r>
            <a:br>
              <a:rPr kumimoji="0" lang="et-EE" sz="1200" b="0" i="0" u="none" strike="noStrike" kern="0" cap="none" spc="0" normalizeH="0" baseline="0" noProof="0">
                <a:ln>
                  <a:noFill/>
                </a:ln>
                <a:solidFill>
                  <a:srgbClr val="FFFFFF"/>
                </a:solidFill>
                <a:effectLst/>
                <a:uLnTx/>
                <a:uFillTx/>
              </a:rPr>
            </a:br>
            <a:r>
              <a:rPr kumimoji="0" lang="et-EE" sz="1200" b="0" i="0" u="none" strike="noStrike" kern="0" cap="none" spc="0" normalizeH="0" baseline="0" noProof="0">
                <a:ln>
                  <a:noFill/>
                </a:ln>
                <a:solidFill>
                  <a:srgbClr val="FFFFFF"/>
                </a:solidFill>
                <a:effectLst/>
                <a:uLnTx/>
                <a:uFillTx/>
              </a:rPr>
              <a:t>(111,7)</a:t>
            </a:r>
          </a:p>
        </p:txBody>
      </p:sp>
      <p:sp>
        <p:nvSpPr>
          <p:cNvPr id="10" name="TextBox 9">
            <a:extLst>
              <a:ext uri="{FF2B5EF4-FFF2-40B4-BE49-F238E27FC236}">
                <a16:creationId xmlns:a16="http://schemas.microsoft.com/office/drawing/2014/main" id="{E51200CF-5B8A-7155-4C10-5C1C74469962}"/>
              </a:ext>
            </a:extLst>
          </p:cNvPr>
          <p:cNvSpPr txBox="1"/>
          <p:nvPr/>
        </p:nvSpPr>
        <p:spPr>
          <a:xfrm>
            <a:off x="6168009" y="5931939"/>
            <a:ext cx="671979" cy="707886"/>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t-EE" sz="1600" b="1" i="0" u="none" strike="noStrike" kern="0" cap="none" spc="0" normalizeH="0" baseline="0" noProof="0">
                <a:ln>
                  <a:noFill/>
                </a:ln>
                <a:solidFill>
                  <a:srgbClr val="FFFFFF"/>
                </a:solidFill>
                <a:effectLst/>
                <a:uLnTx/>
                <a:uFillTx/>
              </a:rPr>
              <a:t>70,5</a:t>
            </a:r>
            <a:br>
              <a:rPr kumimoji="0" lang="et-EE" sz="1800" b="0" i="0" u="none" strike="noStrike" kern="0" cap="none" spc="0" normalizeH="0" baseline="0" noProof="0">
                <a:ln>
                  <a:noFill/>
                </a:ln>
                <a:solidFill>
                  <a:srgbClr val="FFFFFF"/>
                </a:solidFill>
                <a:effectLst/>
                <a:uLnTx/>
                <a:uFillTx/>
              </a:rPr>
            </a:br>
            <a:r>
              <a:rPr kumimoji="0" lang="et-EE" sz="1200" b="0" i="0" u="none" strike="noStrike" kern="0" cap="none" spc="0" normalizeH="0" baseline="0" noProof="0">
                <a:ln>
                  <a:noFill/>
                </a:ln>
                <a:solidFill>
                  <a:srgbClr val="FFFFFF"/>
                </a:solidFill>
                <a:effectLst/>
                <a:uLnTx/>
                <a:uFillTx/>
              </a:rPr>
              <a:t>€/MWh</a:t>
            </a:r>
            <a:br>
              <a:rPr kumimoji="0" lang="et-EE" sz="1200" b="0" i="0" u="none" strike="noStrike" kern="0" cap="none" spc="0" normalizeH="0" baseline="0" noProof="0">
                <a:ln>
                  <a:noFill/>
                </a:ln>
                <a:solidFill>
                  <a:srgbClr val="FFFFFF"/>
                </a:solidFill>
                <a:effectLst/>
                <a:uLnTx/>
                <a:uFillTx/>
              </a:rPr>
            </a:br>
            <a:r>
              <a:rPr kumimoji="0" lang="et-EE" sz="1200" b="0" i="0" u="none" strike="noStrike" kern="0" cap="none" spc="0" normalizeH="0" baseline="0" noProof="0">
                <a:ln>
                  <a:noFill/>
                </a:ln>
                <a:solidFill>
                  <a:srgbClr val="FFFFFF"/>
                </a:solidFill>
                <a:effectLst/>
                <a:uLnTx/>
                <a:uFillTx/>
              </a:rPr>
              <a:t>(95,2)</a:t>
            </a:r>
          </a:p>
        </p:txBody>
      </p:sp>
      <p:sp>
        <p:nvSpPr>
          <p:cNvPr id="11" name="TextBox 10">
            <a:extLst>
              <a:ext uri="{FF2B5EF4-FFF2-40B4-BE49-F238E27FC236}">
                <a16:creationId xmlns:a16="http://schemas.microsoft.com/office/drawing/2014/main" id="{A9892271-6A50-2816-5F8C-F825E0E32A55}"/>
              </a:ext>
            </a:extLst>
          </p:cNvPr>
          <p:cNvSpPr txBox="1"/>
          <p:nvPr/>
        </p:nvSpPr>
        <p:spPr>
          <a:xfrm>
            <a:off x="4902124" y="4290233"/>
            <a:ext cx="671979" cy="707886"/>
          </a:xfrm>
          <a:prstGeom prst="rect">
            <a:avLst/>
          </a:prstGeom>
          <a:noFill/>
        </p:spPr>
        <p:txBody>
          <a:bodyPr wrap="none" rtlCol="0">
            <a:sp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0" lang="et-EE" sz="1600" b="1" i="0" u="none" strike="noStrike" kern="0" cap="none" spc="0" normalizeH="0" baseline="0" noProof="0">
                <a:ln>
                  <a:noFill/>
                </a:ln>
                <a:solidFill>
                  <a:srgbClr val="00973A"/>
                </a:solidFill>
                <a:effectLst/>
                <a:uLnTx/>
                <a:uFillTx/>
              </a:rPr>
              <a:t>64,9</a:t>
            </a:r>
            <a:br>
              <a:rPr kumimoji="0" lang="et-EE" sz="1800" b="0" i="0" u="none" strike="noStrike" kern="0" cap="none" spc="0" normalizeH="0" baseline="0" noProof="0">
                <a:ln>
                  <a:noFill/>
                </a:ln>
                <a:solidFill>
                  <a:srgbClr val="00973A"/>
                </a:solidFill>
                <a:effectLst/>
                <a:uLnTx/>
                <a:uFillTx/>
              </a:rPr>
            </a:br>
            <a:r>
              <a:rPr kumimoji="0" lang="et-EE" sz="1200" b="0" i="0" u="none" strike="noStrike" kern="0" cap="none" spc="0" normalizeH="0" baseline="0" noProof="0">
                <a:ln>
                  <a:noFill/>
                </a:ln>
                <a:solidFill>
                  <a:srgbClr val="00973A"/>
                </a:solidFill>
                <a:effectLst/>
                <a:uLnTx/>
                <a:uFillTx/>
              </a:rPr>
              <a:t>€/MWh</a:t>
            </a:r>
            <a:br>
              <a:rPr kumimoji="0" lang="et-EE" sz="1200" b="0" i="0" u="none" strike="noStrike" kern="0" cap="none" spc="0" normalizeH="0" baseline="0" noProof="0">
                <a:ln>
                  <a:noFill/>
                </a:ln>
                <a:solidFill>
                  <a:srgbClr val="00973A"/>
                </a:solidFill>
                <a:effectLst/>
                <a:uLnTx/>
                <a:uFillTx/>
              </a:rPr>
            </a:br>
            <a:r>
              <a:rPr kumimoji="0" lang="et-EE" sz="1200" b="0" i="0" u="none" strike="noStrike" kern="0" cap="none" spc="0" normalizeH="0" baseline="0" noProof="0">
                <a:ln>
                  <a:noFill/>
                </a:ln>
                <a:solidFill>
                  <a:srgbClr val="00973A"/>
                </a:solidFill>
                <a:effectLst/>
                <a:uLnTx/>
                <a:uFillTx/>
              </a:rPr>
              <a:t>(</a:t>
            </a:r>
            <a:r>
              <a:rPr lang="et-EE" sz="1200" kern="0">
                <a:solidFill>
                  <a:srgbClr val="00973A"/>
                </a:solidFill>
              </a:rPr>
              <a:t>84,1</a:t>
            </a:r>
            <a:r>
              <a:rPr kumimoji="0" lang="et-EE" sz="1200" b="0" i="0" u="none" strike="noStrike" kern="0" cap="none" spc="0" normalizeH="0" baseline="0" noProof="0">
                <a:ln>
                  <a:noFill/>
                </a:ln>
                <a:solidFill>
                  <a:srgbClr val="00973A"/>
                </a:solidFill>
                <a:effectLst/>
                <a:uLnTx/>
                <a:uFillTx/>
              </a:rPr>
              <a:t>)</a:t>
            </a:r>
            <a:endParaRPr kumimoji="0" lang="et-EE" sz="1000" b="0" i="0" u="none" strike="noStrike" kern="0" cap="none" spc="0" normalizeH="0" baseline="0" noProof="0">
              <a:ln>
                <a:noFill/>
              </a:ln>
              <a:solidFill>
                <a:srgbClr val="00973A"/>
              </a:solidFill>
              <a:effectLst/>
              <a:uLnTx/>
              <a:uFillTx/>
            </a:endParaRPr>
          </a:p>
        </p:txBody>
      </p:sp>
      <p:sp>
        <p:nvSpPr>
          <p:cNvPr id="12" name="TextBox 11">
            <a:extLst>
              <a:ext uri="{FF2B5EF4-FFF2-40B4-BE49-F238E27FC236}">
                <a16:creationId xmlns:a16="http://schemas.microsoft.com/office/drawing/2014/main" id="{04A3C952-FD58-9474-8DFA-0024BF16157E}"/>
              </a:ext>
            </a:extLst>
          </p:cNvPr>
          <p:cNvSpPr txBox="1"/>
          <p:nvPr/>
        </p:nvSpPr>
        <p:spPr>
          <a:xfrm>
            <a:off x="5791295" y="2141401"/>
            <a:ext cx="671979" cy="707886"/>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lang="et-EE" sz="1600" b="1" kern="0">
                <a:solidFill>
                  <a:srgbClr val="FFFFFF"/>
                </a:solidFill>
              </a:rPr>
              <a:t>3</a:t>
            </a:r>
            <a:r>
              <a:rPr kumimoji="0" lang="et-EE" sz="1600" b="1" i="0" u="none" strike="noStrike" kern="0" cap="none" spc="0" normalizeH="0" baseline="0" noProof="0">
                <a:ln>
                  <a:noFill/>
                </a:ln>
                <a:solidFill>
                  <a:srgbClr val="FFFFFF"/>
                </a:solidFill>
                <a:effectLst/>
                <a:uLnTx/>
                <a:uFillTx/>
              </a:rPr>
              <a:t>8,4</a:t>
            </a:r>
            <a:br>
              <a:rPr kumimoji="0" lang="et-EE" sz="1467" b="0" i="0" u="none" strike="noStrike" kern="0" cap="none" spc="0" normalizeH="0" baseline="0" noProof="0">
                <a:ln>
                  <a:noFill/>
                </a:ln>
                <a:solidFill>
                  <a:srgbClr val="FFFFFF"/>
                </a:solidFill>
                <a:effectLst/>
                <a:uLnTx/>
                <a:uFillTx/>
              </a:rPr>
            </a:br>
            <a:r>
              <a:rPr kumimoji="0" lang="et-EE" sz="1200" b="0" i="0" u="none" strike="noStrike" kern="0" cap="none" spc="0" normalizeH="0" baseline="0" noProof="0">
                <a:ln>
                  <a:noFill/>
                </a:ln>
                <a:solidFill>
                  <a:srgbClr val="FFFFFF"/>
                </a:solidFill>
                <a:effectLst/>
                <a:uLnTx/>
                <a:uFillTx/>
              </a:rPr>
              <a:t>€/MWh</a:t>
            </a:r>
            <a:br>
              <a:rPr kumimoji="0" lang="et-EE" sz="1200" b="0" i="0" u="none" strike="noStrike" kern="0" cap="none" spc="0" normalizeH="0" baseline="0" noProof="0">
                <a:ln>
                  <a:noFill/>
                </a:ln>
                <a:solidFill>
                  <a:srgbClr val="FFFFFF"/>
                </a:solidFill>
                <a:effectLst/>
                <a:uLnTx/>
                <a:uFillTx/>
              </a:rPr>
            </a:br>
            <a:r>
              <a:rPr kumimoji="0" lang="et-EE" sz="1200" b="0" i="0" u="none" strike="noStrike" kern="0" cap="none" spc="0" normalizeH="0" baseline="0" noProof="0">
                <a:ln>
                  <a:noFill/>
                </a:ln>
                <a:solidFill>
                  <a:srgbClr val="FFFFFF"/>
                </a:solidFill>
                <a:effectLst/>
                <a:uLnTx/>
                <a:uFillTx/>
              </a:rPr>
              <a:t>(56,4)</a:t>
            </a:r>
          </a:p>
        </p:txBody>
      </p:sp>
      <p:sp>
        <p:nvSpPr>
          <p:cNvPr id="13" name="TextBox 12">
            <a:extLst>
              <a:ext uri="{FF2B5EF4-FFF2-40B4-BE49-F238E27FC236}">
                <a16:creationId xmlns:a16="http://schemas.microsoft.com/office/drawing/2014/main" id="{5D821D86-A1B1-570F-EB62-130D2D02D1D1}"/>
              </a:ext>
            </a:extLst>
          </p:cNvPr>
          <p:cNvSpPr txBox="1"/>
          <p:nvPr/>
        </p:nvSpPr>
        <p:spPr>
          <a:xfrm>
            <a:off x="7306390" y="2413547"/>
            <a:ext cx="671979" cy="707886"/>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lang="et-EE" sz="1600" b="1" kern="0">
                <a:solidFill>
                  <a:srgbClr val="FFFFFF"/>
                </a:solidFill>
              </a:rPr>
              <a:t>34</a:t>
            </a:r>
            <a:r>
              <a:rPr kumimoji="0" lang="et-EE" sz="1600" b="1" i="0" u="none" strike="noStrike" kern="0" cap="none" spc="0" normalizeH="0" baseline="0" noProof="0">
                <a:ln>
                  <a:noFill/>
                </a:ln>
                <a:solidFill>
                  <a:srgbClr val="FFFFFF"/>
                </a:solidFill>
                <a:effectLst/>
                <a:uLnTx/>
                <a:uFillTx/>
              </a:rPr>
              <a:t>,9</a:t>
            </a:r>
            <a:br>
              <a:rPr kumimoji="0" lang="et-EE" sz="1800" b="0" i="0" u="none" strike="noStrike" kern="0" cap="none" spc="0" normalizeH="0" baseline="0" noProof="0">
                <a:ln>
                  <a:noFill/>
                </a:ln>
                <a:solidFill>
                  <a:srgbClr val="FFFFFF"/>
                </a:solidFill>
                <a:effectLst/>
                <a:uLnTx/>
                <a:uFillTx/>
              </a:rPr>
            </a:br>
            <a:r>
              <a:rPr kumimoji="0" lang="et-EE" sz="1200" b="0" i="0" u="none" strike="noStrike" kern="0" cap="none" spc="0" normalizeH="0" baseline="0" noProof="0">
                <a:ln>
                  <a:noFill/>
                </a:ln>
                <a:solidFill>
                  <a:srgbClr val="FFFFFF"/>
                </a:solidFill>
                <a:effectLst/>
                <a:uLnTx/>
                <a:uFillTx/>
              </a:rPr>
              <a:t>€/MWh</a:t>
            </a:r>
            <a:br>
              <a:rPr kumimoji="0" lang="et-EE" sz="1200" b="0" i="0" u="none" strike="noStrike" kern="0" cap="none" spc="0" normalizeH="0" baseline="0" noProof="0">
                <a:ln>
                  <a:noFill/>
                </a:ln>
                <a:solidFill>
                  <a:srgbClr val="FFFFFF"/>
                </a:solidFill>
                <a:effectLst/>
                <a:uLnTx/>
                <a:uFillTx/>
              </a:rPr>
            </a:br>
            <a:r>
              <a:rPr kumimoji="0" lang="et-EE" sz="1200" b="0" i="0" u="none" strike="noStrike" kern="0" cap="none" spc="0" normalizeH="0" baseline="0" noProof="0">
                <a:ln>
                  <a:noFill/>
                </a:ln>
                <a:solidFill>
                  <a:srgbClr val="FFFFFF"/>
                </a:solidFill>
                <a:effectLst/>
                <a:uLnTx/>
                <a:uFillTx/>
              </a:rPr>
              <a:t>(49,1)</a:t>
            </a:r>
          </a:p>
        </p:txBody>
      </p:sp>
      <p:sp>
        <p:nvSpPr>
          <p:cNvPr id="14" name="TextBox 13">
            <a:extLst>
              <a:ext uri="{FF2B5EF4-FFF2-40B4-BE49-F238E27FC236}">
                <a16:creationId xmlns:a16="http://schemas.microsoft.com/office/drawing/2014/main" id="{55FE0AED-BC77-CCDF-8CA9-F2B667B7DAD5}"/>
              </a:ext>
            </a:extLst>
          </p:cNvPr>
          <p:cNvSpPr txBox="1"/>
          <p:nvPr/>
        </p:nvSpPr>
        <p:spPr>
          <a:xfrm>
            <a:off x="9624718" y="1265599"/>
            <a:ext cx="670376" cy="707886"/>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lang="et-EE" sz="1600" b="1" kern="0">
                <a:solidFill>
                  <a:srgbClr val="FFFFFF"/>
                </a:solidFill>
              </a:rPr>
              <a:t>48,2</a:t>
            </a:r>
            <a:br>
              <a:rPr kumimoji="0" lang="et-EE" sz="1800" b="0" i="0" u="none" strike="noStrike" kern="0" cap="none" spc="0" normalizeH="0" baseline="0" noProof="0">
                <a:ln>
                  <a:noFill/>
                </a:ln>
                <a:solidFill>
                  <a:srgbClr val="FFFFFF"/>
                </a:solidFill>
                <a:effectLst/>
                <a:uLnTx/>
                <a:uFillTx/>
              </a:rPr>
            </a:br>
            <a:r>
              <a:rPr kumimoji="0" lang="et-EE" sz="1200" b="0" i="0" u="none" strike="noStrike" kern="0" cap="none" spc="0" normalizeH="0" baseline="0" noProof="0">
                <a:ln>
                  <a:noFill/>
                </a:ln>
                <a:solidFill>
                  <a:srgbClr val="FFFFFF"/>
                </a:solidFill>
                <a:effectLst/>
                <a:uLnTx/>
                <a:uFillTx/>
              </a:rPr>
              <a:t>€/MWh</a:t>
            </a:r>
            <a:br>
              <a:rPr kumimoji="0" lang="et-EE" sz="1200" b="0" i="0" u="none" strike="noStrike" kern="0" cap="none" spc="0" normalizeH="0" baseline="0" noProof="0">
                <a:ln>
                  <a:noFill/>
                </a:ln>
                <a:solidFill>
                  <a:srgbClr val="FFFFFF"/>
                </a:solidFill>
                <a:effectLst/>
                <a:uLnTx/>
                <a:uFillTx/>
              </a:rPr>
            </a:br>
            <a:r>
              <a:rPr kumimoji="0" lang="et-EE" sz="1200" b="0" i="0" u="none" strike="noStrike" kern="0" cap="none" spc="0" normalizeH="0" baseline="0" noProof="0">
                <a:ln>
                  <a:noFill/>
                </a:ln>
                <a:solidFill>
                  <a:srgbClr val="FFFFFF"/>
                </a:solidFill>
                <a:effectLst/>
                <a:uLnTx/>
                <a:uFillTx/>
              </a:rPr>
              <a:t>(5</a:t>
            </a:r>
            <a:r>
              <a:rPr lang="et-EE" sz="1200" kern="0">
                <a:solidFill>
                  <a:srgbClr val="FFFFFF"/>
                </a:solidFill>
              </a:rPr>
              <a:t>6,5</a:t>
            </a:r>
            <a:r>
              <a:rPr kumimoji="0" lang="et-EE" sz="1200" b="0" i="0" u="none" strike="noStrike" kern="0" cap="none" spc="0" normalizeH="0" baseline="0" noProof="0">
                <a:ln>
                  <a:noFill/>
                </a:ln>
                <a:solidFill>
                  <a:srgbClr val="FFFFFF"/>
                </a:solidFill>
                <a:effectLst/>
                <a:uLnTx/>
                <a:uFillTx/>
              </a:rPr>
              <a:t>)</a:t>
            </a:r>
            <a:endParaRPr kumimoji="0" lang="et-EE" sz="1000" b="0" i="0" u="none" strike="noStrike" kern="0" cap="none" spc="0" normalizeH="0" baseline="0" noProof="0">
              <a:ln>
                <a:noFill/>
              </a:ln>
              <a:solidFill>
                <a:srgbClr val="FFFFFF"/>
              </a:solidFill>
              <a:effectLst/>
              <a:uLnTx/>
              <a:uFillTx/>
            </a:endParaRPr>
          </a:p>
        </p:txBody>
      </p:sp>
      <p:sp>
        <p:nvSpPr>
          <p:cNvPr id="15" name="TextBox 14">
            <a:extLst>
              <a:ext uri="{FF2B5EF4-FFF2-40B4-BE49-F238E27FC236}">
                <a16:creationId xmlns:a16="http://schemas.microsoft.com/office/drawing/2014/main" id="{F73BF443-A4AB-756A-1FF3-DF404FC36E97}"/>
              </a:ext>
            </a:extLst>
          </p:cNvPr>
          <p:cNvSpPr txBox="1"/>
          <p:nvPr/>
        </p:nvSpPr>
        <p:spPr>
          <a:xfrm>
            <a:off x="9892837" y="4324305"/>
            <a:ext cx="671979" cy="707886"/>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t-EE" sz="1600" b="1" i="0" u="none" strike="noStrike" kern="0" cap="none" spc="0" normalizeH="0" baseline="0" noProof="0">
                <a:ln>
                  <a:noFill/>
                </a:ln>
                <a:solidFill>
                  <a:srgbClr val="FFFFFF"/>
                </a:solidFill>
                <a:effectLst/>
                <a:uLnTx/>
                <a:uFillTx/>
              </a:rPr>
              <a:t>87,4</a:t>
            </a:r>
            <a:br>
              <a:rPr kumimoji="0" lang="et-EE" sz="1800" b="0" i="0" u="none" strike="noStrike" kern="0" cap="none" spc="0" normalizeH="0" baseline="0" noProof="0">
                <a:ln>
                  <a:noFill/>
                </a:ln>
                <a:solidFill>
                  <a:srgbClr val="FFFFFF"/>
                </a:solidFill>
                <a:effectLst/>
                <a:uLnTx/>
                <a:uFillTx/>
              </a:rPr>
            </a:br>
            <a:r>
              <a:rPr kumimoji="0" lang="et-EE" sz="1200" b="0" i="0" u="none" strike="noStrike" kern="0" cap="none" spc="0" normalizeH="0" baseline="0" noProof="0">
                <a:ln>
                  <a:noFill/>
                </a:ln>
                <a:solidFill>
                  <a:srgbClr val="FFFFFF"/>
                </a:solidFill>
                <a:effectLst/>
                <a:uLnTx/>
                <a:uFillTx/>
              </a:rPr>
              <a:t>€/MWh</a:t>
            </a:r>
            <a:br>
              <a:rPr kumimoji="0" lang="et-EE" sz="1200" b="0" i="0" u="none" strike="noStrike" kern="0" cap="none" spc="0" normalizeH="0" baseline="0" noProof="0">
                <a:ln>
                  <a:noFill/>
                </a:ln>
                <a:solidFill>
                  <a:srgbClr val="FFFFFF"/>
                </a:solidFill>
                <a:effectLst/>
                <a:uLnTx/>
                <a:uFillTx/>
              </a:rPr>
            </a:br>
            <a:r>
              <a:rPr kumimoji="0" lang="et-EE" sz="1200" b="0" i="0" u="none" strike="noStrike" kern="0" cap="none" spc="0" normalizeH="0" baseline="0" noProof="0">
                <a:ln>
                  <a:noFill/>
                </a:ln>
                <a:solidFill>
                  <a:srgbClr val="FFFFFF"/>
                </a:solidFill>
                <a:effectLst/>
                <a:uLnTx/>
                <a:uFillTx/>
              </a:rPr>
              <a:t>(94,4)</a:t>
            </a:r>
            <a:endParaRPr kumimoji="0" lang="et-EE" sz="1000" b="0" i="0" u="none" strike="noStrike" kern="0" cap="none" spc="0" normalizeH="0" baseline="0" noProof="0">
              <a:ln>
                <a:noFill/>
              </a:ln>
              <a:solidFill>
                <a:srgbClr val="FFFFFF"/>
              </a:solidFill>
              <a:effectLst/>
              <a:uLnTx/>
              <a:uFillTx/>
            </a:endParaRPr>
          </a:p>
        </p:txBody>
      </p:sp>
      <p:sp>
        <p:nvSpPr>
          <p:cNvPr id="16" name="TextBox 15">
            <a:extLst>
              <a:ext uri="{FF2B5EF4-FFF2-40B4-BE49-F238E27FC236}">
                <a16:creationId xmlns:a16="http://schemas.microsoft.com/office/drawing/2014/main" id="{77AA211A-29F4-8CEC-9325-FB8F743864F8}"/>
              </a:ext>
            </a:extLst>
          </p:cNvPr>
          <p:cNvSpPr txBox="1"/>
          <p:nvPr/>
        </p:nvSpPr>
        <p:spPr>
          <a:xfrm>
            <a:off x="10365955" y="3515960"/>
            <a:ext cx="671979" cy="707886"/>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t-EE" sz="1600" b="1" i="0" u="none" strike="noStrike" kern="0" cap="none" spc="0" normalizeH="0" baseline="0" noProof="0">
                <a:ln>
                  <a:noFill/>
                </a:ln>
                <a:solidFill>
                  <a:srgbClr val="FFFFFF"/>
                </a:solidFill>
                <a:effectLst/>
                <a:uLnTx/>
                <a:uFillTx/>
              </a:rPr>
              <a:t>87</a:t>
            </a:r>
            <a:r>
              <a:rPr lang="et-EE" sz="1600" b="1" kern="0">
                <a:solidFill>
                  <a:srgbClr val="FFFFFF"/>
                </a:solidFill>
              </a:rPr>
              <a:t>,4</a:t>
            </a:r>
            <a:br>
              <a:rPr kumimoji="0" lang="et-EE" sz="1800" b="0" i="0" u="none" strike="noStrike" kern="0" cap="none" spc="0" normalizeH="0" baseline="0" noProof="0">
                <a:ln>
                  <a:noFill/>
                </a:ln>
                <a:solidFill>
                  <a:srgbClr val="FFFFFF"/>
                </a:solidFill>
                <a:effectLst/>
                <a:uLnTx/>
                <a:uFillTx/>
              </a:rPr>
            </a:br>
            <a:r>
              <a:rPr kumimoji="0" lang="et-EE" sz="1200" b="0" i="0" u="none" strike="noStrike" kern="0" cap="none" spc="0" normalizeH="0" baseline="0" noProof="0">
                <a:ln>
                  <a:noFill/>
                </a:ln>
                <a:solidFill>
                  <a:srgbClr val="FFFFFF"/>
                </a:solidFill>
                <a:effectLst/>
                <a:uLnTx/>
                <a:uFillTx/>
              </a:rPr>
              <a:t>€/MWh</a:t>
            </a:r>
            <a:br>
              <a:rPr kumimoji="0" lang="et-EE" sz="1200" b="0" i="0" u="none" strike="noStrike" kern="0" cap="none" spc="0" normalizeH="0" baseline="0" noProof="0">
                <a:ln>
                  <a:noFill/>
                </a:ln>
                <a:solidFill>
                  <a:srgbClr val="FFFFFF"/>
                </a:solidFill>
                <a:effectLst/>
                <a:uLnTx/>
                <a:uFillTx/>
              </a:rPr>
            </a:br>
            <a:r>
              <a:rPr kumimoji="0" lang="et-EE" sz="1200" b="0" i="0" u="none" strike="noStrike" kern="0" cap="none" spc="0" normalizeH="0" baseline="0" noProof="0">
                <a:ln>
                  <a:noFill/>
                </a:ln>
                <a:solidFill>
                  <a:srgbClr val="FFFFFF"/>
                </a:solidFill>
                <a:effectLst/>
                <a:uLnTx/>
                <a:uFillTx/>
              </a:rPr>
              <a:t>(</a:t>
            </a:r>
            <a:r>
              <a:rPr lang="et-EE" sz="1200" kern="0">
                <a:solidFill>
                  <a:srgbClr val="FFFFFF"/>
                </a:solidFill>
              </a:rPr>
              <a:t>93,9</a:t>
            </a:r>
            <a:r>
              <a:rPr kumimoji="0" lang="et-EE" sz="1200" b="0" i="0" u="none" strike="noStrike" kern="0" cap="none" spc="0" normalizeH="0" baseline="0" noProof="0">
                <a:ln>
                  <a:noFill/>
                </a:ln>
                <a:solidFill>
                  <a:srgbClr val="FFFFFF"/>
                </a:solidFill>
                <a:effectLst/>
                <a:uLnTx/>
                <a:uFillTx/>
              </a:rPr>
              <a:t>)</a:t>
            </a:r>
            <a:endParaRPr kumimoji="0" lang="et-EE" sz="1000" b="0" i="0" u="none" strike="noStrike" kern="0" cap="none" spc="0" normalizeH="0" baseline="0" noProof="0">
              <a:ln>
                <a:noFill/>
              </a:ln>
              <a:solidFill>
                <a:srgbClr val="FFFFFF"/>
              </a:solidFill>
              <a:effectLst/>
              <a:uLnTx/>
              <a:uFillTx/>
            </a:endParaRPr>
          </a:p>
        </p:txBody>
      </p:sp>
      <p:sp>
        <p:nvSpPr>
          <p:cNvPr id="17" name="TextBox 16">
            <a:extLst>
              <a:ext uri="{FF2B5EF4-FFF2-40B4-BE49-F238E27FC236}">
                <a16:creationId xmlns:a16="http://schemas.microsoft.com/office/drawing/2014/main" id="{A67C5904-8590-FB6E-8BA5-9EF53F7DC65E}"/>
              </a:ext>
            </a:extLst>
          </p:cNvPr>
          <p:cNvSpPr txBox="1"/>
          <p:nvPr/>
        </p:nvSpPr>
        <p:spPr>
          <a:xfrm>
            <a:off x="10074967" y="2660693"/>
            <a:ext cx="705642" cy="707886"/>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lang="et-EE" sz="1600" b="1" kern="0">
                <a:solidFill>
                  <a:srgbClr val="FFFFFF"/>
                </a:solidFill>
              </a:rPr>
              <a:t>88,6</a:t>
            </a:r>
          </a:p>
          <a:p>
            <a:pPr marL="0" marR="0" lvl="0" indent="0" defTabSz="914377" eaLnBrk="1" fontAlgn="auto" latinLnBrk="0" hangingPunct="1">
              <a:lnSpc>
                <a:spcPct val="100000"/>
              </a:lnSpc>
              <a:spcBef>
                <a:spcPts val="0"/>
              </a:spcBef>
              <a:spcAft>
                <a:spcPts val="0"/>
              </a:spcAft>
              <a:buClrTx/>
              <a:buSzTx/>
              <a:buFontTx/>
              <a:buNone/>
              <a:tabLst/>
              <a:defRPr/>
            </a:pPr>
            <a:r>
              <a:rPr kumimoji="0" lang="et-EE" sz="1200" b="0" i="0" u="none" strike="noStrike" kern="0" cap="none" spc="0" normalizeH="0" baseline="0" noProof="0">
                <a:ln>
                  <a:noFill/>
                </a:ln>
                <a:solidFill>
                  <a:srgbClr val="FFFFFF"/>
                </a:solidFill>
                <a:effectLst/>
                <a:uLnTx/>
                <a:uFillTx/>
              </a:rPr>
              <a:t>€/MWh </a:t>
            </a:r>
            <a:br>
              <a:rPr kumimoji="0" lang="et-EE" sz="1200" b="0" i="0" u="none" strike="noStrike" kern="0" cap="none" spc="0" normalizeH="0" baseline="0" noProof="0">
                <a:ln>
                  <a:noFill/>
                </a:ln>
                <a:solidFill>
                  <a:srgbClr val="FFFFFF"/>
                </a:solidFill>
                <a:effectLst/>
                <a:uLnTx/>
                <a:uFillTx/>
              </a:rPr>
            </a:br>
            <a:r>
              <a:rPr kumimoji="0" lang="et-EE" sz="1200" b="0" i="0" u="none" strike="noStrike" kern="0" cap="none" spc="0" normalizeH="0" baseline="0" noProof="0">
                <a:ln>
                  <a:noFill/>
                </a:ln>
                <a:solidFill>
                  <a:srgbClr val="FFFFFF"/>
                </a:solidFill>
                <a:effectLst/>
                <a:uLnTx/>
                <a:uFillTx/>
              </a:rPr>
              <a:t>(90,7)</a:t>
            </a:r>
            <a:endParaRPr kumimoji="0" lang="et-EE" sz="1000" b="0" i="0" u="none" strike="noStrike" kern="0" cap="none" spc="0" normalizeH="0" baseline="0" noProof="0">
              <a:ln>
                <a:noFill/>
              </a:ln>
              <a:solidFill>
                <a:srgbClr val="FFFFFF"/>
              </a:solidFill>
              <a:effectLst/>
              <a:uLnTx/>
              <a:uFillTx/>
            </a:endParaRPr>
          </a:p>
        </p:txBody>
      </p:sp>
      <p:pic>
        <p:nvPicPr>
          <p:cNvPr id="18" name="Graphic 17">
            <a:extLst>
              <a:ext uri="{FF2B5EF4-FFF2-40B4-BE49-F238E27FC236}">
                <a16:creationId xmlns:a16="http://schemas.microsoft.com/office/drawing/2014/main" id="{AA5FC61C-2B09-D8DE-4622-921D055B188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39540" y="1352175"/>
            <a:ext cx="208800" cy="208800"/>
          </a:xfrm>
          <a:prstGeom prst="rect">
            <a:avLst/>
          </a:prstGeom>
          <a:effectLst>
            <a:outerShdw blurRad="38100" dist="12700" dir="2700000" algn="tl" rotWithShape="0">
              <a:prstClr val="black">
                <a:alpha val="10000"/>
              </a:prstClr>
            </a:outerShdw>
          </a:effectLst>
        </p:spPr>
      </p:pic>
      <p:pic>
        <p:nvPicPr>
          <p:cNvPr id="19" name="Graphic 18">
            <a:extLst>
              <a:ext uri="{FF2B5EF4-FFF2-40B4-BE49-F238E27FC236}">
                <a16:creationId xmlns:a16="http://schemas.microsoft.com/office/drawing/2014/main" id="{A75F4F4F-2222-2C04-8548-C4C9BCB0427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26200" y="2205893"/>
            <a:ext cx="208800" cy="208800"/>
          </a:xfrm>
          <a:prstGeom prst="rect">
            <a:avLst/>
          </a:prstGeom>
          <a:effectLst>
            <a:outerShdw blurRad="38100" dist="12700" dir="2700000" algn="tl" rotWithShape="0">
              <a:prstClr val="black">
                <a:alpha val="10000"/>
              </a:prstClr>
            </a:outerShdw>
          </a:effectLst>
        </p:spPr>
      </p:pic>
      <p:pic>
        <p:nvPicPr>
          <p:cNvPr id="20" name="Graphic 19">
            <a:extLst>
              <a:ext uri="{FF2B5EF4-FFF2-40B4-BE49-F238E27FC236}">
                <a16:creationId xmlns:a16="http://schemas.microsoft.com/office/drawing/2014/main" id="{E492C573-0415-EB55-F0DF-1876F71A68A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681160" y="4539776"/>
            <a:ext cx="208800" cy="208800"/>
          </a:xfrm>
          <a:prstGeom prst="rect">
            <a:avLst/>
          </a:prstGeom>
          <a:effectLst>
            <a:outerShdw blurRad="38100" dist="12700" dir="2700000" algn="tl" rotWithShape="0">
              <a:prstClr val="black">
                <a:alpha val="10000"/>
              </a:prstClr>
            </a:outerShdw>
          </a:effectLst>
        </p:spPr>
      </p:pic>
      <p:pic>
        <p:nvPicPr>
          <p:cNvPr id="21" name="Graphic 20">
            <a:extLst>
              <a:ext uri="{FF2B5EF4-FFF2-40B4-BE49-F238E27FC236}">
                <a16:creationId xmlns:a16="http://schemas.microsoft.com/office/drawing/2014/main" id="{158B8A0B-60DA-8508-F4F6-693A87C2166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141039" y="2490859"/>
            <a:ext cx="208800" cy="208800"/>
          </a:xfrm>
          <a:prstGeom prst="rect">
            <a:avLst/>
          </a:prstGeom>
          <a:effectLst>
            <a:outerShdw blurRad="38100" dist="12700" dir="2700000" algn="tl" rotWithShape="0">
              <a:prstClr val="black">
                <a:alpha val="10000"/>
              </a:prstClr>
            </a:outerShdw>
          </a:effectLst>
        </p:spPr>
      </p:pic>
      <p:pic>
        <p:nvPicPr>
          <p:cNvPr id="22" name="Graphic 21">
            <a:extLst>
              <a:ext uri="{FF2B5EF4-FFF2-40B4-BE49-F238E27FC236}">
                <a16:creationId xmlns:a16="http://schemas.microsoft.com/office/drawing/2014/main" id="{ED3FF043-B459-FDBD-3784-36070BE4756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742673" y="4389968"/>
            <a:ext cx="208800" cy="208800"/>
          </a:xfrm>
          <a:prstGeom prst="rect">
            <a:avLst/>
          </a:prstGeom>
          <a:effectLst>
            <a:outerShdw blurRad="38100" dist="12700" dir="2700000" algn="tl" rotWithShape="0">
              <a:prstClr val="black">
                <a:alpha val="10000"/>
              </a:prstClr>
            </a:outerShdw>
          </a:effectLst>
        </p:spPr>
      </p:pic>
      <p:pic>
        <p:nvPicPr>
          <p:cNvPr id="23" name="Graphic 22">
            <a:extLst>
              <a:ext uri="{FF2B5EF4-FFF2-40B4-BE49-F238E27FC236}">
                <a16:creationId xmlns:a16="http://schemas.microsoft.com/office/drawing/2014/main" id="{CA7686CE-4987-D1FE-3D5C-CA7B8B704A3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199065" y="3603432"/>
            <a:ext cx="208800" cy="208800"/>
          </a:xfrm>
          <a:prstGeom prst="rect">
            <a:avLst/>
          </a:prstGeom>
          <a:effectLst>
            <a:outerShdw blurRad="38100" dist="12700" dir="2700000" algn="tl" rotWithShape="0">
              <a:prstClr val="black">
                <a:alpha val="10000"/>
              </a:prstClr>
            </a:outerShdw>
          </a:effectLst>
        </p:spPr>
      </p:pic>
      <p:pic>
        <p:nvPicPr>
          <p:cNvPr id="24" name="Graphic 23">
            <a:extLst>
              <a:ext uri="{FF2B5EF4-FFF2-40B4-BE49-F238E27FC236}">
                <a16:creationId xmlns:a16="http://schemas.microsoft.com/office/drawing/2014/main" id="{BEC5555D-9FB1-3662-91A6-384FA3C13462}"/>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931346" y="2817333"/>
            <a:ext cx="208271" cy="208268"/>
          </a:xfrm>
          <a:prstGeom prst="rect">
            <a:avLst/>
          </a:prstGeom>
          <a:effectLst>
            <a:outerShdw blurRad="38100" dist="12700" dir="2700000" algn="tl" rotWithShape="0">
              <a:prstClr val="black">
                <a:alpha val="10000"/>
              </a:prstClr>
            </a:outerShdw>
          </a:effectLst>
        </p:spPr>
      </p:pic>
      <p:pic>
        <p:nvPicPr>
          <p:cNvPr id="25" name="Graphic 24">
            <a:extLst>
              <a:ext uri="{FF2B5EF4-FFF2-40B4-BE49-F238E27FC236}">
                <a16:creationId xmlns:a16="http://schemas.microsoft.com/office/drawing/2014/main" id="{E0121855-2D5C-02EF-0892-EDA6748443C1}"/>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510473" y="5847407"/>
            <a:ext cx="208800" cy="208800"/>
          </a:xfrm>
          <a:prstGeom prst="rect">
            <a:avLst/>
          </a:prstGeom>
          <a:effectLst>
            <a:outerShdw blurRad="38100" dist="12700" dir="2700000" algn="tl" rotWithShape="0">
              <a:prstClr val="black">
                <a:alpha val="10000"/>
              </a:prstClr>
            </a:outerShdw>
          </a:effectLst>
        </p:spPr>
      </p:pic>
      <p:pic>
        <p:nvPicPr>
          <p:cNvPr id="26" name="Graphic 25">
            <a:extLst>
              <a:ext uri="{FF2B5EF4-FFF2-40B4-BE49-F238E27FC236}">
                <a16:creationId xmlns:a16="http://schemas.microsoft.com/office/drawing/2014/main" id="{90EE7CE8-8CF7-B48C-7984-80BC9F7FFF16}"/>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985472" y="6007725"/>
            <a:ext cx="208800" cy="208800"/>
          </a:xfrm>
          <a:prstGeom prst="rect">
            <a:avLst/>
          </a:prstGeom>
          <a:effectLst>
            <a:outerShdw blurRad="38100" dist="12700" dir="2700000" algn="tl" rotWithShape="0">
              <a:prstClr val="black">
                <a:alpha val="10000"/>
              </a:prstClr>
            </a:outerShdw>
          </a:effectLst>
        </p:spPr>
      </p:pic>
      <p:sp>
        <p:nvSpPr>
          <p:cNvPr id="27" name="TextBox 26">
            <a:extLst>
              <a:ext uri="{FF2B5EF4-FFF2-40B4-BE49-F238E27FC236}">
                <a16:creationId xmlns:a16="http://schemas.microsoft.com/office/drawing/2014/main" id="{4A6CD31F-5B83-839A-F15B-87AC5BB4A563}"/>
              </a:ext>
            </a:extLst>
          </p:cNvPr>
          <p:cNvSpPr txBox="1"/>
          <p:nvPr/>
        </p:nvSpPr>
        <p:spPr>
          <a:xfrm>
            <a:off x="9624718" y="168751"/>
            <a:ext cx="1157689" cy="584775"/>
          </a:xfrm>
          <a:prstGeom prst="rect">
            <a:avLst/>
          </a:prstGeom>
          <a:noFill/>
        </p:spPr>
        <p:txBody>
          <a:bodyPr wrap="non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lang="et-EE" sz="1600" b="1" kern="0">
                <a:solidFill>
                  <a:srgbClr val="FFFFFF"/>
                </a:solidFill>
              </a:rPr>
              <a:t>2024 hind</a:t>
            </a:r>
          </a:p>
          <a:p>
            <a:pPr marL="0" marR="0" lvl="0" indent="0" defTabSz="914377" eaLnBrk="1" fontAlgn="auto" latinLnBrk="0" hangingPunct="1">
              <a:lnSpc>
                <a:spcPct val="100000"/>
              </a:lnSpc>
              <a:spcBef>
                <a:spcPts val="0"/>
              </a:spcBef>
              <a:spcAft>
                <a:spcPts val="0"/>
              </a:spcAft>
              <a:buClrTx/>
              <a:buSzTx/>
              <a:buFontTx/>
              <a:buNone/>
              <a:tabLst/>
              <a:defRPr/>
            </a:pPr>
            <a:r>
              <a:rPr kumimoji="0" lang="et-EE" sz="1600" b="1" i="0" u="none" strike="noStrike" kern="0" cap="none" spc="0" normalizeH="0" baseline="0" noProof="0">
                <a:ln>
                  <a:noFill/>
                </a:ln>
                <a:solidFill>
                  <a:srgbClr val="FFFFFF"/>
                </a:solidFill>
                <a:effectLst/>
                <a:uLnTx/>
                <a:uFillTx/>
              </a:rPr>
              <a:t>(2023) hind</a:t>
            </a:r>
            <a:endParaRPr kumimoji="0" lang="et-EE" sz="10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42120648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04BAF13A-B158-1642-9895-2EFC60BB0ED8}"/>
              </a:ext>
            </a:extLst>
          </p:cNvPr>
          <p:cNvSpPr txBox="1"/>
          <p:nvPr/>
        </p:nvSpPr>
        <p:spPr>
          <a:xfrm>
            <a:off x="538700" y="359304"/>
            <a:ext cx="5143500" cy="646331"/>
          </a:xfrm>
          <a:prstGeom prst="rect">
            <a:avLst/>
          </a:prstGeom>
          <a:noFill/>
        </p:spPr>
        <p:txBody>
          <a:bodyPr wrap="square" rtlCol="0">
            <a:spAutoFit/>
          </a:bodyPr>
          <a:lstStyle/>
          <a:p>
            <a:r>
              <a:rPr lang="et-EE" sz="3600" b="1">
                <a:solidFill>
                  <a:schemeClr val="accent5">
                    <a:lumMod val="75000"/>
                  </a:schemeClr>
                </a:solidFill>
                <a:latin typeface="+mj-lt"/>
              </a:rPr>
              <a:t>Elekter Eestis</a:t>
            </a:r>
          </a:p>
        </p:txBody>
      </p:sp>
      <p:pic>
        <p:nvPicPr>
          <p:cNvPr id="10" name="Picture 9">
            <a:extLst>
              <a:ext uri="{FF2B5EF4-FFF2-40B4-BE49-F238E27FC236}">
                <a16:creationId xmlns:a16="http://schemas.microsoft.com/office/drawing/2014/main" id="{90BB3912-9251-F749-8AF4-C981D319FB82}"/>
              </a:ext>
            </a:extLst>
          </p:cNvPr>
          <p:cNvPicPr>
            <a:picLocks noChangeAspect="1"/>
          </p:cNvPicPr>
          <p:nvPr/>
        </p:nvPicPr>
        <p:blipFill>
          <a:blip r:embed="rId3"/>
          <a:stretch>
            <a:fillRect/>
          </a:stretch>
        </p:blipFill>
        <p:spPr>
          <a:xfrm>
            <a:off x="9812521" y="138854"/>
            <a:ext cx="2009365" cy="759093"/>
          </a:xfrm>
          <a:prstGeom prst="rect">
            <a:avLst/>
          </a:prstGeom>
        </p:spPr>
      </p:pic>
      <p:pic>
        <p:nvPicPr>
          <p:cNvPr id="16" name="Picture 15" descr="A graph of different colored squares&#10;&#10;Description automatically generated">
            <a:extLst>
              <a:ext uri="{FF2B5EF4-FFF2-40B4-BE49-F238E27FC236}">
                <a16:creationId xmlns:a16="http://schemas.microsoft.com/office/drawing/2014/main" id="{0761BFC4-4C40-3F8C-D32D-1F2E0D2C5A2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95925" y="888422"/>
            <a:ext cx="6504098" cy="5398964"/>
          </a:xfrm>
          <a:prstGeom prst="rect">
            <a:avLst/>
          </a:prstGeom>
        </p:spPr>
      </p:pic>
      <p:pic>
        <p:nvPicPr>
          <p:cNvPr id="17" name="Picture 16">
            <a:extLst>
              <a:ext uri="{FF2B5EF4-FFF2-40B4-BE49-F238E27FC236}">
                <a16:creationId xmlns:a16="http://schemas.microsoft.com/office/drawing/2014/main" id="{35444715-5601-6995-1ACE-C078E181CF6C}"/>
              </a:ext>
            </a:extLst>
          </p:cNvPr>
          <p:cNvPicPr>
            <a:picLocks noChangeAspect="1"/>
          </p:cNvPicPr>
          <p:nvPr/>
        </p:nvPicPr>
        <p:blipFill>
          <a:blip r:embed="rId5"/>
          <a:stretch>
            <a:fillRect/>
          </a:stretch>
        </p:blipFill>
        <p:spPr>
          <a:xfrm>
            <a:off x="237160" y="1151946"/>
            <a:ext cx="4688230" cy="4554107"/>
          </a:xfrm>
          <a:prstGeom prst="rect">
            <a:avLst/>
          </a:prstGeom>
        </p:spPr>
      </p:pic>
      <p:sp>
        <p:nvSpPr>
          <p:cNvPr id="18" name="TextBox 17">
            <a:extLst>
              <a:ext uri="{FF2B5EF4-FFF2-40B4-BE49-F238E27FC236}">
                <a16:creationId xmlns:a16="http://schemas.microsoft.com/office/drawing/2014/main" id="{BE541A54-59B2-2A64-1462-DE7CD65FF1B4}"/>
              </a:ext>
            </a:extLst>
          </p:cNvPr>
          <p:cNvSpPr txBox="1"/>
          <p:nvPr/>
        </p:nvSpPr>
        <p:spPr>
          <a:xfrm>
            <a:off x="5442518" y="6287386"/>
            <a:ext cx="6749482" cy="461665"/>
          </a:xfrm>
          <a:prstGeom prst="rect">
            <a:avLst/>
          </a:prstGeom>
          <a:noFill/>
        </p:spPr>
        <p:txBody>
          <a:bodyPr wrap="square" rtlCol="0">
            <a:spAutoFit/>
          </a:bodyPr>
          <a:lstStyle/>
          <a:p>
            <a:r>
              <a:rPr lang="et-EE" sz="1200" i="1"/>
              <a:t>Taastuv- ja fossiilsete elektrijaamade tavapärased tasandatud elektrienergia maksumused  Saksamaa näitel. </a:t>
            </a:r>
            <a:r>
              <a:rPr lang="et-EE" sz="1200" i="1" err="1"/>
              <a:t>Fraunhofer</a:t>
            </a:r>
            <a:r>
              <a:rPr lang="et-EE" sz="1200" i="1"/>
              <a:t> ISE, 2024. „</a:t>
            </a:r>
            <a:r>
              <a:rPr lang="en-US" sz="1200" i="1"/>
              <a:t>Levelized Cost of Electricity- Renewable Energy Technologies</a:t>
            </a:r>
            <a:r>
              <a:rPr lang="et-EE" sz="1200" i="1"/>
              <a:t>“</a:t>
            </a:r>
          </a:p>
        </p:txBody>
      </p:sp>
      <p:sp>
        <p:nvSpPr>
          <p:cNvPr id="20" name="TextBox 19">
            <a:extLst>
              <a:ext uri="{FF2B5EF4-FFF2-40B4-BE49-F238E27FC236}">
                <a16:creationId xmlns:a16="http://schemas.microsoft.com/office/drawing/2014/main" id="{6D92E4EE-2144-CAA4-3700-FC21569DBC29}"/>
              </a:ext>
            </a:extLst>
          </p:cNvPr>
          <p:cNvSpPr txBox="1"/>
          <p:nvPr/>
        </p:nvSpPr>
        <p:spPr>
          <a:xfrm>
            <a:off x="166687" y="5964220"/>
            <a:ext cx="5083854" cy="646331"/>
          </a:xfrm>
          <a:prstGeom prst="rect">
            <a:avLst/>
          </a:prstGeom>
          <a:noFill/>
        </p:spPr>
        <p:txBody>
          <a:bodyPr wrap="square">
            <a:spAutoFit/>
          </a:bodyPr>
          <a:lstStyle/>
          <a:p>
            <a:pPr marL="0" marR="0" lvl="0" indent="0" algn="l" defTabSz="914377" rtl="0" eaLnBrk="1" fontAlgn="auto" latinLnBrk="0" hangingPunct="1">
              <a:lnSpc>
                <a:spcPct val="100000"/>
              </a:lnSpc>
              <a:spcBef>
                <a:spcPct val="0"/>
              </a:spcBef>
              <a:spcAft>
                <a:spcPts val="0"/>
              </a:spcAft>
              <a:buClrTx/>
              <a:buSzTx/>
              <a:buFontTx/>
              <a:buNone/>
              <a:tabLst/>
              <a:defRPr/>
            </a:pPr>
            <a:r>
              <a:rPr lang="et-EE" b="1" dirty="0">
                <a:solidFill>
                  <a:schemeClr val="accent5">
                    <a:lumMod val="75000"/>
                  </a:schemeClr>
                </a:solidFill>
              </a:rPr>
              <a:t>Uued päikese- ja tuulepargi</a:t>
            </a:r>
            <a:r>
              <a:rPr lang="en-US" b="1" dirty="0">
                <a:solidFill>
                  <a:schemeClr val="accent5">
                    <a:lumMod val="75000"/>
                  </a:schemeClr>
                </a:solidFill>
              </a:rPr>
              <a:t>d</a:t>
            </a:r>
            <a:r>
              <a:rPr lang="et-EE" b="1" dirty="0">
                <a:solidFill>
                  <a:schemeClr val="accent5">
                    <a:lumMod val="75000"/>
                  </a:schemeClr>
                </a:solidFill>
              </a:rPr>
              <a:t> maismaal asendavad ennekõike kahanevat põlevkivienergeetikat</a:t>
            </a:r>
            <a:endParaRPr lang="et-EE" sz="1800" b="1" dirty="0">
              <a:solidFill>
                <a:schemeClr val="accent5">
                  <a:lumMod val="75000"/>
                </a:schemeClr>
              </a:solidFill>
            </a:endParaRPr>
          </a:p>
        </p:txBody>
      </p:sp>
    </p:spTree>
    <p:extLst>
      <p:ext uri="{BB962C8B-B14F-4D97-AF65-F5344CB8AC3E}">
        <p14:creationId xmlns:p14="http://schemas.microsoft.com/office/powerpoint/2010/main" val="27819782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F36E56B-63E4-A462-2C96-B789EF52A006}"/>
              </a:ext>
            </a:extLst>
          </p:cNvPr>
          <p:cNvSpPr txBox="1"/>
          <p:nvPr/>
        </p:nvSpPr>
        <p:spPr>
          <a:xfrm>
            <a:off x="546795" y="276377"/>
            <a:ext cx="8733525" cy="1200329"/>
          </a:xfrm>
          <a:prstGeom prst="rect">
            <a:avLst/>
          </a:prstGeom>
          <a:noFill/>
        </p:spPr>
        <p:txBody>
          <a:bodyPr wrap="square" rtlCol="0">
            <a:spAutoFit/>
          </a:bodyPr>
          <a:lstStyle/>
          <a:p>
            <a:r>
              <a:rPr lang="et-EE" sz="3600" b="1">
                <a:solidFill>
                  <a:schemeClr val="accent5">
                    <a:lumMod val="75000"/>
                  </a:schemeClr>
                </a:solidFill>
                <a:latin typeface="+mj-lt"/>
              </a:rPr>
              <a:t>Soodsaim elektrisüsteem koosneb mitmest tehnoloogiast</a:t>
            </a:r>
          </a:p>
        </p:txBody>
      </p:sp>
      <p:pic>
        <p:nvPicPr>
          <p:cNvPr id="6" name="Graphic 5">
            <a:extLst>
              <a:ext uri="{FF2B5EF4-FFF2-40B4-BE49-F238E27FC236}">
                <a16:creationId xmlns:a16="http://schemas.microsoft.com/office/drawing/2014/main" id="{A1928BF7-9F12-63EE-DC5B-C4A908BB16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473758" y="2322054"/>
            <a:ext cx="644134" cy="540031"/>
          </a:xfrm>
          <a:prstGeom prst="rect">
            <a:avLst/>
          </a:prstGeom>
        </p:spPr>
      </p:pic>
      <p:pic>
        <p:nvPicPr>
          <p:cNvPr id="7" name="Graphic 6">
            <a:extLst>
              <a:ext uri="{FF2B5EF4-FFF2-40B4-BE49-F238E27FC236}">
                <a16:creationId xmlns:a16="http://schemas.microsoft.com/office/drawing/2014/main" id="{F3AC17C7-1364-E954-AF99-48BFD0F297F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23220" y="1176708"/>
            <a:ext cx="834807" cy="647562"/>
          </a:xfrm>
          <a:prstGeom prst="rect">
            <a:avLst/>
          </a:prstGeom>
        </p:spPr>
      </p:pic>
      <p:sp>
        <p:nvSpPr>
          <p:cNvPr id="8" name="TextBox 7">
            <a:extLst>
              <a:ext uri="{FF2B5EF4-FFF2-40B4-BE49-F238E27FC236}">
                <a16:creationId xmlns:a16="http://schemas.microsoft.com/office/drawing/2014/main" id="{62A758C9-ADEA-124C-9362-CC569659B0E3}"/>
              </a:ext>
            </a:extLst>
          </p:cNvPr>
          <p:cNvSpPr txBox="1"/>
          <p:nvPr/>
        </p:nvSpPr>
        <p:spPr>
          <a:xfrm>
            <a:off x="9370019" y="1349815"/>
            <a:ext cx="2559882" cy="723916"/>
          </a:xfrm>
          <a:prstGeom prst="rect">
            <a:avLst/>
          </a:prstGeom>
          <a:solidFill>
            <a:srgbClr val="FFFF00"/>
          </a:solidFill>
        </p:spPr>
        <p:txBody>
          <a:bodyPr wrap="square" rtlCol="0">
            <a:spAutoFit/>
          </a:bodyPr>
          <a:lstStyle/>
          <a:p>
            <a:pPr algn="ctr" defTabSz="685800">
              <a:lnSpc>
                <a:spcPct val="80000"/>
              </a:lnSpc>
              <a:defRPr/>
            </a:pPr>
            <a:r>
              <a:rPr lang="et-EE" sz="1950" b="1">
                <a:solidFill>
                  <a:schemeClr val="accent5">
                    <a:lumMod val="75000"/>
                  </a:schemeClr>
                </a:solidFill>
                <a:latin typeface="Calibri" panose="020F0502020204030204"/>
              </a:rPr>
              <a:t>Päikesepargid</a:t>
            </a:r>
          </a:p>
          <a:p>
            <a:pPr algn="ctr" defTabSz="685800">
              <a:lnSpc>
                <a:spcPct val="80000"/>
              </a:lnSpc>
              <a:defRPr/>
            </a:pPr>
            <a:r>
              <a:rPr lang="et-EE" sz="1950" b="1">
                <a:solidFill>
                  <a:schemeClr val="accent5">
                    <a:lumMod val="75000"/>
                  </a:schemeClr>
                </a:solidFill>
                <a:latin typeface="Calibri" panose="020F0502020204030204"/>
              </a:rPr>
              <a:t>1500 MW </a:t>
            </a:r>
          </a:p>
          <a:p>
            <a:pPr algn="ctr" defTabSz="685800">
              <a:lnSpc>
                <a:spcPct val="80000"/>
              </a:lnSpc>
              <a:defRPr/>
            </a:pPr>
            <a:r>
              <a:rPr lang="et-EE" sz="1200" b="1">
                <a:solidFill>
                  <a:schemeClr val="accent5">
                    <a:lumMod val="75000"/>
                  </a:schemeClr>
                </a:solidFill>
                <a:latin typeface="Calibri" panose="020F0502020204030204"/>
              </a:rPr>
              <a:t>(Täna 1 025 MW)</a:t>
            </a:r>
            <a:endParaRPr lang="et-EE" sz="1950" b="1">
              <a:solidFill>
                <a:schemeClr val="accent5">
                  <a:lumMod val="75000"/>
                </a:schemeClr>
              </a:solidFill>
              <a:latin typeface="Calibri" panose="020F0502020204030204"/>
            </a:endParaRPr>
          </a:p>
        </p:txBody>
      </p:sp>
      <p:sp>
        <p:nvSpPr>
          <p:cNvPr id="9" name="TextBox 8">
            <a:extLst>
              <a:ext uri="{FF2B5EF4-FFF2-40B4-BE49-F238E27FC236}">
                <a16:creationId xmlns:a16="http://schemas.microsoft.com/office/drawing/2014/main" id="{58782EBA-AF4D-DC77-4CE0-53EB45AC39D2}"/>
              </a:ext>
            </a:extLst>
          </p:cNvPr>
          <p:cNvSpPr txBox="1"/>
          <p:nvPr/>
        </p:nvSpPr>
        <p:spPr>
          <a:xfrm>
            <a:off x="9370019" y="2322054"/>
            <a:ext cx="2559882" cy="711285"/>
          </a:xfrm>
          <a:prstGeom prst="rect">
            <a:avLst/>
          </a:prstGeom>
          <a:solidFill>
            <a:srgbClr val="00B050"/>
          </a:solidFill>
        </p:spPr>
        <p:txBody>
          <a:bodyPr wrap="square" rtlCol="0">
            <a:spAutoFit/>
          </a:bodyPr>
          <a:lstStyle/>
          <a:p>
            <a:pPr algn="ctr" defTabSz="685800">
              <a:lnSpc>
                <a:spcPct val="80000"/>
              </a:lnSpc>
              <a:defRPr/>
            </a:pPr>
            <a:r>
              <a:rPr lang="et-EE" sz="1950" b="1">
                <a:solidFill>
                  <a:schemeClr val="bg1"/>
                </a:solidFill>
                <a:latin typeface="Calibri" panose="020F0502020204030204"/>
              </a:rPr>
              <a:t>Tuulepargid maismaal</a:t>
            </a:r>
          </a:p>
          <a:p>
            <a:pPr algn="ctr" defTabSz="685800">
              <a:lnSpc>
                <a:spcPct val="80000"/>
              </a:lnSpc>
              <a:defRPr/>
            </a:pPr>
            <a:r>
              <a:rPr lang="et-EE" sz="1950" b="1">
                <a:solidFill>
                  <a:schemeClr val="bg1"/>
                </a:solidFill>
                <a:latin typeface="Calibri" panose="020F0502020204030204"/>
              </a:rPr>
              <a:t>2000 MW</a:t>
            </a:r>
          </a:p>
          <a:p>
            <a:pPr algn="ctr" defTabSz="685800">
              <a:lnSpc>
                <a:spcPct val="80000"/>
              </a:lnSpc>
              <a:defRPr/>
            </a:pPr>
            <a:r>
              <a:rPr lang="et-EE" sz="1100" b="1">
                <a:solidFill>
                  <a:schemeClr val="bg1"/>
                </a:solidFill>
                <a:latin typeface="Calibri" panose="020F0502020204030204"/>
              </a:rPr>
              <a:t>(Täna 519 MW)</a:t>
            </a:r>
            <a:endParaRPr lang="et-EE" sz="1950" b="1">
              <a:solidFill>
                <a:schemeClr val="bg1"/>
              </a:solidFill>
              <a:latin typeface="Calibri" panose="020F0502020204030204"/>
            </a:endParaRPr>
          </a:p>
        </p:txBody>
      </p:sp>
      <p:pic>
        <p:nvPicPr>
          <p:cNvPr id="11" name="Graphic 10">
            <a:extLst>
              <a:ext uri="{FF2B5EF4-FFF2-40B4-BE49-F238E27FC236}">
                <a16:creationId xmlns:a16="http://schemas.microsoft.com/office/drawing/2014/main" id="{5C4652CE-509A-C9D2-E335-9F0A6190BF0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507439" y="3395603"/>
            <a:ext cx="644134" cy="540031"/>
          </a:xfrm>
          <a:prstGeom prst="rect">
            <a:avLst/>
          </a:prstGeom>
        </p:spPr>
      </p:pic>
      <p:sp>
        <p:nvSpPr>
          <p:cNvPr id="12" name="TextBox 11">
            <a:extLst>
              <a:ext uri="{FF2B5EF4-FFF2-40B4-BE49-F238E27FC236}">
                <a16:creationId xmlns:a16="http://schemas.microsoft.com/office/drawing/2014/main" id="{03815D12-3FBF-350E-1445-0980E02271CC}"/>
              </a:ext>
            </a:extLst>
          </p:cNvPr>
          <p:cNvSpPr txBox="1"/>
          <p:nvPr/>
        </p:nvSpPr>
        <p:spPr>
          <a:xfrm>
            <a:off x="9373584" y="3414653"/>
            <a:ext cx="2546131" cy="711285"/>
          </a:xfrm>
          <a:prstGeom prst="rect">
            <a:avLst/>
          </a:prstGeom>
          <a:solidFill>
            <a:srgbClr val="009FE3"/>
          </a:solidFill>
        </p:spPr>
        <p:txBody>
          <a:bodyPr wrap="square" rtlCol="0">
            <a:spAutoFit/>
          </a:bodyPr>
          <a:lstStyle/>
          <a:p>
            <a:pPr algn="ctr" defTabSz="685800">
              <a:lnSpc>
                <a:spcPct val="80000"/>
              </a:lnSpc>
              <a:defRPr/>
            </a:pPr>
            <a:r>
              <a:rPr lang="et-EE" sz="1950" b="1">
                <a:solidFill>
                  <a:schemeClr val="bg1"/>
                </a:solidFill>
                <a:latin typeface="Calibri" panose="020F0502020204030204"/>
              </a:rPr>
              <a:t>Tuulepark merel</a:t>
            </a:r>
          </a:p>
          <a:p>
            <a:pPr algn="ctr" defTabSz="685800">
              <a:lnSpc>
                <a:spcPct val="80000"/>
              </a:lnSpc>
              <a:defRPr/>
            </a:pPr>
            <a:r>
              <a:rPr lang="et-EE" sz="1950" b="1">
                <a:solidFill>
                  <a:schemeClr val="bg1"/>
                </a:solidFill>
                <a:latin typeface="Calibri" panose="020F0502020204030204"/>
              </a:rPr>
              <a:t>1000 MW</a:t>
            </a:r>
          </a:p>
          <a:p>
            <a:pPr algn="ctr" defTabSz="685800">
              <a:lnSpc>
                <a:spcPct val="80000"/>
              </a:lnSpc>
              <a:defRPr/>
            </a:pPr>
            <a:r>
              <a:rPr lang="et-EE" sz="1100" b="1">
                <a:solidFill>
                  <a:schemeClr val="bg1"/>
                </a:solidFill>
                <a:latin typeface="Calibri" panose="020F0502020204030204"/>
              </a:rPr>
              <a:t>(Täna 0 MW)</a:t>
            </a:r>
            <a:endParaRPr lang="et-EE" sz="1950" b="1">
              <a:solidFill>
                <a:schemeClr val="bg1"/>
              </a:solidFill>
              <a:latin typeface="Calibri" panose="020F0502020204030204"/>
            </a:endParaRPr>
          </a:p>
        </p:txBody>
      </p:sp>
      <p:sp>
        <p:nvSpPr>
          <p:cNvPr id="13" name="TextBox 12">
            <a:extLst>
              <a:ext uri="{FF2B5EF4-FFF2-40B4-BE49-F238E27FC236}">
                <a16:creationId xmlns:a16="http://schemas.microsoft.com/office/drawing/2014/main" id="{3887C7B6-1A0B-4E0F-631F-918BA415C977}"/>
              </a:ext>
            </a:extLst>
          </p:cNvPr>
          <p:cNvSpPr txBox="1"/>
          <p:nvPr/>
        </p:nvSpPr>
        <p:spPr>
          <a:xfrm>
            <a:off x="8473758" y="1873827"/>
            <a:ext cx="716863" cy="243785"/>
          </a:xfrm>
          <a:prstGeom prst="rect">
            <a:avLst/>
          </a:prstGeom>
          <a:noFill/>
        </p:spPr>
        <p:txBody>
          <a:bodyPr wrap="none" rtlCol="0">
            <a:spAutoFit/>
          </a:bodyPr>
          <a:lstStyle/>
          <a:p>
            <a:pPr algn="ctr" defTabSz="685800">
              <a:lnSpc>
                <a:spcPct val="80000"/>
              </a:lnSpc>
              <a:defRPr/>
            </a:pPr>
            <a:r>
              <a:rPr lang="et-EE" sz="1200" b="1">
                <a:solidFill>
                  <a:schemeClr val="accent4">
                    <a:lumMod val="50000"/>
                  </a:schemeClr>
                </a:solidFill>
                <a:latin typeface="Calibri" panose="020F0502020204030204"/>
              </a:rPr>
              <a:t>1,5 TWh</a:t>
            </a:r>
          </a:p>
        </p:txBody>
      </p:sp>
      <p:sp>
        <p:nvSpPr>
          <p:cNvPr id="16" name="TextBox 15">
            <a:extLst>
              <a:ext uri="{FF2B5EF4-FFF2-40B4-BE49-F238E27FC236}">
                <a16:creationId xmlns:a16="http://schemas.microsoft.com/office/drawing/2014/main" id="{58C78286-9A74-AF27-6D5A-F06A342361EC}"/>
              </a:ext>
            </a:extLst>
          </p:cNvPr>
          <p:cNvSpPr txBox="1"/>
          <p:nvPr/>
        </p:nvSpPr>
        <p:spPr>
          <a:xfrm>
            <a:off x="8533068" y="2900612"/>
            <a:ext cx="598242" cy="243785"/>
          </a:xfrm>
          <a:prstGeom prst="rect">
            <a:avLst/>
          </a:prstGeom>
          <a:noFill/>
        </p:spPr>
        <p:txBody>
          <a:bodyPr wrap="none" rtlCol="0">
            <a:spAutoFit/>
          </a:bodyPr>
          <a:lstStyle/>
          <a:p>
            <a:pPr algn="ctr" defTabSz="685800">
              <a:lnSpc>
                <a:spcPct val="80000"/>
              </a:lnSpc>
              <a:defRPr/>
            </a:pPr>
            <a:r>
              <a:rPr lang="et-EE" sz="1200" b="1">
                <a:solidFill>
                  <a:srgbClr val="00B050"/>
                </a:solidFill>
                <a:latin typeface="Calibri" panose="020F0502020204030204"/>
              </a:rPr>
              <a:t>6 TWh</a:t>
            </a:r>
          </a:p>
        </p:txBody>
      </p:sp>
      <p:sp>
        <p:nvSpPr>
          <p:cNvPr id="17" name="TextBox 16">
            <a:extLst>
              <a:ext uri="{FF2B5EF4-FFF2-40B4-BE49-F238E27FC236}">
                <a16:creationId xmlns:a16="http://schemas.microsoft.com/office/drawing/2014/main" id="{55872579-161E-9451-0EC8-CC3370649F74}"/>
              </a:ext>
            </a:extLst>
          </p:cNvPr>
          <p:cNvSpPr txBox="1"/>
          <p:nvPr/>
        </p:nvSpPr>
        <p:spPr>
          <a:xfrm>
            <a:off x="8507439" y="4076026"/>
            <a:ext cx="598242" cy="243785"/>
          </a:xfrm>
          <a:prstGeom prst="rect">
            <a:avLst/>
          </a:prstGeom>
          <a:noFill/>
        </p:spPr>
        <p:txBody>
          <a:bodyPr wrap="none" rtlCol="0">
            <a:spAutoFit/>
          </a:bodyPr>
          <a:lstStyle/>
          <a:p>
            <a:pPr algn="ctr" defTabSz="685800">
              <a:lnSpc>
                <a:spcPct val="80000"/>
              </a:lnSpc>
              <a:defRPr/>
            </a:pPr>
            <a:r>
              <a:rPr lang="et-EE" sz="1200" b="1">
                <a:solidFill>
                  <a:schemeClr val="accent5">
                    <a:lumMod val="75000"/>
                  </a:schemeClr>
                </a:solidFill>
                <a:latin typeface="Calibri" panose="020F0502020204030204"/>
              </a:rPr>
              <a:t>4 TWh</a:t>
            </a:r>
          </a:p>
        </p:txBody>
      </p:sp>
      <p:pic>
        <p:nvPicPr>
          <p:cNvPr id="19" name="Graphic 18" descr="Lamp outline">
            <a:extLst>
              <a:ext uri="{FF2B5EF4-FFF2-40B4-BE49-F238E27FC236}">
                <a16:creationId xmlns:a16="http://schemas.microsoft.com/office/drawing/2014/main" id="{621EA6F3-5583-8E19-19F8-511E09FDA68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369093" y="5479354"/>
            <a:ext cx="834807" cy="540031"/>
          </a:xfrm>
          <a:prstGeom prst="rect">
            <a:avLst/>
          </a:prstGeom>
        </p:spPr>
      </p:pic>
      <p:sp>
        <p:nvSpPr>
          <p:cNvPr id="20" name="TextBox 19">
            <a:extLst>
              <a:ext uri="{FF2B5EF4-FFF2-40B4-BE49-F238E27FC236}">
                <a16:creationId xmlns:a16="http://schemas.microsoft.com/office/drawing/2014/main" id="{EE2F3477-AE84-EA5F-65F5-9F581FA8B465}"/>
              </a:ext>
            </a:extLst>
          </p:cNvPr>
          <p:cNvSpPr txBox="1"/>
          <p:nvPr/>
        </p:nvSpPr>
        <p:spPr>
          <a:xfrm>
            <a:off x="9370019" y="5479142"/>
            <a:ext cx="2546131" cy="723916"/>
          </a:xfrm>
          <a:prstGeom prst="rect">
            <a:avLst/>
          </a:prstGeom>
          <a:solidFill>
            <a:srgbClr val="FFC000"/>
          </a:solidFill>
        </p:spPr>
        <p:txBody>
          <a:bodyPr wrap="square" rtlCol="0">
            <a:spAutoFit/>
          </a:bodyPr>
          <a:lstStyle/>
          <a:p>
            <a:pPr algn="ctr" defTabSz="685800">
              <a:lnSpc>
                <a:spcPct val="80000"/>
              </a:lnSpc>
              <a:defRPr/>
            </a:pPr>
            <a:r>
              <a:rPr lang="et-EE" sz="1950" b="1">
                <a:solidFill>
                  <a:schemeClr val="bg1"/>
                </a:solidFill>
                <a:latin typeface="Calibri" panose="020F0502020204030204"/>
              </a:rPr>
              <a:t>Tarbimine</a:t>
            </a:r>
          </a:p>
          <a:p>
            <a:pPr algn="ctr" defTabSz="685800">
              <a:lnSpc>
                <a:spcPct val="80000"/>
              </a:lnSpc>
              <a:defRPr/>
            </a:pPr>
            <a:r>
              <a:rPr lang="et-EE" sz="1950" b="1">
                <a:solidFill>
                  <a:schemeClr val="bg1"/>
                </a:solidFill>
                <a:latin typeface="Calibri" panose="020F0502020204030204"/>
              </a:rPr>
              <a:t>2035. a</a:t>
            </a:r>
          </a:p>
          <a:p>
            <a:pPr algn="ctr" defTabSz="685800">
              <a:lnSpc>
                <a:spcPct val="80000"/>
              </a:lnSpc>
              <a:defRPr/>
            </a:pPr>
            <a:r>
              <a:rPr lang="et-EE" sz="1200" b="1">
                <a:solidFill>
                  <a:schemeClr val="bg1"/>
                </a:solidFill>
                <a:latin typeface="Calibri" panose="020F0502020204030204"/>
              </a:rPr>
              <a:t>(Eleringi prognoos)</a:t>
            </a:r>
          </a:p>
        </p:txBody>
      </p:sp>
      <p:sp>
        <p:nvSpPr>
          <p:cNvPr id="21" name="TextBox 20">
            <a:extLst>
              <a:ext uri="{FF2B5EF4-FFF2-40B4-BE49-F238E27FC236}">
                <a16:creationId xmlns:a16="http://schemas.microsoft.com/office/drawing/2014/main" id="{DCAA289D-211B-642F-34B1-406C382E763C}"/>
              </a:ext>
            </a:extLst>
          </p:cNvPr>
          <p:cNvSpPr txBox="1"/>
          <p:nvPr/>
        </p:nvSpPr>
        <p:spPr>
          <a:xfrm>
            <a:off x="8454144" y="6050962"/>
            <a:ext cx="795411" cy="243785"/>
          </a:xfrm>
          <a:prstGeom prst="rect">
            <a:avLst/>
          </a:prstGeom>
          <a:noFill/>
        </p:spPr>
        <p:txBody>
          <a:bodyPr wrap="none" rtlCol="0">
            <a:spAutoFit/>
          </a:bodyPr>
          <a:lstStyle/>
          <a:p>
            <a:pPr algn="ctr" defTabSz="685800">
              <a:lnSpc>
                <a:spcPct val="80000"/>
              </a:lnSpc>
              <a:defRPr/>
            </a:pPr>
            <a:r>
              <a:rPr lang="et-EE" sz="1200" b="1">
                <a:solidFill>
                  <a:srgbClr val="FFC000"/>
                </a:solidFill>
                <a:latin typeface="Calibri" panose="020F0502020204030204"/>
              </a:rPr>
              <a:t>11,3 TWh</a:t>
            </a:r>
          </a:p>
        </p:txBody>
      </p:sp>
      <p:pic>
        <p:nvPicPr>
          <p:cNvPr id="25" name="Graphic 24" descr="Factory outline">
            <a:extLst>
              <a:ext uri="{FF2B5EF4-FFF2-40B4-BE49-F238E27FC236}">
                <a16:creationId xmlns:a16="http://schemas.microsoft.com/office/drawing/2014/main" id="{A96559F0-6BB6-E01B-9764-2346C09768F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536962" y="4448003"/>
            <a:ext cx="644134" cy="644134"/>
          </a:xfrm>
          <a:prstGeom prst="rect">
            <a:avLst/>
          </a:prstGeom>
        </p:spPr>
      </p:pic>
      <p:sp>
        <p:nvSpPr>
          <p:cNvPr id="26" name="TextBox 25">
            <a:extLst>
              <a:ext uri="{FF2B5EF4-FFF2-40B4-BE49-F238E27FC236}">
                <a16:creationId xmlns:a16="http://schemas.microsoft.com/office/drawing/2014/main" id="{1C924225-0125-DE67-550A-0FE63CB381C9}"/>
              </a:ext>
            </a:extLst>
          </p:cNvPr>
          <p:cNvSpPr txBox="1"/>
          <p:nvPr/>
        </p:nvSpPr>
        <p:spPr>
          <a:xfrm>
            <a:off x="9383770" y="4486103"/>
            <a:ext cx="2546131" cy="711285"/>
          </a:xfrm>
          <a:prstGeom prst="rect">
            <a:avLst/>
          </a:prstGeom>
          <a:solidFill>
            <a:schemeClr val="accent4">
              <a:lumMod val="50000"/>
            </a:schemeClr>
          </a:solidFill>
        </p:spPr>
        <p:txBody>
          <a:bodyPr wrap="square" rtlCol="0">
            <a:spAutoFit/>
          </a:bodyPr>
          <a:lstStyle/>
          <a:p>
            <a:pPr algn="ctr" defTabSz="685800">
              <a:lnSpc>
                <a:spcPct val="80000"/>
              </a:lnSpc>
              <a:defRPr/>
            </a:pPr>
            <a:r>
              <a:rPr lang="et-EE" sz="1950" b="1">
                <a:solidFill>
                  <a:schemeClr val="bg1"/>
                </a:solidFill>
                <a:latin typeface="Calibri" panose="020F0502020204030204"/>
              </a:rPr>
              <a:t>Biomass ja muu</a:t>
            </a:r>
          </a:p>
          <a:p>
            <a:pPr algn="ctr" defTabSz="685800">
              <a:lnSpc>
                <a:spcPct val="80000"/>
              </a:lnSpc>
              <a:defRPr/>
            </a:pPr>
            <a:r>
              <a:rPr lang="et-EE" sz="1950" b="1">
                <a:solidFill>
                  <a:schemeClr val="bg1"/>
                </a:solidFill>
                <a:latin typeface="Calibri" panose="020F0502020204030204"/>
              </a:rPr>
              <a:t>400 MW</a:t>
            </a:r>
          </a:p>
          <a:p>
            <a:pPr algn="ctr" defTabSz="685800">
              <a:lnSpc>
                <a:spcPct val="80000"/>
              </a:lnSpc>
              <a:defRPr/>
            </a:pPr>
            <a:r>
              <a:rPr lang="et-EE" sz="1100" b="1">
                <a:solidFill>
                  <a:schemeClr val="bg1"/>
                </a:solidFill>
                <a:latin typeface="Calibri" panose="020F0502020204030204"/>
              </a:rPr>
              <a:t>(Täna 400 MW)</a:t>
            </a:r>
            <a:endParaRPr lang="et-EE" sz="1950" b="1">
              <a:solidFill>
                <a:schemeClr val="bg1"/>
              </a:solidFill>
              <a:latin typeface="Calibri" panose="020F0502020204030204"/>
            </a:endParaRPr>
          </a:p>
        </p:txBody>
      </p:sp>
      <p:sp>
        <p:nvSpPr>
          <p:cNvPr id="27" name="TextBox 26">
            <a:extLst>
              <a:ext uri="{FF2B5EF4-FFF2-40B4-BE49-F238E27FC236}">
                <a16:creationId xmlns:a16="http://schemas.microsoft.com/office/drawing/2014/main" id="{EA1E10C9-7BC7-D578-F1B1-418C78228F82}"/>
              </a:ext>
            </a:extLst>
          </p:cNvPr>
          <p:cNvSpPr txBox="1"/>
          <p:nvPr/>
        </p:nvSpPr>
        <p:spPr>
          <a:xfrm>
            <a:off x="7492393" y="3149507"/>
            <a:ext cx="795411" cy="243785"/>
          </a:xfrm>
          <a:prstGeom prst="rect">
            <a:avLst/>
          </a:prstGeom>
          <a:noFill/>
        </p:spPr>
        <p:txBody>
          <a:bodyPr wrap="none" rtlCol="0">
            <a:spAutoFit/>
          </a:bodyPr>
          <a:lstStyle/>
          <a:p>
            <a:pPr algn="ctr" defTabSz="685800">
              <a:lnSpc>
                <a:spcPct val="80000"/>
              </a:lnSpc>
              <a:defRPr/>
            </a:pPr>
            <a:r>
              <a:rPr lang="et-EE" sz="1200" b="1">
                <a:solidFill>
                  <a:schemeClr val="accent1"/>
                </a:solidFill>
                <a:latin typeface="Calibri" panose="020F0502020204030204"/>
              </a:rPr>
              <a:t>12,7 TWh</a:t>
            </a:r>
          </a:p>
        </p:txBody>
      </p:sp>
      <p:sp>
        <p:nvSpPr>
          <p:cNvPr id="28" name="Left Brace 27">
            <a:extLst>
              <a:ext uri="{FF2B5EF4-FFF2-40B4-BE49-F238E27FC236}">
                <a16:creationId xmlns:a16="http://schemas.microsoft.com/office/drawing/2014/main" id="{EA215713-7441-9C1D-11EB-F13FB25EC021}"/>
              </a:ext>
            </a:extLst>
          </p:cNvPr>
          <p:cNvSpPr/>
          <p:nvPr/>
        </p:nvSpPr>
        <p:spPr>
          <a:xfrm>
            <a:off x="8147409" y="1706745"/>
            <a:ext cx="215682" cy="3444509"/>
          </a:xfrm>
          <a:prstGeom prst="leftBrace">
            <a:avLst>
              <a:gd name="adj1" fmla="val 8333"/>
              <a:gd name="adj2" fmla="val 49447"/>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t-EE" b="1"/>
          </a:p>
        </p:txBody>
      </p:sp>
      <p:sp>
        <p:nvSpPr>
          <p:cNvPr id="29" name="TextBox 28">
            <a:extLst>
              <a:ext uri="{FF2B5EF4-FFF2-40B4-BE49-F238E27FC236}">
                <a16:creationId xmlns:a16="http://schemas.microsoft.com/office/drawing/2014/main" id="{10FA8BE4-FED0-A889-CA12-293E25889E0A}"/>
              </a:ext>
            </a:extLst>
          </p:cNvPr>
          <p:cNvSpPr txBox="1"/>
          <p:nvPr/>
        </p:nvSpPr>
        <p:spPr>
          <a:xfrm>
            <a:off x="8498139" y="5048336"/>
            <a:ext cx="716864" cy="243785"/>
          </a:xfrm>
          <a:prstGeom prst="rect">
            <a:avLst/>
          </a:prstGeom>
          <a:noFill/>
        </p:spPr>
        <p:txBody>
          <a:bodyPr wrap="none" rtlCol="0">
            <a:spAutoFit/>
          </a:bodyPr>
          <a:lstStyle/>
          <a:p>
            <a:pPr algn="ctr" defTabSz="685800">
              <a:lnSpc>
                <a:spcPct val="80000"/>
              </a:lnSpc>
              <a:defRPr/>
            </a:pPr>
            <a:r>
              <a:rPr lang="et-EE" sz="1200" b="1">
                <a:solidFill>
                  <a:schemeClr val="accent4">
                    <a:lumMod val="50000"/>
                  </a:schemeClr>
                </a:solidFill>
                <a:latin typeface="Calibri" panose="020F0502020204030204"/>
              </a:rPr>
              <a:t>1,2 TWh</a:t>
            </a:r>
          </a:p>
        </p:txBody>
      </p:sp>
      <p:sp>
        <p:nvSpPr>
          <p:cNvPr id="30" name="TextBox 29">
            <a:extLst>
              <a:ext uri="{FF2B5EF4-FFF2-40B4-BE49-F238E27FC236}">
                <a16:creationId xmlns:a16="http://schemas.microsoft.com/office/drawing/2014/main" id="{2F4D9635-ADF7-2BEA-F006-AD17018C2941}"/>
              </a:ext>
            </a:extLst>
          </p:cNvPr>
          <p:cNvSpPr txBox="1"/>
          <p:nvPr/>
        </p:nvSpPr>
        <p:spPr>
          <a:xfrm>
            <a:off x="8454144" y="6307197"/>
            <a:ext cx="795411" cy="243785"/>
          </a:xfrm>
          <a:prstGeom prst="rect">
            <a:avLst/>
          </a:prstGeom>
          <a:noFill/>
        </p:spPr>
        <p:txBody>
          <a:bodyPr wrap="none" rtlCol="0">
            <a:spAutoFit/>
          </a:bodyPr>
          <a:lstStyle/>
          <a:p>
            <a:pPr algn="ctr" defTabSz="685800">
              <a:lnSpc>
                <a:spcPct val="80000"/>
              </a:lnSpc>
              <a:defRPr/>
            </a:pPr>
            <a:r>
              <a:rPr lang="et-EE" sz="1200" b="1">
                <a:solidFill>
                  <a:srgbClr val="FFC000"/>
                </a:solidFill>
                <a:latin typeface="Calibri" panose="020F0502020204030204"/>
              </a:rPr>
              <a:t>18,3 TWh</a:t>
            </a:r>
          </a:p>
        </p:txBody>
      </p:sp>
      <p:sp>
        <p:nvSpPr>
          <p:cNvPr id="32" name="TextBox 31">
            <a:extLst>
              <a:ext uri="{FF2B5EF4-FFF2-40B4-BE49-F238E27FC236}">
                <a16:creationId xmlns:a16="http://schemas.microsoft.com/office/drawing/2014/main" id="{6C0C7697-F637-F7BE-FC0F-D0AFF848E168}"/>
              </a:ext>
            </a:extLst>
          </p:cNvPr>
          <p:cNvSpPr txBox="1"/>
          <p:nvPr/>
        </p:nvSpPr>
        <p:spPr>
          <a:xfrm>
            <a:off x="9272223" y="6268033"/>
            <a:ext cx="2546131" cy="276999"/>
          </a:xfrm>
          <a:prstGeom prst="rect">
            <a:avLst/>
          </a:prstGeom>
          <a:noFill/>
        </p:spPr>
        <p:txBody>
          <a:bodyPr wrap="square">
            <a:spAutoFit/>
          </a:bodyPr>
          <a:lstStyle/>
          <a:p>
            <a:r>
              <a:rPr lang="et-EE" sz="1200" b="1">
                <a:solidFill>
                  <a:srgbClr val="FFC000"/>
                </a:solidFill>
                <a:latin typeface="Calibri" panose="020F0502020204030204"/>
              </a:rPr>
              <a:t>(MKM/EIS järsk kasv, 2034)</a:t>
            </a:r>
            <a:endParaRPr lang="et-EE" sz="1200">
              <a:solidFill>
                <a:srgbClr val="FFC000"/>
              </a:solidFill>
            </a:endParaRPr>
          </a:p>
        </p:txBody>
      </p:sp>
      <p:sp>
        <p:nvSpPr>
          <p:cNvPr id="34" name="TextBox 33">
            <a:extLst>
              <a:ext uri="{FF2B5EF4-FFF2-40B4-BE49-F238E27FC236}">
                <a16:creationId xmlns:a16="http://schemas.microsoft.com/office/drawing/2014/main" id="{CC7B0B2C-9BAB-F605-9F0D-D5CEA7995BFB}"/>
              </a:ext>
            </a:extLst>
          </p:cNvPr>
          <p:cNvSpPr txBox="1"/>
          <p:nvPr/>
        </p:nvSpPr>
        <p:spPr>
          <a:xfrm>
            <a:off x="888509" y="5653994"/>
            <a:ext cx="7399295" cy="1037720"/>
          </a:xfrm>
          <a:prstGeom prst="rect">
            <a:avLst/>
          </a:prstGeom>
          <a:noFill/>
        </p:spPr>
        <p:txBody>
          <a:bodyPr wrap="square">
            <a:spAutoFit/>
          </a:bodyPr>
          <a:lstStyle/>
          <a:p>
            <a:pPr marL="0" indent="0">
              <a:lnSpc>
                <a:spcPct val="110000"/>
              </a:lnSpc>
              <a:spcBef>
                <a:spcPts val="0"/>
              </a:spcBef>
              <a:spcAft>
                <a:spcPts val="1200"/>
              </a:spcAft>
              <a:buClr>
                <a:srgbClr val="92BE79"/>
              </a:buClr>
              <a:buNone/>
            </a:pPr>
            <a:r>
              <a:rPr kumimoji="0" lang="et-EE" sz="1600" b="1" i="0" strike="noStrike" kern="1200" cap="none" spc="0" normalizeH="0" baseline="0" noProof="0">
                <a:ln>
                  <a:noFill/>
                </a:ln>
                <a:solidFill>
                  <a:schemeClr val="accent5">
                    <a:lumMod val="75000"/>
                  </a:schemeClr>
                </a:solidFill>
                <a:effectLst/>
                <a:uLnTx/>
                <a:uFillTx/>
                <a:latin typeface="Arial" panose="020B0604020202020204" pitchFamily="34" charset="0"/>
                <a:cs typeface="Arial" panose="020B0604020202020204" pitchFamily="34" charset="0"/>
              </a:rPr>
              <a:t>Taastuvenergia 100 eesmärk vajab vähemalt 3 TWh meretuuleparki</a:t>
            </a:r>
          </a:p>
          <a:p>
            <a:pPr marL="0" indent="0">
              <a:lnSpc>
                <a:spcPct val="110000"/>
              </a:lnSpc>
              <a:spcBef>
                <a:spcPts val="0"/>
              </a:spcBef>
              <a:spcAft>
                <a:spcPts val="1200"/>
              </a:spcAft>
              <a:buClr>
                <a:srgbClr val="92BE79"/>
              </a:buClr>
              <a:buNone/>
            </a:pPr>
            <a:r>
              <a:rPr lang="et-EE" sz="1600" b="1">
                <a:solidFill>
                  <a:schemeClr val="accent5">
                    <a:lumMod val="75000"/>
                  </a:schemeClr>
                </a:solidFill>
                <a:latin typeface="Arial" panose="020B0604020202020204" pitchFamily="34" charset="0"/>
                <a:cs typeface="Arial" panose="020B0604020202020204" pitchFamily="34" charset="0"/>
              </a:rPr>
              <a:t>Hinnastabiilsuse kulu tarbijatele on absoluutsummas 2TWh ja 3TWh projektidel samaväärne</a:t>
            </a:r>
            <a:r>
              <a:rPr kumimoji="0" lang="et-EE" sz="1600" b="1" i="0" strike="noStrike" kern="1200" cap="none" spc="0" normalizeH="0" baseline="0" noProof="0">
                <a:ln>
                  <a:noFill/>
                </a:ln>
                <a:solidFill>
                  <a:schemeClr val="accent5">
                    <a:lumMod val="75000"/>
                  </a:schemeClr>
                </a:solidFill>
                <a:effectLst/>
                <a:uLnTx/>
                <a:uFillTx/>
                <a:latin typeface="Arial" panose="020B0604020202020204" pitchFamily="34" charset="0"/>
                <a:cs typeface="Arial" panose="020B0604020202020204" pitchFamily="34" charset="0"/>
              </a:rPr>
              <a:t> (mastaabiefekt)</a:t>
            </a:r>
          </a:p>
        </p:txBody>
      </p:sp>
      <p:pic>
        <p:nvPicPr>
          <p:cNvPr id="2" name="Picture 1">
            <a:extLst>
              <a:ext uri="{FF2B5EF4-FFF2-40B4-BE49-F238E27FC236}">
                <a16:creationId xmlns:a16="http://schemas.microsoft.com/office/drawing/2014/main" id="{3CD7D0D9-630C-DA67-0F63-8B08802CAAF4}"/>
              </a:ext>
            </a:extLst>
          </p:cNvPr>
          <p:cNvPicPr>
            <a:picLocks noChangeAspect="1"/>
          </p:cNvPicPr>
          <p:nvPr/>
        </p:nvPicPr>
        <p:blipFill>
          <a:blip r:embed="rId13"/>
          <a:stretch>
            <a:fillRect/>
          </a:stretch>
        </p:blipFill>
        <p:spPr>
          <a:xfrm>
            <a:off x="739946" y="1442832"/>
            <a:ext cx="6876884" cy="4230991"/>
          </a:xfrm>
          <a:prstGeom prst="rect">
            <a:avLst/>
          </a:prstGeom>
        </p:spPr>
      </p:pic>
    </p:spTree>
    <p:extLst>
      <p:ext uri="{BB962C8B-B14F-4D97-AF65-F5344CB8AC3E}">
        <p14:creationId xmlns:p14="http://schemas.microsoft.com/office/powerpoint/2010/main" val="11438646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5">
            <a:extLst>
              <a:ext uri="{FF2B5EF4-FFF2-40B4-BE49-F238E27FC236}">
                <a16:creationId xmlns:a16="http://schemas.microsoft.com/office/drawing/2014/main" id="{242021A0-B6BF-446A-9981-1681AD960C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53140" y="616471"/>
            <a:ext cx="3482165" cy="4974522"/>
          </a:xfrm>
          <a:prstGeom prst="rect">
            <a:avLst/>
          </a:prstGeom>
        </p:spPr>
      </p:pic>
      <p:graphicFrame>
        <p:nvGraphicFramePr>
          <p:cNvPr id="4" name="Diagramm 3">
            <a:extLst>
              <a:ext uri="{FF2B5EF4-FFF2-40B4-BE49-F238E27FC236}">
                <a16:creationId xmlns:a16="http://schemas.microsoft.com/office/drawing/2014/main" id="{3E04F4D4-3980-E0F2-6CC1-C3C3C23CA744}"/>
              </a:ext>
            </a:extLst>
          </p:cNvPr>
          <p:cNvGraphicFramePr/>
          <p:nvPr/>
        </p:nvGraphicFramePr>
        <p:xfrm>
          <a:off x="1271973" y="497561"/>
          <a:ext cx="9099826" cy="5862878"/>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Sirgkonnektor 5">
            <a:extLst>
              <a:ext uri="{FF2B5EF4-FFF2-40B4-BE49-F238E27FC236}">
                <a16:creationId xmlns:a16="http://schemas.microsoft.com/office/drawing/2014/main" id="{B5102478-3156-49F0-C187-EB962F6B57D1}"/>
              </a:ext>
            </a:extLst>
          </p:cNvPr>
          <p:cNvCxnSpPr>
            <a:cxnSpLocks/>
          </p:cNvCxnSpPr>
          <p:nvPr/>
        </p:nvCxnSpPr>
        <p:spPr>
          <a:xfrm>
            <a:off x="3894159" y="3740544"/>
            <a:ext cx="4574603" cy="0"/>
          </a:xfrm>
          <a:prstGeom prst="line">
            <a:avLst/>
          </a:prstGeom>
          <a:ln>
            <a:prstDash val="dash"/>
          </a:ln>
        </p:spPr>
        <p:style>
          <a:lnRef idx="2">
            <a:schemeClr val="accent1"/>
          </a:lnRef>
          <a:fillRef idx="0">
            <a:schemeClr val="accent1"/>
          </a:fillRef>
          <a:effectRef idx="1">
            <a:schemeClr val="accent1"/>
          </a:effectRef>
          <a:fontRef idx="minor">
            <a:schemeClr val="tx1"/>
          </a:fontRef>
        </p:style>
      </p:cxnSp>
      <p:pic>
        <p:nvPicPr>
          <p:cNvPr id="12" name="Pilt 11" descr="Scissors with solid fill">
            <a:extLst>
              <a:ext uri="{FF2B5EF4-FFF2-40B4-BE49-F238E27FC236}">
                <a16:creationId xmlns:a16="http://schemas.microsoft.com/office/drawing/2014/main" id="{04093994-9AF5-EBF3-0B05-62A336E9866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2613386">
            <a:off x="8612721" y="3433949"/>
            <a:ext cx="695847" cy="695847"/>
          </a:xfrm>
          <a:prstGeom prst="rect">
            <a:avLst/>
          </a:prstGeom>
        </p:spPr>
      </p:pic>
      <p:sp>
        <p:nvSpPr>
          <p:cNvPr id="14" name="TextBox 13">
            <a:extLst>
              <a:ext uri="{FF2B5EF4-FFF2-40B4-BE49-F238E27FC236}">
                <a16:creationId xmlns:a16="http://schemas.microsoft.com/office/drawing/2014/main" id="{72D1FF6A-C8BB-799A-9F6C-D5F42ED29A4F}"/>
              </a:ext>
            </a:extLst>
          </p:cNvPr>
          <p:cNvSpPr txBox="1"/>
          <p:nvPr/>
        </p:nvSpPr>
        <p:spPr>
          <a:xfrm>
            <a:off x="2720483" y="6089335"/>
            <a:ext cx="621905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t-EE" sz="900" b="0" i="0" u="none" strike="noStrike" kern="1200" cap="none" spc="0" normalizeH="0" baseline="0" noProof="0" dirty="0">
                <a:ln>
                  <a:noFill/>
                </a:ln>
                <a:solidFill>
                  <a:prstClr val="black"/>
                </a:solidFill>
                <a:effectLst/>
                <a:uLnTx/>
                <a:uFillTx/>
                <a:latin typeface="Aptos" panose="02110004020202020204"/>
                <a:ea typeface="+mn-ea"/>
                <a:cs typeface="+mn-cs"/>
              </a:rPr>
              <a:t>Miinushinnaga toetust ei maks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t-EE" sz="900" b="0" i="0" u="none" strike="noStrike" kern="1200" cap="none" spc="0" normalizeH="0" baseline="0" noProof="0" dirty="0">
                <a:ln>
                  <a:noFill/>
                </a:ln>
                <a:solidFill>
                  <a:prstClr val="black"/>
                </a:solidFill>
                <a:effectLst/>
                <a:uLnTx/>
                <a:uFillTx/>
                <a:latin typeface="Aptos" panose="02110004020202020204"/>
                <a:ea typeface="+mn-ea"/>
                <a:cs typeface="+mn-cs"/>
              </a:rPr>
              <a:t>**      Riigi madalaim</a:t>
            </a:r>
            <a:r>
              <a:rPr kumimoji="0" lang="en-US" sz="9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t-EE" sz="900" b="0" i="0" u="none" strike="noStrike" kern="1200" cap="none" spc="0" normalizeH="0" baseline="0" noProof="0" dirty="0">
                <a:ln>
                  <a:noFill/>
                </a:ln>
                <a:solidFill>
                  <a:prstClr val="black"/>
                </a:solidFill>
                <a:effectLst/>
                <a:uLnTx/>
                <a:uFillTx/>
                <a:latin typeface="Aptos" panose="02110004020202020204"/>
                <a:ea typeface="+mn-ea"/>
                <a:cs typeface="+mn-cs"/>
              </a:rPr>
              <a:t>hinnaprognoos</a:t>
            </a:r>
            <a:r>
              <a:rPr kumimoji="0" lang="en-US" sz="9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t-EE" sz="900" b="0" i="0" u="none" strike="noStrike" kern="1200" cap="none" spc="0" normalizeH="0" baseline="0" noProof="0" dirty="0">
                <a:ln>
                  <a:noFill/>
                </a:ln>
                <a:solidFill>
                  <a:prstClr val="black"/>
                </a:solidFill>
                <a:effectLst/>
                <a:uLnTx/>
                <a:uFillTx/>
                <a:latin typeface="Aptos" panose="02110004020202020204"/>
                <a:ea typeface="+mn-ea"/>
                <a:cs typeface="+mn-cs"/>
              </a:rPr>
              <a:t>aastaks 203</a:t>
            </a:r>
            <a:r>
              <a:rPr kumimoji="0" lang="en-US" sz="900" b="0" i="0" u="none" strike="noStrike" kern="1200" cap="none" spc="0" normalizeH="0" baseline="0" noProof="0" dirty="0">
                <a:ln>
                  <a:noFill/>
                </a:ln>
                <a:solidFill>
                  <a:prstClr val="black"/>
                </a:solidFill>
                <a:effectLst/>
                <a:uLnTx/>
                <a:uFillTx/>
                <a:latin typeface="Aptos" panose="02110004020202020204"/>
                <a:ea typeface="+mn-ea"/>
                <a:cs typeface="+mn-cs"/>
              </a:rPr>
              <a:t>5 (</a:t>
            </a:r>
            <a:r>
              <a:rPr kumimoji="0" lang="et-EE" sz="900" b="0" i="0" u="none" strike="noStrike" kern="1200" cap="none" spc="0" normalizeH="0" baseline="0" noProof="0" dirty="0">
                <a:ln>
                  <a:noFill/>
                </a:ln>
                <a:solidFill>
                  <a:prstClr val="black"/>
                </a:solidFill>
                <a:effectLst/>
                <a:uLnTx/>
                <a:uFillTx/>
                <a:latin typeface="Aptos" panose="02110004020202020204"/>
                <a:ea typeface="+mn-ea"/>
                <a:cs typeface="+mn-cs"/>
              </a:rPr>
              <a:t>koos meretuulepargi</a:t>
            </a:r>
            <a:r>
              <a:rPr kumimoji="0" lang="en-US" sz="9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t-EE" sz="900" b="0" i="0" u="none" strike="noStrike" kern="1200" cap="none" spc="0" normalizeH="0" baseline="0" noProof="0" dirty="0">
                <a:ln>
                  <a:noFill/>
                </a:ln>
                <a:solidFill>
                  <a:prstClr val="black"/>
                </a:solidFill>
                <a:effectLst/>
                <a:uLnTx/>
                <a:uFillTx/>
                <a:latin typeface="Aptos" panose="02110004020202020204"/>
                <a:ea typeface="+mn-ea"/>
                <a:cs typeface="+mn-cs"/>
              </a:rPr>
              <a:t>salvestuse</a:t>
            </a:r>
            <a:r>
              <a:rPr kumimoji="0" lang="en-US" sz="900" b="0" i="0" u="none" strike="noStrike" kern="1200" cap="none" spc="0" normalizeH="0" baseline="0" noProof="0" dirty="0">
                <a:ln>
                  <a:noFill/>
                </a:ln>
                <a:solidFill>
                  <a:prstClr val="black"/>
                </a:solidFill>
                <a:effectLst/>
                <a:uLnTx/>
                <a:uFillTx/>
                <a:latin typeface="Aptos" panose="02110004020202020204"/>
                <a:ea typeface="+mn-ea"/>
                <a:cs typeface="+mn-cs"/>
              </a:rPr>
              <a:t> ja </a:t>
            </a:r>
            <a:r>
              <a:rPr kumimoji="0" lang="et-EE" sz="900" b="0" i="0" u="none" strike="noStrike" kern="1200" cap="none" spc="0" normalizeH="0" baseline="0" noProof="0" dirty="0">
                <a:ln>
                  <a:noFill/>
                </a:ln>
                <a:solidFill>
                  <a:prstClr val="black"/>
                </a:solidFill>
                <a:effectLst/>
                <a:uLnTx/>
                <a:uFillTx/>
                <a:latin typeface="Aptos" panose="02110004020202020204"/>
                <a:ea typeface="+mn-ea"/>
                <a:cs typeface="+mn-cs"/>
              </a:rPr>
              <a:t>lisanduvate välisühendustega</a:t>
            </a:r>
            <a:r>
              <a:rPr kumimoji="0" lang="en-US" sz="900" b="0" i="0" u="none" strike="noStrike" kern="1200" cap="none" spc="0" normalizeH="0" baseline="0" noProof="0" dirty="0">
                <a:ln>
                  <a:noFill/>
                </a:ln>
                <a:solidFill>
                  <a:prstClr val="black"/>
                </a:solidFill>
                <a:effectLst/>
                <a:uLnTx/>
                <a:uFillTx/>
                <a:latin typeface="Aptos" panose="02110004020202020204"/>
                <a:ea typeface="+mn-ea"/>
                <a:cs typeface="+mn-cs"/>
              </a:rPr>
              <a:t>)</a:t>
            </a:r>
            <a:endParaRPr kumimoji="0" lang="et-EE" sz="9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t-EE" sz="900" b="0" i="0" u="none" strike="noStrike" kern="1200" cap="none" spc="0" normalizeH="0" baseline="0" noProof="0" dirty="0">
                <a:ln>
                  <a:noFill/>
                </a:ln>
                <a:solidFill>
                  <a:prstClr val="black"/>
                </a:solidFill>
                <a:effectLst/>
                <a:uLnTx/>
                <a:uFillTx/>
                <a:latin typeface="Aptos" panose="02110004020202020204"/>
                <a:ea typeface="+mn-ea"/>
                <a:cs typeface="+mn-cs"/>
              </a:rPr>
              <a:t>***    2023. aasta keskmine</a:t>
            </a:r>
            <a:endParaRPr kumimoji="0" lang="en-US" sz="9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t-EE" sz="900" b="0" i="0" u="none" strike="noStrike" kern="1200" cap="none" spc="0" normalizeH="0" baseline="0" noProof="0" dirty="0">
                <a:ln>
                  <a:noFill/>
                </a:ln>
                <a:solidFill>
                  <a:prstClr val="black"/>
                </a:solidFill>
                <a:effectLst/>
                <a:uLnTx/>
                <a:uFillTx/>
                <a:latin typeface="Aptos" panose="02110004020202020204"/>
                <a:ea typeface="+mn-ea"/>
                <a:cs typeface="+mn-cs"/>
              </a:rPr>
              <a:t>****  2022. aasta keskmine</a:t>
            </a:r>
          </a:p>
        </p:txBody>
      </p:sp>
      <p:sp>
        <p:nvSpPr>
          <p:cNvPr id="7" name="TextBox 6">
            <a:extLst>
              <a:ext uri="{FF2B5EF4-FFF2-40B4-BE49-F238E27FC236}">
                <a16:creationId xmlns:a16="http://schemas.microsoft.com/office/drawing/2014/main" id="{0AE299E2-A52C-80FF-713C-30F5B9FB41DB}"/>
              </a:ext>
            </a:extLst>
          </p:cNvPr>
          <p:cNvSpPr txBox="1"/>
          <p:nvPr/>
        </p:nvSpPr>
        <p:spPr>
          <a:xfrm>
            <a:off x="2478397" y="5313885"/>
            <a:ext cx="30023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a:t>
            </a:r>
            <a:endParaRPr kumimoji="0" lang="et-E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8" name="Picture 7">
            <a:extLst>
              <a:ext uri="{FF2B5EF4-FFF2-40B4-BE49-F238E27FC236}">
                <a16:creationId xmlns:a16="http://schemas.microsoft.com/office/drawing/2014/main" id="{F222670F-D9A4-8341-B5CD-54009DAA5297}"/>
              </a:ext>
            </a:extLst>
          </p:cNvPr>
          <p:cNvPicPr>
            <a:picLocks noChangeAspect="1"/>
          </p:cNvPicPr>
          <p:nvPr/>
        </p:nvPicPr>
        <p:blipFill>
          <a:blip r:embed="rId6"/>
          <a:stretch>
            <a:fillRect/>
          </a:stretch>
        </p:blipFill>
        <p:spPr>
          <a:xfrm>
            <a:off x="10058398" y="5878032"/>
            <a:ext cx="1907274" cy="720525"/>
          </a:xfrm>
          <a:prstGeom prst="rect">
            <a:avLst/>
          </a:prstGeom>
        </p:spPr>
      </p:pic>
    </p:spTree>
    <p:extLst>
      <p:ext uri="{BB962C8B-B14F-4D97-AF65-F5344CB8AC3E}">
        <p14:creationId xmlns:p14="http://schemas.microsoft.com/office/powerpoint/2010/main" val="14726189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Рисунок 5">
            <a:extLst>
              <a:ext uri="{FF2B5EF4-FFF2-40B4-BE49-F238E27FC236}">
                <a16:creationId xmlns:a16="http://schemas.microsoft.com/office/drawing/2014/main" id="{C4D6BEA3-6328-8830-50B4-6A894BE2E85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53139" y="715138"/>
            <a:ext cx="3482165" cy="4974522"/>
          </a:xfrm>
          <a:prstGeom prst="rect">
            <a:avLst/>
          </a:prstGeom>
        </p:spPr>
      </p:pic>
      <p:graphicFrame>
        <p:nvGraphicFramePr>
          <p:cNvPr id="2" name="Chart 3">
            <a:extLst>
              <a:ext uri="{FF2B5EF4-FFF2-40B4-BE49-F238E27FC236}">
                <a16:creationId xmlns:a16="http://schemas.microsoft.com/office/drawing/2014/main" id="{53C70B76-C2EC-4DE9-B203-33894AADCB57}"/>
              </a:ext>
              <a:ext uri="{147F2762-F138-4A5C-976F-8EAC2B608ADB}">
                <a16:predDERef xmlns:a16="http://schemas.microsoft.com/office/drawing/2014/main" pred="{7B535580-3E56-461E-9285-B715C4A1747B}"/>
              </a:ext>
            </a:extLst>
          </p:cNvPr>
          <p:cNvGraphicFramePr>
            <a:graphicFrameLocks/>
          </p:cNvGraphicFramePr>
          <p:nvPr/>
        </p:nvGraphicFramePr>
        <p:xfrm>
          <a:off x="1144989" y="652007"/>
          <a:ext cx="9225650" cy="5100785"/>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4785F9CC-17CB-FBA5-FA6A-7FA29706DD97}"/>
              </a:ext>
            </a:extLst>
          </p:cNvPr>
          <p:cNvSpPr txBox="1"/>
          <p:nvPr/>
        </p:nvSpPr>
        <p:spPr>
          <a:xfrm>
            <a:off x="2359128" y="4689140"/>
            <a:ext cx="30023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a:t>
            </a:r>
            <a:endParaRPr kumimoji="0" lang="et-E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TextBox 5">
            <a:extLst>
              <a:ext uri="{FF2B5EF4-FFF2-40B4-BE49-F238E27FC236}">
                <a16:creationId xmlns:a16="http://schemas.microsoft.com/office/drawing/2014/main" id="{B1565274-6760-51EE-B52E-7DCBAD2A921B}"/>
              </a:ext>
            </a:extLst>
          </p:cNvPr>
          <p:cNvSpPr txBox="1"/>
          <p:nvPr/>
        </p:nvSpPr>
        <p:spPr>
          <a:xfrm>
            <a:off x="4632661" y="5887323"/>
            <a:ext cx="333346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t-EE" sz="1000" b="0" i="0" u="none" strike="noStrike" kern="1200" cap="none" spc="0" normalizeH="0" baseline="0" noProof="0">
                <a:ln>
                  <a:noFill/>
                </a:ln>
                <a:solidFill>
                  <a:prstClr val="black"/>
                </a:solidFill>
                <a:effectLst/>
                <a:uLnTx/>
                <a:uFillTx/>
                <a:latin typeface="Aptos" panose="02110004020202020204"/>
                <a:ea typeface="+mn-ea"/>
                <a:cs typeface="+mn-cs"/>
              </a:rPr>
              <a:t>*    2023. aasta keskmine elektri hind börsi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t-EE" sz="1000" b="0" i="0" u="none" strike="noStrike" kern="1200" cap="none" spc="0" normalizeH="0" baseline="0" noProof="0">
                <a:ln>
                  <a:noFill/>
                </a:ln>
                <a:solidFill>
                  <a:prstClr val="black"/>
                </a:solidFill>
                <a:effectLst/>
                <a:uLnTx/>
                <a:uFillTx/>
                <a:latin typeface="Aptos" panose="02110004020202020204"/>
                <a:ea typeface="+mn-ea"/>
                <a:cs typeface="+mn-cs"/>
              </a:rPr>
              <a:t>**  Näitlik garantii hinnalagi</a:t>
            </a:r>
          </a:p>
        </p:txBody>
      </p:sp>
      <p:sp>
        <p:nvSpPr>
          <p:cNvPr id="10" name="TextBox 9">
            <a:extLst>
              <a:ext uri="{FF2B5EF4-FFF2-40B4-BE49-F238E27FC236}">
                <a16:creationId xmlns:a16="http://schemas.microsoft.com/office/drawing/2014/main" id="{083C19DC-925C-E893-2662-28CA3F37FA5B}"/>
              </a:ext>
            </a:extLst>
          </p:cNvPr>
          <p:cNvSpPr txBox="1"/>
          <p:nvPr/>
        </p:nvSpPr>
        <p:spPr>
          <a:xfrm>
            <a:off x="2353447" y="5028964"/>
            <a:ext cx="36703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110004020202020204"/>
                <a:ea typeface="+mn-ea"/>
                <a:cs typeface="+mn-cs"/>
              </a:rPr>
              <a:t>**</a:t>
            </a:r>
            <a:endParaRPr kumimoji="0" lang="et-E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pic>
        <p:nvPicPr>
          <p:cNvPr id="4" name="Picture 7">
            <a:extLst>
              <a:ext uri="{FF2B5EF4-FFF2-40B4-BE49-F238E27FC236}">
                <a16:creationId xmlns:a16="http://schemas.microsoft.com/office/drawing/2014/main" id="{47274D14-34CE-7473-3232-DCE2DD41FD9A}"/>
              </a:ext>
            </a:extLst>
          </p:cNvPr>
          <p:cNvPicPr>
            <a:picLocks noChangeAspect="1"/>
          </p:cNvPicPr>
          <p:nvPr/>
        </p:nvPicPr>
        <p:blipFill>
          <a:blip r:embed="rId4"/>
          <a:stretch>
            <a:fillRect/>
          </a:stretch>
        </p:blipFill>
        <p:spPr>
          <a:xfrm>
            <a:off x="10058398" y="5878032"/>
            <a:ext cx="1907274" cy="720525"/>
          </a:xfrm>
          <a:prstGeom prst="rect">
            <a:avLst/>
          </a:prstGeom>
        </p:spPr>
      </p:pic>
    </p:spTree>
    <p:extLst>
      <p:ext uri="{BB962C8B-B14F-4D97-AF65-F5344CB8AC3E}">
        <p14:creationId xmlns:p14="http://schemas.microsoft.com/office/powerpoint/2010/main" val="6846329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A43BBA-FF72-014D-1031-1607C3E1287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53FA9A2-6A5F-B4FA-A18F-E1FEA0C9842D}"/>
              </a:ext>
            </a:extLst>
          </p:cNvPr>
          <p:cNvSpPr>
            <a:spLocks noGrp="1"/>
          </p:cNvSpPr>
          <p:nvPr>
            <p:ph type="title"/>
          </p:nvPr>
        </p:nvSpPr>
        <p:spPr/>
        <p:txBody>
          <a:bodyPr/>
          <a:lstStyle/>
          <a:p>
            <a:r>
              <a:rPr lang="et-EE" dirty="0"/>
              <a:t>CfD 20-aastase meetme eelarve erinevate hinnaprognooside korral</a:t>
            </a:r>
          </a:p>
        </p:txBody>
      </p:sp>
      <p:sp>
        <p:nvSpPr>
          <p:cNvPr id="6" name="Content Placeholder 5">
            <a:extLst>
              <a:ext uri="{FF2B5EF4-FFF2-40B4-BE49-F238E27FC236}">
                <a16:creationId xmlns:a16="http://schemas.microsoft.com/office/drawing/2014/main" id="{38FE58AC-E6C0-820A-9D22-8A5A6E33EAF9}"/>
              </a:ext>
            </a:extLst>
          </p:cNvPr>
          <p:cNvSpPr>
            <a:spLocks noGrp="1"/>
          </p:cNvSpPr>
          <p:nvPr>
            <p:ph sz="half" idx="2"/>
          </p:nvPr>
        </p:nvSpPr>
        <p:spPr>
          <a:xfrm>
            <a:off x="541913" y="1825625"/>
            <a:ext cx="5265683" cy="4474691"/>
          </a:xfrm>
        </p:spPr>
        <p:txBody>
          <a:bodyPr vert="horz" lIns="91440" tIns="45720" rIns="91440" bIns="45720" rtlCol="0" anchor="t">
            <a:noAutofit/>
          </a:bodyPr>
          <a:lstStyle/>
          <a:p>
            <a:r>
              <a:rPr lang="et-EE" sz="1200" dirty="0"/>
              <a:t>Civitta poolt KLIMile koostatud mudeli põhjal on meetme eelarve suurusjärkude võrra erinev võrreldes hiljutiste kinnitatud riigiabilubadega.</a:t>
            </a:r>
          </a:p>
          <a:p>
            <a:pPr lvl="1"/>
            <a:r>
              <a:rPr lang="et-EE" sz="1200" dirty="0"/>
              <a:t>Civitta arvutuste kohaselt on meetme kogukulu 5 korda suurem (per MW) kui Belgia meretuule riigiabiloas ning 18 korda suurem kui Leedu meretuule riigiabiloas.</a:t>
            </a:r>
            <a:r>
              <a:rPr lang="et-EE" sz="900" b="1" baseline="30000" dirty="0"/>
              <a:t>[1]</a:t>
            </a:r>
            <a:endParaRPr lang="et-EE" sz="900" dirty="0"/>
          </a:p>
          <a:p>
            <a:r>
              <a:rPr lang="et-EE" sz="1200" dirty="0"/>
              <a:t>2023. aasta infleeritud hindade korral maksaks tootja 20-aastase perioodi jooksul riigile 1,6 miljardit eurot.</a:t>
            </a:r>
          </a:p>
          <a:p>
            <a:r>
              <a:rPr lang="et-EE" sz="1200" dirty="0"/>
              <a:t>Kasutades sõltumatute kolmandate osapoolte poolt koostatud hinnaprognoose, on eeldatav kogukulu riigile kordades väiksem võrreldes KLIMi poolt kasutatud stsenaariumiga.</a:t>
            </a:r>
          </a:p>
          <a:p>
            <a:r>
              <a:rPr lang="et-EE" sz="1200" dirty="0"/>
              <a:t>Sõltumatu kolmanda osapoole hinnaprognoosid on võtnud arvesse täiendava taastuvenergia lisandumist, sh meretuuleparki.</a:t>
            </a:r>
          </a:p>
          <a:p>
            <a:r>
              <a:rPr lang="et-EE" sz="1200" dirty="0"/>
              <a:t>Isegi madalate hindade stsenaariumi korral on kogukulu üle 2 korra väiksem võrreldes KLIMi stsenaariumiga. Seega on KLIM poolt kasutatud elektrihinna eeldused ülimalt konservatiivsed.</a:t>
            </a:r>
          </a:p>
          <a:p>
            <a:pPr lvl="1"/>
            <a:r>
              <a:rPr lang="et-EE" sz="1200" dirty="0"/>
              <a:t>Arvutused baseeruvad KLIMi poolt tellitud Civitta rahastusvajaku mudelil. Muid eeldusi peale hinnakõvera ei ole mudelis muudetud.</a:t>
            </a:r>
          </a:p>
          <a:p>
            <a:pPr lvl="1"/>
            <a:r>
              <a:rPr lang="et-EE" sz="1200" dirty="0"/>
              <a:t>Civitta mudelis on eeldatud CfD mahuks 2 TWh.</a:t>
            </a:r>
          </a:p>
          <a:p>
            <a:pPr lvl="1"/>
            <a:r>
              <a:rPr lang="et-EE" sz="1200" dirty="0"/>
              <a:t>Samas on mudelis mitmeid puudusi, näiteks liiga pikk investeerimisperiood, liigne CAPEXi sensitiivsus, maismaa tuuleandmete kasutamine.</a:t>
            </a:r>
          </a:p>
        </p:txBody>
      </p:sp>
      <p:sp>
        <p:nvSpPr>
          <p:cNvPr id="2" name="TextBox 1">
            <a:extLst>
              <a:ext uri="{FF2B5EF4-FFF2-40B4-BE49-F238E27FC236}">
                <a16:creationId xmlns:a16="http://schemas.microsoft.com/office/drawing/2014/main" id="{35E82E48-4E9C-6550-4D9B-761EAB20E9AA}"/>
              </a:ext>
            </a:extLst>
          </p:cNvPr>
          <p:cNvSpPr txBox="1"/>
          <p:nvPr/>
        </p:nvSpPr>
        <p:spPr>
          <a:xfrm>
            <a:off x="541914" y="6158252"/>
            <a:ext cx="6775946" cy="461665"/>
          </a:xfrm>
          <a:prstGeom prst="rect">
            <a:avLst/>
          </a:prstGeom>
          <a:noFill/>
        </p:spPr>
        <p:txBody>
          <a:bodyPr wrap="square" rtlCol="0">
            <a:spAutoFit/>
          </a:bodyPr>
          <a:lstStyle/>
          <a:p>
            <a:r>
              <a:rPr lang="et-EE" sz="800" b="1" dirty="0"/>
              <a:t>[1]</a:t>
            </a:r>
          </a:p>
          <a:p>
            <a:r>
              <a:rPr lang="et-EE" sz="800" b="1" dirty="0"/>
              <a:t>Leedu riigiabiluba, oktoober 2023</a:t>
            </a:r>
            <a:r>
              <a:rPr lang="en-US" sz="800" b="1" dirty="0"/>
              <a:t>: </a:t>
            </a:r>
            <a:r>
              <a:rPr lang="en-US" sz="800" dirty="0">
                <a:hlinkClick r:id="rId2"/>
              </a:rPr>
              <a:t>Commission approves €193 million Lithuanian scheme to support offshore wind farms</a:t>
            </a:r>
            <a:endParaRPr lang="en-US" sz="800" dirty="0"/>
          </a:p>
          <a:p>
            <a:r>
              <a:rPr lang="et-EE" sz="800" b="1" dirty="0"/>
              <a:t>Belgia riigiabiluba, september 2024: </a:t>
            </a:r>
            <a:r>
              <a:rPr lang="en-US" sz="800" dirty="0">
                <a:hlinkClick r:id="rId3"/>
              </a:rPr>
              <a:t>Commission approves €682 million Belgian State aid scheme to support renewable offshore wind energy</a:t>
            </a:r>
            <a:endParaRPr lang="en-US" sz="800" dirty="0"/>
          </a:p>
        </p:txBody>
      </p:sp>
      <p:graphicFrame>
        <p:nvGraphicFramePr>
          <p:cNvPr id="11" name="Chart 10">
            <a:extLst>
              <a:ext uri="{FF2B5EF4-FFF2-40B4-BE49-F238E27FC236}">
                <a16:creationId xmlns:a16="http://schemas.microsoft.com/office/drawing/2014/main" id="{92C1D3CB-C0F2-2457-B72C-6173995B126A}"/>
              </a:ext>
            </a:extLst>
          </p:cNvPr>
          <p:cNvGraphicFramePr>
            <a:graphicFrameLocks/>
          </p:cNvGraphicFramePr>
          <p:nvPr/>
        </p:nvGraphicFramePr>
        <p:xfrm>
          <a:off x="5807596" y="1824739"/>
          <a:ext cx="6123600" cy="43344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298376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i kujundus">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Utilitas UUS ">
    <a:dk1>
      <a:srgbClr val="000000"/>
    </a:dk1>
    <a:lt1>
      <a:srgbClr val="FFFFFF"/>
    </a:lt1>
    <a:dk2>
      <a:srgbClr val="A2C02F"/>
    </a:dk2>
    <a:lt2>
      <a:srgbClr val="FFFFFF"/>
    </a:lt2>
    <a:accent1>
      <a:srgbClr val="A2C02F"/>
    </a:accent1>
    <a:accent2>
      <a:srgbClr val="707372"/>
    </a:accent2>
    <a:accent3>
      <a:srgbClr val="7C7C7C"/>
    </a:accent3>
    <a:accent4>
      <a:srgbClr val="9C9D9D"/>
    </a:accent4>
    <a:accent5>
      <a:srgbClr val="BCBDBD"/>
    </a:accent5>
    <a:accent6>
      <a:srgbClr val="DEDEDE"/>
    </a:accent6>
    <a:hlink>
      <a:srgbClr val="DC4405"/>
    </a:hlink>
    <a:folHlink>
      <a:srgbClr val="FFA3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Metadata/LabelInfo.xml><?xml version="1.0" encoding="utf-8"?>
<clbl:labelList xmlns:clbl="http://schemas.microsoft.com/office/2020/mipLabelMetadata">
  <clbl:label id="{1143c8e3-98ed-48a4-b9b6-453dc5b174cb}" enabled="0" method="" siteId="{1143c8e3-98ed-48a4-b9b6-453dc5b174cb}" removed="1"/>
</clbl:labelList>
</file>

<file path=docProps/app.xml><?xml version="1.0" encoding="utf-8"?>
<Properties xmlns="http://schemas.openxmlformats.org/officeDocument/2006/extended-properties" xmlns:vt="http://schemas.openxmlformats.org/officeDocument/2006/docPropsVTypes">
  <TotalTime>0</TotalTime>
  <Words>2047</Words>
  <Application>Microsoft Macintosh PowerPoint</Application>
  <PresentationFormat>Widescreen</PresentationFormat>
  <Paragraphs>333</Paragraphs>
  <Slides>17</Slides>
  <Notes>4</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30" baseType="lpstr">
      <vt:lpstr>Aptos</vt:lpstr>
      <vt:lpstr>Aptos Display</vt:lpstr>
      <vt:lpstr>Arial</vt:lpstr>
      <vt:lpstr>Calibri</vt:lpstr>
      <vt:lpstr>Calibri Light</vt:lpstr>
      <vt:lpstr>Inter</vt:lpstr>
      <vt:lpstr>Inter Medium</vt:lpstr>
      <vt:lpstr>Roboto Light</vt:lpstr>
      <vt:lpstr>System Font Regular</vt:lpstr>
      <vt:lpstr>Times New Roman</vt:lpstr>
      <vt:lpstr>Тема Office</vt:lpstr>
      <vt:lpstr>Office'i kujundu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fD 20-aastase meetme eelarve erinevate hinnaprognooside korra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10-15T06:49:33Z</dcterms:created>
  <dcterms:modified xsi:type="dcterms:W3CDTF">2024-10-21T07:18:34Z</dcterms:modified>
</cp:coreProperties>
</file>